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2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8" r:id="rId1"/>
  </p:sldMasterIdLst>
  <p:notesMasterIdLst>
    <p:notesMasterId r:id="rId29"/>
  </p:notesMasterIdLst>
  <p:sldIdLst>
    <p:sldId id="256" r:id="rId2"/>
    <p:sldId id="257" r:id="rId3"/>
    <p:sldId id="259" r:id="rId4"/>
    <p:sldId id="260" r:id="rId5"/>
    <p:sldId id="305" r:id="rId6"/>
    <p:sldId id="287" r:id="rId7"/>
    <p:sldId id="292" r:id="rId8"/>
    <p:sldId id="261" r:id="rId9"/>
    <p:sldId id="289" r:id="rId10"/>
    <p:sldId id="288" r:id="rId11"/>
    <p:sldId id="265" r:id="rId12"/>
    <p:sldId id="290" r:id="rId13"/>
    <p:sldId id="304" r:id="rId14"/>
    <p:sldId id="291" r:id="rId15"/>
    <p:sldId id="272" r:id="rId16"/>
    <p:sldId id="294" r:id="rId17"/>
    <p:sldId id="277" r:id="rId18"/>
    <p:sldId id="295" r:id="rId19"/>
    <p:sldId id="271" r:id="rId20"/>
    <p:sldId id="298" r:id="rId21"/>
    <p:sldId id="299" r:id="rId22"/>
    <p:sldId id="301" r:id="rId23"/>
    <p:sldId id="300" r:id="rId24"/>
    <p:sldId id="296" r:id="rId25"/>
    <p:sldId id="273" r:id="rId26"/>
    <p:sldId id="278" r:id="rId27"/>
    <p:sldId id="293" r:id="rId28"/>
  </p:sldIdLst>
  <p:sldSz cx="9144000" cy="5143500" type="screen16x9"/>
  <p:notesSz cx="6858000" cy="9144000"/>
  <p:embeddedFontLst>
    <p:embeddedFont>
      <p:font typeface="Barlow" panose="020B0604020202020204" charset="0"/>
      <p:regular r:id="rId30"/>
      <p:bold r:id="rId31"/>
      <p:italic r:id="rId32"/>
      <p:boldItalic r:id="rId33"/>
    </p:embeddedFont>
    <p:embeddedFont>
      <p:font typeface="Barlow Light" panose="020B0604020202020204" charset="0"/>
      <p:regular r:id="rId34"/>
      <p:bold r:id="rId35"/>
      <p:italic r:id="rId36"/>
      <p:boldItalic r:id="rId37"/>
    </p:embeddedFont>
    <p:embeddedFont>
      <p:font typeface="Barlow SemiBold" panose="020B0604020202020204" charset="0"/>
      <p:regular r:id="rId38"/>
      <p:bold r:id="rId39"/>
      <p:italic r:id="rId40"/>
      <p:boldItalic r:id="rId41"/>
    </p:embeddedFont>
    <p:embeddedFont>
      <p:font typeface="Calibri" panose="020F0502020204030204" pitchFamily="34" charset="0"/>
      <p:regular r:id="rId42"/>
      <p:bold r:id="rId43"/>
      <p:italic r:id="rId44"/>
      <p:boldItalic r:id="rId45"/>
    </p:embeddedFont>
    <p:embeddedFont>
      <p:font typeface="Georgia" panose="02040502050405020303" pitchFamily="18" charset="0"/>
      <p:regular r:id="rId46"/>
      <p:bold r:id="rId47"/>
      <p:italic r:id="rId48"/>
      <p:boldItalic r:id="rId49"/>
    </p:embeddedFont>
    <p:embeddedFont>
      <p:font typeface="Montserrat" panose="020B0604020202020204" charset="0"/>
      <p:regular r:id="rId50"/>
      <p:bold r:id="rId51"/>
      <p:italic r:id="rId52"/>
      <p:boldItalic r:id="rId53"/>
    </p:embeddedFont>
    <p:embeddedFont>
      <p:font typeface="Raleway" panose="020B0604020202020204" charset="0"/>
      <p:regular r:id="rId54"/>
      <p:bold r:id="rId55"/>
      <p:italic r:id="rId56"/>
      <p:boldItalic r:id="rId57"/>
    </p:embeddedFont>
    <p:embeddedFont>
      <p:font typeface="Raleway Thin" panose="020B0604020202020204" charset="0"/>
      <p:regular r:id="rId58"/>
      <p:bold r:id="rId59"/>
      <p:italic r:id="rId60"/>
      <p:boldItalic r:id="rId61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2F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BBEF04-9D5F-4ECB-BDEB-5AF90A52C1C7}" v="134" dt="2021-02-18T02:45:01.098"/>
  </p1510:revLst>
</p1510:revInfo>
</file>

<file path=ppt/tableStyles.xml><?xml version="1.0" encoding="utf-8"?>
<a:tblStyleLst xmlns:a="http://schemas.openxmlformats.org/drawingml/2006/main" def="{5CD5B7B9-7AAB-4E71-8935-5ACDFAD8A81C}">
  <a:tblStyle styleId="{5CD5B7B9-7AAB-4E71-8935-5ACDFAD8A81C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5226" autoAdjust="0"/>
  </p:normalViewPr>
  <p:slideViewPr>
    <p:cSldViewPr snapToGrid="0">
      <p:cViewPr>
        <p:scale>
          <a:sx n="100" d="100"/>
          <a:sy n="100" d="100"/>
        </p:scale>
        <p:origin x="946" y="29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font" Target="fonts/font5.fntdata"/><Relationship Id="rId42" Type="http://schemas.openxmlformats.org/officeDocument/2006/relationships/font" Target="fonts/font13.fntdata"/><Relationship Id="rId47" Type="http://schemas.openxmlformats.org/officeDocument/2006/relationships/font" Target="fonts/font18.fntdata"/><Relationship Id="rId50" Type="http://schemas.openxmlformats.org/officeDocument/2006/relationships/font" Target="fonts/font21.fntdata"/><Relationship Id="rId55" Type="http://schemas.openxmlformats.org/officeDocument/2006/relationships/font" Target="fonts/font26.fntdata"/><Relationship Id="rId63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3.fntdata"/><Relationship Id="rId37" Type="http://schemas.openxmlformats.org/officeDocument/2006/relationships/font" Target="fonts/font8.fntdata"/><Relationship Id="rId40" Type="http://schemas.openxmlformats.org/officeDocument/2006/relationships/font" Target="fonts/font11.fntdata"/><Relationship Id="rId45" Type="http://schemas.openxmlformats.org/officeDocument/2006/relationships/font" Target="fonts/font16.fntdata"/><Relationship Id="rId53" Type="http://schemas.openxmlformats.org/officeDocument/2006/relationships/font" Target="fonts/font24.fntdata"/><Relationship Id="rId58" Type="http://schemas.openxmlformats.org/officeDocument/2006/relationships/font" Target="fonts/font29.fntdata"/><Relationship Id="rId66" Type="http://schemas.microsoft.com/office/2016/11/relationships/changesInfo" Target="changesInfos/changesInfo1.xml"/><Relationship Id="rId5" Type="http://schemas.openxmlformats.org/officeDocument/2006/relationships/slide" Target="slides/slide4.xml"/><Relationship Id="rId61" Type="http://schemas.openxmlformats.org/officeDocument/2006/relationships/font" Target="fonts/font32.fntdata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font" Target="fonts/font1.fntdata"/><Relationship Id="rId35" Type="http://schemas.openxmlformats.org/officeDocument/2006/relationships/font" Target="fonts/font6.fntdata"/><Relationship Id="rId43" Type="http://schemas.openxmlformats.org/officeDocument/2006/relationships/font" Target="fonts/font14.fntdata"/><Relationship Id="rId48" Type="http://schemas.openxmlformats.org/officeDocument/2006/relationships/font" Target="fonts/font19.fntdata"/><Relationship Id="rId56" Type="http://schemas.openxmlformats.org/officeDocument/2006/relationships/font" Target="fonts/font27.fntdata"/><Relationship Id="rId64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font" Target="fonts/font22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4.fntdata"/><Relationship Id="rId38" Type="http://schemas.openxmlformats.org/officeDocument/2006/relationships/font" Target="fonts/font9.fntdata"/><Relationship Id="rId46" Type="http://schemas.openxmlformats.org/officeDocument/2006/relationships/font" Target="fonts/font17.fntdata"/><Relationship Id="rId59" Type="http://schemas.openxmlformats.org/officeDocument/2006/relationships/font" Target="fonts/font30.fntdata"/><Relationship Id="rId67" Type="http://schemas.microsoft.com/office/2015/10/relationships/revisionInfo" Target="revisionInfo.xml"/><Relationship Id="rId20" Type="http://schemas.openxmlformats.org/officeDocument/2006/relationships/slide" Target="slides/slide19.xml"/><Relationship Id="rId41" Type="http://schemas.openxmlformats.org/officeDocument/2006/relationships/font" Target="fonts/font12.fntdata"/><Relationship Id="rId54" Type="http://schemas.openxmlformats.org/officeDocument/2006/relationships/font" Target="fonts/font25.fntdata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7.fntdata"/><Relationship Id="rId49" Type="http://schemas.openxmlformats.org/officeDocument/2006/relationships/font" Target="fonts/font20.fntdata"/><Relationship Id="rId57" Type="http://schemas.openxmlformats.org/officeDocument/2006/relationships/font" Target="fonts/font28.fntdata"/><Relationship Id="rId10" Type="http://schemas.openxmlformats.org/officeDocument/2006/relationships/slide" Target="slides/slide9.xml"/><Relationship Id="rId31" Type="http://schemas.openxmlformats.org/officeDocument/2006/relationships/font" Target="fonts/font2.fntdata"/><Relationship Id="rId44" Type="http://schemas.openxmlformats.org/officeDocument/2006/relationships/font" Target="fonts/font15.fntdata"/><Relationship Id="rId52" Type="http://schemas.openxmlformats.org/officeDocument/2006/relationships/font" Target="fonts/font23.fntdata"/><Relationship Id="rId60" Type="http://schemas.openxmlformats.org/officeDocument/2006/relationships/font" Target="fonts/font31.fntdata"/><Relationship Id="rId65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font" Target="fonts/font10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ao Hoang" userId="0e23db62feec2a5d" providerId="LiveId" clId="{3FBBEF04-9D5F-4ECB-BDEB-5AF90A52C1C7}"/>
    <pc:docChg chg="undo custSel addSld delSld modSld sldOrd">
      <pc:chgData name="Thao Hoang" userId="0e23db62feec2a5d" providerId="LiveId" clId="{3FBBEF04-9D5F-4ECB-BDEB-5AF90A52C1C7}" dt="2021-02-18T02:48:28.874" v="6723" actId="1076"/>
      <pc:docMkLst>
        <pc:docMk/>
      </pc:docMkLst>
      <pc:sldChg chg="modNotesTx">
        <pc:chgData name="Thao Hoang" userId="0e23db62feec2a5d" providerId="LiveId" clId="{3FBBEF04-9D5F-4ECB-BDEB-5AF90A52C1C7}" dt="2021-02-17T03:39:13.893" v="3031" actId="20577"/>
        <pc:sldMkLst>
          <pc:docMk/>
          <pc:sldMk cId="0" sldId="256"/>
        </pc:sldMkLst>
      </pc:sldChg>
      <pc:sldChg chg="addSp delSp modSp mod">
        <pc:chgData name="Thao Hoang" userId="0e23db62feec2a5d" providerId="LiveId" clId="{3FBBEF04-9D5F-4ECB-BDEB-5AF90A52C1C7}" dt="2021-02-17T22:51:07.799" v="5578" actId="478"/>
        <pc:sldMkLst>
          <pc:docMk/>
          <pc:sldMk cId="0" sldId="257"/>
        </pc:sldMkLst>
        <pc:spChg chg="add del mod">
          <ac:chgData name="Thao Hoang" userId="0e23db62feec2a5d" providerId="LiveId" clId="{3FBBEF04-9D5F-4ECB-BDEB-5AF90A52C1C7}" dt="2021-02-17T22:51:07.799" v="5578" actId="478"/>
          <ac:spMkLst>
            <pc:docMk/>
            <pc:sldMk cId="0" sldId="257"/>
            <ac:spMk id="4" creationId="{FB92EF9D-419F-4566-822E-FECBB1070852}"/>
          </ac:spMkLst>
        </pc:spChg>
        <pc:spChg chg="del mod">
          <ac:chgData name="Thao Hoang" userId="0e23db62feec2a5d" providerId="LiveId" clId="{3FBBEF04-9D5F-4ECB-BDEB-5AF90A52C1C7}" dt="2021-02-17T22:38:07.808" v="4855" actId="21"/>
          <ac:spMkLst>
            <pc:docMk/>
            <pc:sldMk cId="0" sldId="257"/>
            <ac:spMk id="346" creationId="{00000000-0000-0000-0000-000000000000}"/>
          </ac:spMkLst>
        </pc:spChg>
      </pc:sldChg>
      <pc:sldChg chg="modNotesTx">
        <pc:chgData name="Thao Hoang" userId="0e23db62feec2a5d" providerId="LiveId" clId="{3FBBEF04-9D5F-4ECB-BDEB-5AF90A52C1C7}" dt="2021-02-17T03:40:01.109" v="3036" actId="20577"/>
        <pc:sldMkLst>
          <pc:docMk/>
          <pc:sldMk cId="0" sldId="259"/>
        </pc:sldMkLst>
      </pc:sldChg>
      <pc:sldChg chg="modSp mod modNotesTx">
        <pc:chgData name="Thao Hoang" userId="0e23db62feec2a5d" providerId="LiveId" clId="{3FBBEF04-9D5F-4ECB-BDEB-5AF90A52C1C7}" dt="2021-02-17T22:51:21.432" v="5582" actId="20577"/>
        <pc:sldMkLst>
          <pc:docMk/>
          <pc:sldMk cId="0" sldId="260"/>
        </pc:sldMkLst>
        <pc:spChg chg="mod">
          <ac:chgData name="Thao Hoang" userId="0e23db62feec2a5d" providerId="LiveId" clId="{3FBBEF04-9D5F-4ECB-BDEB-5AF90A52C1C7}" dt="2021-02-17T22:51:21.432" v="5582" actId="20577"/>
          <ac:spMkLst>
            <pc:docMk/>
            <pc:sldMk cId="0" sldId="260"/>
            <ac:spMk id="518" creationId="{00000000-0000-0000-0000-000000000000}"/>
          </ac:spMkLst>
        </pc:spChg>
      </pc:sldChg>
      <pc:sldChg chg="addSp modSp mod modAnim">
        <pc:chgData name="Thao Hoang" userId="0e23db62feec2a5d" providerId="LiveId" clId="{3FBBEF04-9D5F-4ECB-BDEB-5AF90A52C1C7}" dt="2021-02-18T02:28:32.800" v="6362" actId="20577"/>
        <pc:sldMkLst>
          <pc:docMk/>
          <pc:sldMk cId="0" sldId="261"/>
        </pc:sldMkLst>
        <pc:spChg chg="add mod">
          <ac:chgData name="Thao Hoang" userId="0e23db62feec2a5d" providerId="LiveId" clId="{3FBBEF04-9D5F-4ECB-BDEB-5AF90A52C1C7}" dt="2021-02-18T02:23:22.404" v="6285" actId="1076"/>
          <ac:spMkLst>
            <pc:docMk/>
            <pc:sldMk cId="0" sldId="261"/>
            <ac:spMk id="2" creationId="{401E47C5-8EF9-4704-9209-3BF2CABAF113}"/>
          </ac:spMkLst>
        </pc:spChg>
        <pc:spChg chg="add mod">
          <ac:chgData name="Thao Hoang" userId="0e23db62feec2a5d" providerId="LiveId" clId="{3FBBEF04-9D5F-4ECB-BDEB-5AF90A52C1C7}" dt="2021-02-18T02:28:32.800" v="6362" actId="20577"/>
          <ac:spMkLst>
            <pc:docMk/>
            <pc:sldMk cId="0" sldId="261"/>
            <ac:spMk id="3" creationId="{7FD13EBF-E775-42E4-9EBE-ED8DA972E26E}"/>
          </ac:spMkLst>
        </pc:spChg>
        <pc:spChg chg="mod">
          <ac:chgData name="Thao Hoang" userId="0e23db62feec2a5d" providerId="LiveId" clId="{3FBBEF04-9D5F-4ECB-BDEB-5AF90A52C1C7}" dt="2021-02-17T02:14:32.986" v="359"/>
          <ac:spMkLst>
            <pc:docMk/>
            <pc:sldMk cId="0" sldId="261"/>
            <ac:spMk id="5" creationId="{93CD8CF6-48EA-4809-BAC3-9EFADC4C5449}"/>
          </ac:spMkLst>
        </pc:spChg>
        <pc:picChg chg="add mod">
          <ac:chgData name="Thao Hoang" userId="0e23db62feec2a5d" providerId="LiveId" clId="{3FBBEF04-9D5F-4ECB-BDEB-5AF90A52C1C7}" dt="2021-02-17T02:15:39.740" v="362" actId="1076"/>
          <ac:picMkLst>
            <pc:docMk/>
            <pc:sldMk cId="0" sldId="261"/>
            <ac:picMk id="3074" creationId="{F5CB9060-7FCB-47D1-A9FB-5B05CED824D3}"/>
          </ac:picMkLst>
        </pc:picChg>
      </pc:sldChg>
      <pc:sldChg chg="del">
        <pc:chgData name="Thao Hoang" userId="0e23db62feec2a5d" providerId="LiveId" clId="{3FBBEF04-9D5F-4ECB-BDEB-5AF90A52C1C7}" dt="2021-02-17T03:02:37.086" v="1370" actId="47"/>
        <pc:sldMkLst>
          <pc:docMk/>
          <pc:sldMk cId="0" sldId="262"/>
        </pc:sldMkLst>
      </pc:sldChg>
      <pc:sldChg chg="del">
        <pc:chgData name="Thao Hoang" userId="0e23db62feec2a5d" providerId="LiveId" clId="{3FBBEF04-9D5F-4ECB-BDEB-5AF90A52C1C7}" dt="2021-02-17T03:02:41.356" v="1371" actId="47"/>
        <pc:sldMkLst>
          <pc:docMk/>
          <pc:sldMk cId="0" sldId="263"/>
        </pc:sldMkLst>
      </pc:sldChg>
      <pc:sldChg chg="del">
        <pc:chgData name="Thao Hoang" userId="0e23db62feec2a5d" providerId="LiveId" clId="{3FBBEF04-9D5F-4ECB-BDEB-5AF90A52C1C7}" dt="2021-02-17T03:11:26.162" v="1592" actId="47"/>
        <pc:sldMkLst>
          <pc:docMk/>
          <pc:sldMk cId="0" sldId="264"/>
        </pc:sldMkLst>
      </pc:sldChg>
      <pc:sldChg chg="modSp mod">
        <pc:chgData name="Thao Hoang" userId="0e23db62feec2a5d" providerId="LiveId" clId="{3FBBEF04-9D5F-4ECB-BDEB-5AF90A52C1C7}" dt="2021-02-18T02:30:10.448" v="6380" actId="20577"/>
        <pc:sldMkLst>
          <pc:docMk/>
          <pc:sldMk cId="0" sldId="265"/>
        </pc:sldMkLst>
        <pc:spChg chg="mod">
          <ac:chgData name="Thao Hoang" userId="0e23db62feec2a5d" providerId="LiveId" clId="{3FBBEF04-9D5F-4ECB-BDEB-5AF90A52C1C7}" dt="2021-02-18T02:30:10.448" v="6380" actId="20577"/>
          <ac:spMkLst>
            <pc:docMk/>
            <pc:sldMk cId="0" sldId="265"/>
            <ac:spMk id="3" creationId="{458A2F9D-7EF0-47C9-8717-57997AC2B44D}"/>
          </ac:spMkLst>
        </pc:spChg>
      </pc:sldChg>
      <pc:sldChg chg="del">
        <pc:chgData name="Thao Hoang" userId="0e23db62feec2a5d" providerId="LiveId" clId="{3FBBEF04-9D5F-4ECB-BDEB-5AF90A52C1C7}" dt="2021-02-17T03:02:43.886" v="1372" actId="47"/>
        <pc:sldMkLst>
          <pc:docMk/>
          <pc:sldMk cId="0" sldId="266"/>
        </pc:sldMkLst>
      </pc:sldChg>
      <pc:sldChg chg="del">
        <pc:chgData name="Thao Hoang" userId="0e23db62feec2a5d" providerId="LiveId" clId="{3FBBEF04-9D5F-4ECB-BDEB-5AF90A52C1C7}" dt="2021-02-17T03:02:50.101" v="1373" actId="47"/>
        <pc:sldMkLst>
          <pc:docMk/>
          <pc:sldMk cId="0" sldId="267"/>
        </pc:sldMkLst>
      </pc:sldChg>
      <pc:sldChg chg="del">
        <pc:chgData name="Thao Hoang" userId="0e23db62feec2a5d" providerId="LiveId" clId="{3FBBEF04-9D5F-4ECB-BDEB-5AF90A52C1C7}" dt="2021-02-17T03:02:53.274" v="1374" actId="47"/>
        <pc:sldMkLst>
          <pc:docMk/>
          <pc:sldMk cId="0" sldId="268"/>
        </pc:sldMkLst>
      </pc:sldChg>
      <pc:sldChg chg="del ord">
        <pc:chgData name="Thao Hoang" userId="0e23db62feec2a5d" providerId="LiveId" clId="{3FBBEF04-9D5F-4ECB-BDEB-5AF90A52C1C7}" dt="2021-02-17T03:03:02.656" v="1377" actId="47"/>
        <pc:sldMkLst>
          <pc:docMk/>
          <pc:sldMk cId="0" sldId="269"/>
        </pc:sldMkLst>
      </pc:sldChg>
      <pc:sldChg chg="del">
        <pc:chgData name="Thao Hoang" userId="0e23db62feec2a5d" providerId="LiveId" clId="{3FBBEF04-9D5F-4ECB-BDEB-5AF90A52C1C7}" dt="2021-02-17T03:03:10.860" v="1378" actId="47"/>
        <pc:sldMkLst>
          <pc:docMk/>
          <pc:sldMk cId="0" sldId="270"/>
        </pc:sldMkLst>
      </pc:sldChg>
      <pc:sldChg chg="addSp delSp modSp mod ord modNotesTx">
        <pc:chgData name="Thao Hoang" userId="0e23db62feec2a5d" providerId="LiveId" clId="{3FBBEF04-9D5F-4ECB-BDEB-5AF90A52C1C7}" dt="2021-02-17T22:29:17.621" v="3625" actId="20577"/>
        <pc:sldMkLst>
          <pc:docMk/>
          <pc:sldMk cId="0" sldId="271"/>
        </pc:sldMkLst>
        <pc:spChg chg="add del mod">
          <ac:chgData name="Thao Hoang" userId="0e23db62feec2a5d" providerId="LiveId" clId="{3FBBEF04-9D5F-4ECB-BDEB-5AF90A52C1C7}" dt="2021-02-17T03:10:01.876" v="1579" actId="478"/>
          <ac:spMkLst>
            <pc:docMk/>
            <pc:sldMk cId="0" sldId="271"/>
            <ac:spMk id="531" creationId="{E4592595-653B-4B2F-9745-6B9B97568301}"/>
          </ac:spMkLst>
        </pc:spChg>
        <pc:spChg chg="mod">
          <ac:chgData name="Thao Hoang" userId="0e23db62feec2a5d" providerId="LiveId" clId="{3FBBEF04-9D5F-4ECB-BDEB-5AF90A52C1C7}" dt="2021-02-17T03:05:00.352" v="1494" actId="20577"/>
          <ac:spMkLst>
            <pc:docMk/>
            <pc:sldMk cId="0" sldId="271"/>
            <ac:spMk id="1168" creationId="{00000000-0000-0000-0000-000000000000}"/>
          </ac:spMkLst>
        </pc:spChg>
        <pc:spChg chg="mod">
          <ac:chgData name="Thao Hoang" userId="0e23db62feec2a5d" providerId="LiveId" clId="{3FBBEF04-9D5F-4ECB-BDEB-5AF90A52C1C7}" dt="2021-02-17T03:04:17.284" v="1464" actId="20577"/>
          <ac:spMkLst>
            <pc:docMk/>
            <pc:sldMk cId="0" sldId="271"/>
            <ac:spMk id="1169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6:45.968" v="1736" actId="20577"/>
          <ac:spMkLst>
            <pc:docMk/>
            <pc:sldMk cId="0" sldId="271"/>
            <ac:spMk id="1170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6:23.231" v="1732" actId="20577"/>
          <ac:spMkLst>
            <pc:docMk/>
            <pc:sldMk cId="0" sldId="271"/>
            <ac:spMk id="1171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7:01.356" v="1740" actId="20577"/>
          <ac:spMkLst>
            <pc:docMk/>
            <pc:sldMk cId="0" sldId="271"/>
            <ac:spMk id="1172" creationId="{00000000-0000-0000-0000-000000000000}"/>
          </ac:spMkLst>
        </pc:spChg>
        <pc:spChg chg="mod">
          <ac:chgData name="Thao Hoang" userId="0e23db62feec2a5d" providerId="LiveId" clId="{3FBBEF04-9D5F-4ECB-BDEB-5AF90A52C1C7}" dt="2021-02-17T03:05:49.141" v="1557" actId="20577"/>
          <ac:spMkLst>
            <pc:docMk/>
            <pc:sldMk cId="0" sldId="271"/>
            <ac:spMk id="1173" creationId="{00000000-0000-0000-0000-000000000000}"/>
          </ac:spMkLst>
        </pc:spChg>
        <pc:grpChg chg="del">
          <ac:chgData name="Thao Hoang" userId="0e23db62feec2a5d" providerId="LiveId" clId="{3FBBEF04-9D5F-4ECB-BDEB-5AF90A52C1C7}" dt="2021-02-17T03:04:09.292" v="1445" actId="478"/>
          <ac:grpSpMkLst>
            <pc:docMk/>
            <pc:sldMk cId="0" sldId="271"/>
            <ac:grpSpMk id="1175" creationId="{00000000-0000-0000-0000-000000000000}"/>
          </ac:grpSpMkLst>
        </pc:grpChg>
        <pc:picChg chg="add mod">
          <ac:chgData name="Thao Hoang" userId="0e23db62feec2a5d" providerId="LiveId" clId="{3FBBEF04-9D5F-4ECB-BDEB-5AF90A52C1C7}" dt="2021-02-17T03:09:20.961" v="1574" actId="1076"/>
          <ac:picMkLst>
            <pc:docMk/>
            <pc:sldMk cId="0" sldId="271"/>
            <ac:picMk id="5122" creationId="{21D6997C-FBF3-4D87-A77A-6DB94AE35C0E}"/>
          </ac:picMkLst>
        </pc:picChg>
      </pc:sldChg>
      <pc:sldChg chg="addSp modSp mod">
        <pc:chgData name="Thao Hoang" userId="0e23db62feec2a5d" providerId="LiveId" clId="{3FBBEF04-9D5F-4ECB-BDEB-5AF90A52C1C7}" dt="2021-02-17T02:43:37.239" v="578" actId="122"/>
        <pc:sldMkLst>
          <pc:docMk/>
          <pc:sldMk cId="4220059410" sldId="272"/>
        </pc:sldMkLst>
        <pc:spChg chg="add mod">
          <ac:chgData name="Thao Hoang" userId="0e23db62feec2a5d" providerId="LiveId" clId="{3FBBEF04-9D5F-4ECB-BDEB-5AF90A52C1C7}" dt="2021-02-17T02:43:37.239" v="578" actId="122"/>
          <ac:spMkLst>
            <pc:docMk/>
            <pc:sldMk cId="4220059410" sldId="272"/>
            <ac:spMk id="2" creationId="{06ED3DD8-082F-42E7-80A2-8951D7EBA4D7}"/>
          </ac:spMkLst>
        </pc:spChg>
      </pc:sldChg>
      <pc:sldChg chg="modSp mod">
        <pc:chgData name="Thao Hoang" userId="0e23db62feec2a5d" providerId="LiveId" clId="{3FBBEF04-9D5F-4ECB-BDEB-5AF90A52C1C7}" dt="2021-02-18T02:48:28.874" v="6723" actId="1076"/>
        <pc:sldMkLst>
          <pc:docMk/>
          <pc:sldMk cId="0" sldId="273"/>
        </pc:sldMkLst>
        <pc:spChg chg="mod">
          <ac:chgData name="Thao Hoang" userId="0e23db62feec2a5d" providerId="LiveId" clId="{3FBBEF04-9D5F-4ECB-BDEB-5AF90A52C1C7}" dt="2021-02-17T03:11:33.484" v="1611" actId="20577"/>
          <ac:spMkLst>
            <pc:docMk/>
            <pc:sldMk cId="0" sldId="273"/>
            <ac:spMk id="1734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12.061" v="6720" actId="1076"/>
          <ac:spMkLst>
            <pc:docMk/>
            <pc:sldMk cId="0" sldId="273"/>
            <ac:spMk id="1735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17.036" v="6721" actId="1076"/>
          <ac:spMkLst>
            <pc:docMk/>
            <pc:sldMk cId="0" sldId="273"/>
            <ac:spMk id="1736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07.662" v="6719" actId="1076"/>
          <ac:spMkLst>
            <pc:docMk/>
            <pc:sldMk cId="0" sldId="273"/>
            <ac:spMk id="1737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7:35.557" v="6716" actId="1076"/>
          <ac:spMkLst>
            <pc:docMk/>
            <pc:sldMk cId="0" sldId="273"/>
            <ac:spMk id="1739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22.452" v="6722" actId="1076"/>
          <ac:spMkLst>
            <pc:docMk/>
            <pc:sldMk cId="0" sldId="273"/>
            <ac:spMk id="1740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28.874" v="6723" actId="1076"/>
          <ac:spMkLst>
            <pc:docMk/>
            <pc:sldMk cId="0" sldId="273"/>
            <ac:spMk id="1741" creationId="{00000000-0000-0000-0000-000000000000}"/>
          </ac:spMkLst>
        </pc:spChg>
      </pc:sldChg>
      <pc:sldChg chg="del">
        <pc:chgData name="Thao Hoang" userId="0e23db62feec2a5d" providerId="LiveId" clId="{3FBBEF04-9D5F-4ECB-BDEB-5AF90A52C1C7}" dt="2021-02-17T03:11:40.446" v="1612" actId="47"/>
        <pc:sldMkLst>
          <pc:docMk/>
          <pc:sldMk cId="0" sldId="274"/>
        </pc:sldMkLst>
      </pc:sldChg>
      <pc:sldChg chg="del">
        <pc:chgData name="Thao Hoang" userId="0e23db62feec2a5d" providerId="LiveId" clId="{3FBBEF04-9D5F-4ECB-BDEB-5AF90A52C1C7}" dt="2021-02-17T03:11:42.667" v="1613" actId="47"/>
        <pc:sldMkLst>
          <pc:docMk/>
          <pc:sldMk cId="0" sldId="275"/>
        </pc:sldMkLst>
      </pc:sldChg>
      <pc:sldChg chg="del">
        <pc:chgData name="Thao Hoang" userId="0e23db62feec2a5d" providerId="LiveId" clId="{3FBBEF04-9D5F-4ECB-BDEB-5AF90A52C1C7}" dt="2021-02-17T03:12:25.073" v="1696" actId="47"/>
        <pc:sldMkLst>
          <pc:docMk/>
          <pc:sldMk cId="0" sldId="276"/>
        </pc:sldMkLst>
      </pc:sldChg>
      <pc:sldChg chg="del ord modAnim">
        <pc:chgData name="Thao Hoang" userId="0e23db62feec2a5d" providerId="LiveId" clId="{3FBBEF04-9D5F-4ECB-BDEB-5AF90A52C1C7}" dt="2021-02-18T02:17:23.479" v="6247"/>
        <pc:sldMkLst>
          <pc:docMk/>
          <pc:sldMk cId="0" sldId="277"/>
        </pc:sldMkLst>
      </pc:sldChg>
      <pc:sldChg chg="modSp mod">
        <pc:chgData name="Thao Hoang" userId="0e23db62feec2a5d" providerId="LiveId" clId="{3FBBEF04-9D5F-4ECB-BDEB-5AF90A52C1C7}" dt="2021-02-17T03:12:41.618" v="1698" actId="6549"/>
        <pc:sldMkLst>
          <pc:docMk/>
          <pc:sldMk cId="0" sldId="278"/>
        </pc:sldMkLst>
        <pc:spChg chg="mod">
          <ac:chgData name="Thao Hoang" userId="0e23db62feec2a5d" providerId="LiveId" clId="{3FBBEF04-9D5F-4ECB-BDEB-5AF90A52C1C7}" dt="2021-02-17T03:12:41.618" v="1698" actId="6549"/>
          <ac:spMkLst>
            <pc:docMk/>
            <pc:sldMk cId="0" sldId="278"/>
            <ac:spMk id="2207" creationId="{00000000-0000-0000-0000-000000000000}"/>
          </ac:spMkLst>
        </pc:spChg>
      </pc:sldChg>
      <pc:sldChg chg="del">
        <pc:chgData name="Thao Hoang" userId="0e23db62feec2a5d" providerId="LiveId" clId="{3FBBEF04-9D5F-4ECB-BDEB-5AF90A52C1C7}" dt="2021-02-17T03:12:52.324" v="1699" actId="47"/>
        <pc:sldMkLst>
          <pc:docMk/>
          <pc:sldMk cId="0" sldId="279"/>
        </pc:sldMkLst>
      </pc:sldChg>
      <pc:sldChg chg="del">
        <pc:chgData name="Thao Hoang" userId="0e23db62feec2a5d" providerId="LiveId" clId="{3FBBEF04-9D5F-4ECB-BDEB-5AF90A52C1C7}" dt="2021-02-17T03:12:58.083" v="1700" actId="47"/>
        <pc:sldMkLst>
          <pc:docMk/>
          <pc:sldMk cId="0" sldId="280"/>
        </pc:sldMkLst>
      </pc:sldChg>
      <pc:sldChg chg="del">
        <pc:chgData name="Thao Hoang" userId="0e23db62feec2a5d" providerId="LiveId" clId="{3FBBEF04-9D5F-4ECB-BDEB-5AF90A52C1C7}" dt="2021-02-17T03:13:01.501" v="1701" actId="47"/>
        <pc:sldMkLst>
          <pc:docMk/>
          <pc:sldMk cId="0" sldId="281"/>
        </pc:sldMkLst>
      </pc:sldChg>
      <pc:sldChg chg="del">
        <pc:chgData name="Thao Hoang" userId="0e23db62feec2a5d" providerId="LiveId" clId="{3FBBEF04-9D5F-4ECB-BDEB-5AF90A52C1C7}" dt="2021-02-17T03:13:02.186" v="1702" actId="47"/>
        <pc:sldMkLst>
          <pc:docMk/>
          <pc:sldMk cId="0" sldId="282"/>
        </pc:sldMkLst>
      </pc:sldChg>
      <pc:sldChg chg="del">
        <pc:chgData name="Thao Hoang" userId="0e23db62feec2a5d" providerId="LiveId" clId="{3FBBEF04-9D5F-4ECB-BDEB-5AF90A52C1C7}" dt="2021-02-17T03:13:02.977" v="1703" actId="47"/>
        <pc:sldMkLst>
          <pc:docMk/>
          <pc:sldMk cId="0" sldId="283"/>
        </pc:sldMkLst>
      </pc:sldChg>
      <pc:sldChg chg="del">
        <pc:chgData name="Thao Hoang" userId="0e23db62feec2a5d" providerId="LiveId" clId="{3FBBEF04-9D5F-4ECB-BDEB-5AF90A52C1C7}" dt="2021-02-17T03:13:03.580" v="1704" actId="47"/>
        <pc:sldMkLst>
          <pc:docMk/>
          <pc:sldMk cId="0" sldId="284"/>
        </pc:sldMkLst>
      </pc:sldChg>
      <pc:sldChg chg="del">
        <pc:chgData name="Thao Hoang" userId="0e23db62feec2a5d" providerId="LiveId" clId="{3FBBEF04-9D5F-4ECB-BDEB-5AF90A52C1C7}" dt="2021-02-17T03:13:04.075" v="1705" actId="47"/>
        <pc:sldMkLst>
          <pc:docMk/>
          <pc:sldMk cId="0" sldId="285"/>
        </pc:sldMkLst>
      </pc:sldChg>
      <pc:sldChg chg="del">
        <pc:chgData name="Thao Hoang" userId="0e23db62feec2a5d" providerId="LiveId" clId="{3FBBEF04-9D5F-4ECB-BDEB-5AF90A52C1C7}" dt="2021-02-17T03:13:05.342" v="1706" actId="47"/>
        <pc:sldMkLst>
          <pc:docMk/>
          <pc:sldMk cId="0" sldId="286"/>
        </pc:sldMkLst>
      </pc:sldChg>
      <pc:sldChg chg="modSp mod modNotesTx">
        <pc:chgData name="Thao Hoang" userId="0e23db62feec2a5d" providerId="LiveId" clId="{3FBBEF04-9D5F-4ECB-BDEB-5AF90A52C1C7}" dt="2021-02-17T22:23:15.409" v="3045" actId="20577"/>
        <pc:sldMkLst>
          <pc:docMk/>
          <pc:sldMk cId="229311856" sldId="287"/>
        </pc:sldMkLst>
        <pc:spChg chg="mod">
          <ac:chgData name="Thao Hoang" userId="0e23db62feec2a5d" providerId="LiveId" clId="{3FBBEF04-9D5F-4ECB-BDEB-5AF90A52C1C7}" dt="2021-02-17T22:23:15.409" v="3045" actId="20577"/>
          <ac:spMkLst>
            <pc:docMk/>
            <pc:sldMk cId="229311856" sldId="287"/>
            <ac:spMk id="406" creationId="{00000000-0000-0000-0000-000000000000}"/>
          </ac:spMkLst>
        </pc:spChg>
      </pc:sldChg>
      <pc:sldChg chg="addSp modSp mod">
        <pc:chgData name="Thao Hoang" userId="0e23db62feec2a5d" providerId="LiveId" clId="{3FBBEF04-9D5F-4ECB-BDEB-5AF90A52C1C7}" dt="2021-02-18T02:29:43.844" v="6370" actId="164"/>
        <pc:sldMkLst>
          <pc:docMk/>
          <pc:sldMk cId="1092614026" sldId="288"/>
        </pc:sldMkLst>
        <pc:spChg chg="add mod ord">
          <ac:chgData name="Thao Hoang" userId="0e23db62feec2a5d" providerId="LiveId" clId="{3FBBEF04-9D5F-4ECB-BDEB-5AF90A52C1C7}" dt="2021-02-18T02:29:43.844" v="6370" actId="164"/>
          <ac:spMkLst>
            <pc:docMk/>
            <pc:sldMk cId="1092614026" sldId="288"/>
            <ac:spMk id="2" creationId="{9197AE2F-DC91-45A6-9487-A9F73593EDE9}"/>
          </ac:spMkLst>
        </pc:spChg>
        <pc:spChg chg="mod">
          <ac:chgData name="Thao Hoang" userId="0e23db62feec2a5d" providerId="LiveId" clId="{3FBBEF04-9D5F-4ECB-BDEB-5AF90A52C1C7}" dt="2021-02-17T02:34:17.784" v="502" actId="14100"/>
          <ac:spMkLst>
            <pc:docMk/>
            <pc:sldMk cId="1092614026" sldId="288"/>
            <ac:spMk id="5" creationId="{874E0F9A-7FDE-4059-9CB1-9CD7A969DBF0}"/>
          </ac:spMkLst>
        </pc:spChg>
        <pc:grpChg chg="add mod">
          <ac:chgData name="Thao Hoang" userId="0e23db62feec2a5d" providerId="LiveId" clId="{3FBBEF04-9D5F-4ECB-BDEB-5AF90A52C1C7}" dt="2021-02-18T02:29:43.844" v="6370" actId="164"/>
          <ac:grpSpMkLst>
            <pc:docMk/>
            <pc:sldMk cId="1092614026" sldId="288"/>
            <ac:grpSpMk id="3" creationId="{5BC5FDD6-8BB8-4930-B127-7AB3E8154E04}"/>
          </ac:grpSpMkLst>
        </pc:grpChg>
        <pc:picChg chg="add mod ord">
          <ac:chgData name="Thao Hoang" userId="0e23db62feec2a5d" providerId="LiveId" clId="{3FBBEF04-9D5F-4ECB-BDEB-5AF90A52C1C7}" dt="2021-02-18T02:29:43.844" v="6370" actId="164"/>
          <ac:picMkLst>
            <pc:docMk/>
            <pc:sldMk cId="1092614026" sldId="288"/>
            <ac:picMk id="7" creationId="{CCCD3D14-9E36-4F15-8AC2-EBD730ADF68F}"/>
          </ac:picMkLst>
        </pc:picChg>
        <pc:picChg chg="add mod">
          <ac:chgData name="Thao Hoang" userId="0e23db62feec2a5d" providerId="LiveId" clId="{3FBBEF04-9D5F-4ECB-BDEB-5AF90A52C1C7}" dt="2021-02-17T22:51:46.817" v="5583" actId="1076"/>
          <ac:picMkLst>
            <pc:docMk/>
            <pc:sldMk cId="1092614026" sldId="288"/>
            <ac:picMk id="4098" creationId="{C50BF038-1D52-4F70-AE6A-26BAD6B054CD}"/>
          </ac:picMkLst>
        </pc:picChg>
      </pc:sldChg>
      <pc:sldChg chg="modSp mod">
        <pc:chgData name="Thao Hoang" userId="0e23db62feec2a5d" providerId="LiveId" clId="{3FBBEF04-9D5F-4ECB-BDEB-5AF90A52C1C7}" dt="2021-02-17T02:17:52.227" v="412" actId="20577"/>
        <pc:sldMkLst>
          <pc:docMk/>
          <pc:sldMk cId="4186107268" sldId="289"/>
        </pc:sldMkLst>
        <pc:spChg chg="mod">
          <ac:chgData name="Thao Hoang" userId="0e23db62feec2a5d" providerId="LiveId" clId="{3FBBEF04-9D5F-4ECB-BDEB-5AF90A52C1C7}" dt="2021-02-17T02:17:52.227" v="412" actId="20577"/>
          <ac:spMkLst>
            <pc:docMk/>
            <pc:sldMk cId="4186107268" sldId="289"/>
            <ac:spMk id="5" creationId="{30C0ECFD-2B7F-4EAA-8641-A744150483D5}"/>
          </ac:spMkLst>
        </pc:spChg>
      </pc:sldChg>
      <pc:sldChg chg="modSp mod modNotesTx">
        <pc:chgData name="Thao Hoang" userId="0e23db62feec2a5d" providerId="LiveId" clId="{3FBBEF04-9D5F-4ECB-BDEB-5AF90A52C1C7}" dt="2021-02-17T22:24:39.071" v="3057" actId="20577"/>
        <pc:sldMkLst>
          <pc:docMk/>
          <pc:sldMk cId="796415397" sldId="290"/>
        </pc:sldMkLst>
        <pc:spChg chg="mod">
          <ac:chgData name="Thao Hoang" userId="0e23db62feec2a5d" providerId="LiveId" clId="{3FBBEF04-9D5F-4ECB-BDEB-5AF90A52C1C7}" dt="2021-02-17T22:24:39.071" v="3057" actId="20577"/>
          <ac:spMkLst>
            <pc:docMk/>
            <pc:sldMk cId="796415397" sldId="290"/>
            <ac:spMk id="406" creationId="{00000000-0000-0000-0000-000000000000}"/>
          </ac:spMkLst>
        </pc:spChg>
      </pc:sldChg>
      <pc:sldChg chg="addSp delSp modSp mod">
        <pc:chgData name="Thao Hoang" userId="0e23db62feec2a5d" providerId="LiveId" clId="{3FBBEF04-9D5F-4ECB-BDEB-5AF90A52C1C7}" dt="2021-02-17T02:41:50.407" v="565" actId="478"/>
        <pc:sldMkLst>
          <pc:docMk/>
          <pc:sldMk cId="191974374" sldId="291"/>
        </pc:sldMkLst>
        <pc:spChg chg="add">
          <ac:chgData name="Thao Hoang" userId="0e23db62feec2a5d" providerId="LiveId" clId="{3FBBEF04-9D5F-4ECB-BDEB-5AF90A52C1C7}" dt="2021-02-17T02:36:44.469" v="529"/>
          <ac:spMkLst>
            <pc:docMk/>
            <pc:sldMk cId="191974374" sldId="291"/>
            <ac:spMk id="3" creationId="{1DA84BB3-95D5-4093-A5FF-81D8DF1583FA}"/>
          </ac:spMkLst>
        </pc:spChg>
        <pc:spChg chg="del">
          <ac:chgData name="Thao Hoang" userId="0e23db62feec2a5d" providerId="LiveId" clId="{3FBBEF04-9D5F-4ECB-BDEB-5AF90A52C1C7}" dt="2021-02-17T02:41:50.407" v="565" actId="478"/>
          <ac:spMkLst>
            <pc:docMk/>
            <pc:sldMk cId="191974374" sldId="291"/>
            <ac:spMk id="4" creationId="{95DE9012-36D1-461B-8491-F028A58DAF48}"/>
          </ac:spMkLst>
        </pc:spChg>
        <pc:spChg chg="add del mod">
          <ac:chgData name="Thao Hoang" userId="0e23db62feec2a5d" providerId="LiveId" clId="{3FBBEF04-9D5F-4ECB-BDEB-5AF90A52C1C7}" dt="2021-02-17T02:38:09.578" v="544" actId="14100"/>
          <ac:spMkLst>
            <pc:docMk/>
            <pc:sldMk cId="191974374" sldId="291"/>
            <ac:spMk id="8" creationId="{6D35E681-7EFD-4A60-B47D-B9EF6A06C595}"/>
          </ac:spMkLst>
        </pc:spChg>
        <pc:spChg chg="mod">
          <ac:chgData name="Thao Hoang" userId="0e23db62feec2a5d" providerId="LiveId" clId="{3FBBEF04-9D5F-4ECB-BDEB-5AF90A52C1C7}" dt="2021-02-17T02:41:20.160" v="560" actId="12"/>
          <ac:spMkLst>
            <pc:docMk/>
            <pc:sldMk cId="191974374" sldId="291"/>
            <ac:spMk id="60" creationId="{2D9B4D18-330F-4456-BB9E-6BBDCC70529F}"/>
          </ac:spMkLst>
        </pc:spChg>
        <pc:spChg chg="mod">
          <ac:chgData name="Thao Hoang" userId="0e23db62feec2a5d" providerId="LiveId" clId="{3FBBEF04-9D5F-4ECB-BDEB-5AF90A52C1C7}" dt="2021-02-17T02:41:24.221" v="564" actId="20577"/>
          <ac:spMkLst>
            <pc:docMk/>
            <pc:sldMk cId="191974374" sldId="291"/>
            <ac:spMk id="62" creationId="{5E93BD6E-B8C5-45D2-90CD-FDF26AE1DB0A}"/>
          </ac:spMkLst>
        </pc:spChg>
        <pc:picChg chg="del mod">
          <ac:chgData name="Thao Hoang" userId="0e23db62feec2a5d" providerId="LiveId" clId="{3FBBEF04-9D5F-4ECB-BDEB-5AF90A52C1C7}" dt="2021-02-17T02:37:09.177" v="539" actId="478"/>
          <ac:picMkLst>
            <pc:docMk/>
            <pc:sldMk cId="191974374" sldId="291"/>
            <ac:picMk id="19" creationId="{73E410A0-CC61-49E3-AA97-AD57AC709428}"/>
          </ac:picMkLst>
        </pc:picChg>
        <pc:picChg chg="add del mod">
          <ac:chgData name="Thao Hoang" userId="0e23db62feec2a5d" providerId="LiveId" clId="{3FBBEF04-9D5F-4ECB-BDEB-5AF90A52C1C7}" dt="2021-02-17T02:39:12.847" v="550" actId="478"/>
          <ac:picMkLst>
            <pc:docMk/>
            <pc:sldMk cId="191974374" sldId="291"/>
            <ac:picMk id="1026" creationId="{F4E86D92-B2A5-4B14-854C-5570809746FD}"/>
          </ac:picMkLst>
        </pc:picChg>
        <pc:picChg chg="add mod">
          <ac:chgData name="Thao Hoang" userId="0e23db62feec2a5d" providerId="LiveId" clId="{3FBBEF04-9D5F-4ECB-BDEB-5AF90A52C1C7}" dt="2021-02-17T02:37:55.211" v="542" actId="1076"/>
          <ac:picMkLst>
            <pc:docMk/>
            <pc:sldMk cId="191974374" sldId="291"/>
            <ac:picMk id="2055" creationId="{6DEE929C-235C-4F8E-ABE7-3D17F27A3F59}"/>
          </ac:picMkLst>
        </pc:picChg>
        <pc:picChg chg="add del">
          <ac:chgData name="Thao Hoang" userId="0e23db62feec2a5d" providerId="LiveId" clId="{3FBBEF04-9D5F-4ECB-BDEB-5AF90A52C1C7}" dt="2021-02-17T02:38:47.133" v="547"/>
          <ac:picMkLst>
            <pc:docMk/>
            <pc:sldMk cId="191974374" sldId="291"/>
            <ac:picMk id="2057" creationId="{2365AB0A-D8AA-422D-8056-F2FA3E5217C6}"/>
          </ac:picMkLst>
        </pc:picChg>
        <pc:picChg chg="add del mod">
          <ac:chgData name="Thao Hoang" userId="0e23db62feec2a5d" providerId="LiveId" clId="{3FBBEF04-9D5F-4ECB-BDEB-5AF90A52C1C7}" dt="2021-02-17T02:39:16.928" v="553" actId="478"/>
          <ac:picMkLst>
            <pc:docMk/>
            <pc:sldMk cId="191974374" sldId="291"/>
            <ac:picMk id="2059" creationId="{9CDFF879-B6D0-4305-8CC6-33815800BD69}"/>
          </ac:picMkLst>
        </pc:picChg>
        <pc:picChg chg="add del mod">
          <ac:chgData name="Thao Hoang" userId="0e23db62feec2a5d" providerId="LiveId" clId="{3FBBEF04-9D5F-4ECB-BDEB-5AF90A52C1C7}" dt="2021-02-17T02:39:50.512" v="556" actId="478"/>
          <ac:picMkLst>
            <pc:docMk/>
            <pc:sldMk cId="191974374" sldId="291"/>
            <ac:picMk id="2061" creationId="{1529147E-9CCF-4AAE-B323-3778FE6754A2}"/>
          </ac:picMkLst>
        </pc:picChg>
        <pc:picChg chg="add mod">
          <ac:chgData name="Thao Hoang" userId="0e23db62feec2a5d" providerId="LiveId" clId="{3FBBEF04-9D5F-4ECB-BDEB-5AF90A52C1C7}" dt="2021-02-17T02:40:36.350" v="559" actId="1076"/>
          <ac:picMkLst>
            <pc:docMk/>
            <pc:sldMk cId="191974374" sldId="291"/>
            <ac:picMk id="2063" creationId="{54F45CCA-04FD-4D2C-BD6E-12E87F96B6D2}"/>
          </ac:picMkLst>
        </pc:picChg>
      </pc:sldChg>
      <pc:sldChg chg="modSp add mod">
        <pc:chgData name="Thao Hoang" userId="0e23db62feec2a5d" providerId="LiveId" clId="{3FBBEF04-9D5F-4ECB-BDEB-5AF90A52C1C7}" dt="2021-02-18T02:36:31.474" v="6626" actId="20577"/>
        <pc:sldMkLst>
          <pc:docMk/>
          <pc:sldMk cId="195707369" sldId="292"/>
        </pc:sldMkLst>
        <pc:spChg chg="mod">
          <ac:chgData name="Thao Hoang" userId="0e23db62feec2a5d" providerId="LiveId" clId="{3FBBEF04-9D5F-4ECB-BDEB-5AF90A52C1C7}" dt="2021-02-18T02:36:31.474" v="6626" actId="20577"/>
          <ac:spMkLst>
            <pc:docMk/>
            <pc:sldMk cId="195707369" sldId="292"/>
            <ac:spMk id="3" creationId="{5B4C4001-629E-4272-9992-28BCC66AA423}"/>
          </ac:spMkLst>
        </pc:spChg>
      </pc:sldChg>
      <pc:sldChg chg="addSp delSp modSp add del mod">
        <pc:chgData name="Thao Hoang" userId="0e23db62feec2a5d" providerId="LiveId" clId="{3FBBEF04-9D5F-4ECB-BDEB-5AF90A52C1C7}" dt="2021-02-17T03:33:53.181" v="2988" actId="2696"/>
        <pc:sldMkLst>
          <pc:docMk/>
          <pc:sldMk cId="284597496" sldId="292"/>
        </pc:sldMkLst>
        <pc:spChg chg="mod">
          <ac:chgData name="Thao Hoang" userId="0e23db62feec2a5d" providerId="LiveId" clId="{3FBBEF04-9D5F-4ECB-BDEB-5AF90A52C1C7}" dt="2021-02-17T03:32:46.210" v="2987" actId="20577"/>
          <ac:spMkLst>
            <pc:docMk/>
            <pc:sldMk cId="284597496" sldId="292"/>
            <ac:spMk id="3" creationId="{5B4C4001-629E-4272-9992-28BCC66AA423}"/>
          </ac:spMkLst>
        </pc:spChg>
        <pc:spChg chg="add del mod">
          <ac:chgData name="Thao Hoang" userId="0e23db62feec2a5d" providerId="LiveId" clId="{3FBBEF04-9D5F-4ECB-BDEB-5AF90A52C1C7}" dt="2021-02-17T03:31:28.097" v="2855" actId="478"/>
          <ac:spMkLst>
            <pc:docMk/>
            <pc:sldMk cId="284597496" sldId="292"/>
            <ac:spMk id="4" creationId="{6F1F2154-97E2-4D15-BB49-C366B5E355A2}"/>
          </ac:spMkLst>
        </pc:spChg>
        <pc:spChg chg="del">
          <ac:chgData name="Thao Hoang" userId="0e23db62feec2a5d" providerId="LiveId" clId="{3FBBEF04-9D5F-4ECB-BDEB-5AF90A52C1C7}" dt="2021-02-17T03:14:19.858" v="1708" actId="478"/>
          <ac:spMkLst>
            <pc:docMk/>
            <pc:sldMk cId="284597496" sldId="292"/>
            <ac:spMk id="346" creationId="{00000000-0000-0000-0000-000000000000}"/>
          </ac:spMkLst>
        </pc:spChg>
      </pc:sldChg>
      <pc:sldChg chg="modSp del mod">
        <pc:chgData name="Thao Hoang" userId="0e23db62feec2a5d" providerId="LiveId" clId="{3FBBEF04-9D5F-4ECB-BDEB-5AF90A52C1C7}" dt="2021-02-17T02:07:18.218" v="15" actId="2696"/>
        <pc:sldMkLst>
          <pc:docMk/>
          <pc:sldMk cId="3601420927" sldId="292"/>
        </pc:sldMkLst>
        <pc:spChg chg="mod">
          <ac:chgData name="Thao Hoang" userId="0e23db62feec2a5d" providerId="LiveId" clId="{3FBBEF04-9D5F-4ECB-BDEB-5AF90A52C1C7}" dt="2021-02-17T02:06:23.618" v="14" actId="14100"/>
          <ac:spMkLst>
            <pc:docMk/>
            <pc:sldMk cId="3601420927" sldId="292"/>
            <ac:spMk id="3" creationId="{5B4C4001-629E-4272-9992-28BCC66AA423}"/>
          </ac:spMkLst>
        </pc:spChg>
        <pc:grpChg chg="mod">
          <ac:chgData name="Thao Hoang" userId="0e23db62feec2a5d" providerId="LiveId" clId="{3FBBEF04-9D5F-4ECB-BDEB-5AF90A52C1C7}" dt="2021-02-17T02:06:20.542" v="13" actId="14100"/>
          <ac:grpSpMkLst>
            <pc:docMk/>
            <pc:sldMk cId="3601420927" sldId="292"/>
            <ac:grpSpMk id="348" creationId="{00000000-0000-0000-0000-000000000000}"/>
          </ac:grpSpMkLst>
        </pc:grpChg>
      </pc:sldChg>
      <pc:sldChg chg="addSp delSp modSp mod">
        <pc:chgData name="Thao Hoang" userId="0e23db62feec2a5d" providerId="LiveId" clId="{3FBBEF04-9D5F-4ECB-BDEB-5AF90A52C1C7}" dt="2021-02-18T01:33:11.906" v="6196" actId="120"/>
        <pc:sldMkLst>
          <pc:docMk/>
          <pc:sldMk cId="505474391" sldId="293"/>
        </pc:sldMkLst>
        <pc:spChg chg="del">
          <ac:chgData name="Thao Hoang" userId="0e23db62feec2a5d" providerId="LiveId" clId="{3FBBEF04-9D5F-4ECB-BDEB-5AF90A52C1C7}" dt="2021-02-18T01:32:30.302" v="6185" actId="478"/>
          <ac:spMkLst>
            <pc:docMk/>
            <pc:sldMk cId="505474391" sldId="293"/>
            <ac:spMk id="2213" creationId="{00000000-0000-0000-0000-000000000000}"/>
          </ac:spMkLst>
        </pc:spChg>
        <pc:graphicFrameChg chg="add mod modGraphic">
          <ac:chgData name="Thao Hoang" userId="0e23db62feec2a5d" providerId="LiveId" clId="{3FBBEF04-9D5F-4ECB-BDEB-5AF90A52C1C7}" dt="2021-02-18T01:33:11.906" v="6196" actId="120"/>
          <ac:graphicFrameMkLst>
            <pc:docMk/>
            <pc:sldMk cId="505474391" sldId="293"/>
            <ac:graphicFrameMk id="2" creationId="{D3BBC783-F14A-4332-A7D3-7ADFA272BA88}"/>
          </ac:graphicFrameMkLst>
        </pc:graphicFrameChg>
      </pc:sldChg>
      <pc:sldChg chg="addSp delSp modSp mod modNotesTx">
        <pc:chgData name="Thao Hoang" userId="0e23db62feec2a5d" providerId="LiveId" clId="{3FBBEF04-9D5F-4ECB-BDEB-5AF90A52C1C7}" dt="2021-02-17T03:40:22.981" v="3042" actId="20577"/>
        <pc:sldMkLst>
          <pc:docMk/>
          <pc:sldMk cId="3553263963" sldId="294"/>
        </pc:sldMkLst>
        <pc:spChg chg="del">
          <ac:chgData name="Thao Hoang" userId="0e23db62feec2a5d" providerId="LiveId" clId="{3FBBEF04-9D5F-4ECB-BDEB-5AF90A52C1C7}" dt="2021-02-17T02:44:53.279" v="599" actId="21"/>
          <ac:spMkLst>
            <pc:docMk/>
            <pc:sldMk cId="3553263963" sldId="294"/>
            <ac:spMk id="3" creationId="{2D80515D-7011-4BF7-94DF-500F56A21804}"/>
          </ac:spMkLst>
        </pc:spChg>
        <pc:spChg chg="add del mod">
          <ac:chgData name="Thao Hoang" userId="0e23db62feec2a5d" providerId="LiveId" clId="{3FBBEF04-9D5F-4ECB-BDEB-5AF90A52C1C7}" dt="2021-02-17T02:45:05.826" v="603" actId="478"/>
          <ac:spMkLst>
            <pc:docMk/>
            <pc:sldMk cId="3553263963" sldId="294"/>
            <ac:spMk id="4" creationId="{4E3E9D1A-E255-4B5A-937D-1F1CB1575190}"/>
          </ac:spMkLst>
        </pc:spChg>
      </pc:sldChg>
      <pc:sldChg chg="modSp add mod modNotesTx">
        <pc:chgData name="Thao Hoang" userId="0e23db62feec2a5d" providerId="LiveId" clId="{3FBBEF04-9D5F-4ECB-BDEB-5AF90A52C1C7}" dt="2021-02-17T03:38:31.672" v="3026" actId="20577"/>
        <pc:sldMkLst>
          <pc:docMk/>
          <pc:sldMk cId="788177721" sldId="295"/>
        </pc:sldMkLst>
        <pc:spChg chg="mod">
          <ac:chgData name="Thao Hoang" userId="0e23db62feec2a5d" providerId="LiveId" clId="{3FBBEF04-9D5F-4ECB-BDEB-5AF90A52C1C7}" dt="2021-02-17T02:08:29.336" v="41" actId="20577"/>
          <ac:spMkLst>
            <pc:docMk/>
            <pc:sldMk cId="788177721" sldId="295"/>
            <ac:spMk id="405" creationId="{00000000-0000-0000-0000-000000000000}"/>
          </ac:spMkLst>
        </pc:spChg>
        <pc:spChg chg="mod">
          <ac:chgData name="Thao Hoang" userId="0e23db62feec2a5d" providerId="LiveId" clId="{3FBBEF04-9D5F-4ECB-BDEB-5AF90A52C1C7}" dt="2021-02-17T02:45:15.374" v="604" actId="20577"/>
          <ac:spMkLst>
            <pc:docMk/>
            <pc:sldMk cId="788177721" sldId="295"/>
            <ac:spMk id="406" creationId="{00000000-0000-0000-0000-000000000000}"/>
          </ac:spMkLst>
        </pc:spChg>
        <pc:spChg chg="mod">
          <ac:chgData name="Thao Hoang" userId="0e23db62feec2a5d" providerId="LiveId" clId="{3FBBEF04-9D5F-4ECB-BDEB-5AF90A52C1C7}" dt="2021-02-17T02:08:21.039" v="20" actId="20577"/>
          <ac:spMkLst>
            <pc:docMk/>
            <pc:sldMk cId="788177721" sldId="295"/>
            <ac:spMk id="407" creationId="{00000000-0000-0000-0000-000000000000}"/>
          </ac:spMkLst>
        </pc:spChg>
      </pc:sldChg>
      <pc:sldChg chg="delSp modSp add mod modNotesTx">
        <pc:chgData name="Thao Hoang" userId="0e23db62feec2a5d" providerId="LiveId" clId="{3FBBEF04-9D5F-4ECB-BDEB-5AF90A52C1C7}" dt="2021-02-17T03:40:59.140" v="3044" actId="20577"/>
        <pc:sldMkLst>
          <pc:docMk/>
          <pc:sldMk cId="576451462" sldId="296"/>
        </pc:sldMkLst>
        <pc:spChg chg="mod">
          <ac:chgData name="Thao Hoang" userId="0e23db62feec2a5d" providerId="LiveId" clId="{3FBBEF04-9D5F-4ECB-BDEB-5AF90A52C1C7}" dt="2021-02-17T02:08:59.215" v="95" actId="6549"/>
          <ac:spMkLst>
            <pc:docMk/>
            <pc:sldMk cId="576451462" sldId="296"/>
            <ac:spMk id="405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09:03.649" v="96" actId="478"/>
          <ac:spMkLst>
            <pc:docMk/>
            <pc:sldMk cId="576451462" sldId="296"/>
            <ac:spMk id="406" creationId="{00000000-0000-0000-0000-000000000000}"/>
          </ac:spMkLst>
        </pc:spChg>
        <pc:spChg chg="mod">
          <ac:chgData name="Thao Hoang" userId="0e23db62feec2a5d" providerId="LiveId" clId="{3FBBEF04-9D5F-4ECB-BDEB-5AF90A52C1C7}" dt="2021-02-17T02:08:47.634" v="81" actId="20577"/>
          <ac:spMkLst>
            <pc:docMk/>
            <pc:sldMk cId="576451462" sldId="296"/>
            <ac:spMk id="407" creationId="{00000000-0000-0000-0000-000000000000}"/>
          </ac:spMkLst>
        </pc:spChg>
      </pc:sldChg>
      <pc:sldChg chg="addSp delSp modSp add del mod">
        <pc:chgData name="Thao Hoang" userId="0e23db62feec2a5d" providerId="LiveId" clId="{3FBBEF04-9D5F-4ECB-BDEB-5AF90A52C1C7}" dt="2021-02-18T01:28:11.625" v="6170" actId="47"/>
        <pc:sldMkLst>
          <pc:docMk/>
          <pc:sldMk cId="847312865" sldId="297"/>
        </pc:sldMkLst>
        <pc:spChg chg="add mod">
          <ac:chgData name="Thao Hoang" userId="0e23db62feec2a5d" providerId="LiveId" clId="{3FBBEF04-9D5F-4ECB-BDEB-5AF90A52C1C7}" dt="2021-02-17T02:45:02.010" v="602" actId="1076"/>
          <ac:spMkLst>
            <pc:docMk/>
            <pc:sldMk cId="847312865" sldId="297"/>
            <ac:spMk id="114" creationId="{3936837B-25F6-4EC5-A396-340ACF791FCD}"/>
          </ac:spMkLst>
        </pc:spChg>
        <pc:spChg chg="mod">
          <ac:chgData name="Thao Hoang" userId="0e23db62feec2a5d" providerId="LiveId" clId="{3FBBEF04-9D5F-4ECB-BDEB-5AF90A52C1C7}" dt="2021-02-17T02:44:43.185" v="598" actId="14100"/>
          <ac:spMkLst>
            <pc:docMk/>
            <pc:sldMk cId="847312865" sldId="297"/>
            <ac:spMk id="741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4:32.460" v="596" actId="478"/>
          <ac:spMkLst>
            <pc:docMk/>
            <pc:sldMk cId="847312865" sldId="297"/>
            <ac:spMk id="742" creationId="{00000000-0000-0000-0000-000000000000}"/>
          </ac:spMkLst>
        </pc:spChg>
        <pc:grpChg chg="del">
          <ac:chgData name="Thao Hoang" userId="0e23db62feec2a5d" providerId="LiveId" clId="{3FBBEF04-9D5F-4ECB-BDEB-5AF90A52C1C7}" dt="2021-02-17T02:44:34.988" v="597" actId="478"/>
          <ac:grpSpMkLst>
            <pc:docMk/>
            <pc:sldMk cId="847312865" sldId="297"/>
            <ac:grpSpMk id="744" creationId="{00000000-0000-0000-0000-000000000000}"/>
          </ac:grpSpMkLst>
        </pc:grpChg>
      </pc:sldChg>
      <pc:sldChg chg="addSp delSp modSp add mod ord modNotesTx">
        <pc:chgData name="Thao Hoang" userId="0e23db62feec2a5d" providerId="LiveId" clId="{3FBBEF04-9D5F-4ECB-BDEB-5AF90A52C1C7}" dt="2021-02-17T22:57:47.529" v="5766" actId="14100"/>
        <pc:sldMkLst>
          <pc:docMk/>
          <pc:sldMk cId="540307469" sldId="298"/>
        </pc:sldMkLst>
        <pc:spChg chg="add del mod">
          <ac:chgData name="Thao Hoang" userId="0e23db62feec2a5d" providerId="LiveId" clId="{3FBBEF04-9D5F-4ECB-BDEB-5AF90A52C1C7}" dt="2021-02-17T02:46:05.997" v="627" actId="478"/>
          <ac:spMkLst>
            <pc:docMk/>
            <pc:sldMk cId="540307469" sldId="298"/>
            <ac:spMk id="3" creationId="{106020EE-07C4-4835-A020-F32190B27BBF}"/>
          </ac:spMkLst>
        </pc:spChg>
        <pc:spChg chg="add del mod">
          <ac:chgData name="Thao Hoang" userId="0e23db62feec2a5d" providerId="LiveId" clId="{3FBBEF04-9D5F-4ECB-BDEB-5AF90A52C1C7}" dt="2021-02-17T02:46:04.787" v="626" actId="478"/>
          <ac:spMkLst>
            <pc:docMk/>
            <pc:sldMk cId="540307469" sldId="298"/>
            <ac:spMk id="5" creationId="{0F4F49C6-7640-42FC-BBFE-40E3E5EACF62}"/>
          </ac:spMkLst>
        </pc:spChg>
        <pc:spChg chg="add del mod">
          <ac:chgData name="Thao Hoang" userId="0e23db62feec2a5d" providerId="LiveId" clId="{3FBBEF04-9D5F-4ECB-BDEB-5AF90A52C1C7}" dt="2021-02-17T02:47:55.126" v="682" actId="478"/>
          <ac:spMkLst>
            <pc:docMk/>
            <pc:sldMk cId="540307469" sldId="298"/>
            <ac:spMk id="11" creationId="{24FCD61E-AF4E-4C81-82A5-0B878C1D144E}"/>
          </ac:spMkLst>
        </pc:spChg>
        <pc:spChg chg="add del mod">
          <ac:chgData name="Thao Hoang" userId="0e23db62feec2a5d" providerId="LiveId" clId="{3FBBEF04-9D5F-4ECB-BDEB-5AF90A52C1C7}" dt="2021-02-17T02:47:57.027" v="683" actId="478"/>
          <ac:spMkLst>
            <pc:docMk/>
            <pc:sldMk cId="540307469" sldId="298"/>
            <ac:spMk id="12" creationId="{2B46A883-743B-4875-A170-5E09314AE869}"/>
          </ac:spMkLst>
        </pc:spChg>
        <pc:spChg chg="add del mod">
          <ac:chgData name="Thao Hoang" userId="0e23db62feec2a5d" providerId="LiveId" clId="{3FBBEF04-9D5F-4ECB-BDEB-5AF90A52C1C7}" dt="2021-02-17T02:47:58.386" v="684" actId="478"/>
          <ac:spMkLst>
            <pc:docMk/>
            <pc:sldMk cId="540307469" sldId="298"/>
            <ac:spMk id="13" creationId="{C53324F8-2F60-40D7-990F-BCAD17FB7F51}"/>
          </ac:spMkLst>
        </pc:spChg>
        <pc:spChg chg="mod">
          <ac:chgData name="Thao Hoang" userId="0e23db62feec2a5d" providerId="LiveId" clId="{3FBBEF04-9D5F-4ECB-BDEB-5AF90A52C1C7}" dt="2021-02-17T02:45:39.638" v="614" actId="20577"/>
          <ac:spMkLst>
            <pc:docMk/>
            <pc:sldMk cId="540307469" sldId="298"/>
            <ac:spMk id="997" creationId="{00000000-0000-0000-0000-000000000000}"/>
          </ac:spMkLst>
        </pc:spChg>
        <pc:spChg chg="mod">
          <ac:chgData name="Thao Hoang" userId="0e23db62feec2a5d" providerId="LiveId" clId="{3FBBEF04-9D5F-4ECB-BDEB-5AF90A52C1C7}" dt="2021-02-17T22:56:02.651" v="5621" actId="20577"/>
          <ac:spMkLst>
            <pc:docMk/>
            <pc:sldMk cId="540307469" sldId="298"/>
            <ac:spMk id="998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6:01.535" v="624" actId="478"/>
          <ac:spMkLst>
            <pc:docMk/>
            <pc:sldMk cId="540307469" sldId="298"/>
            <ac:spMk id="999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6:03.967" v="625" actId="478"/>
          <ac:spMkLst>
            <pc:docMk/>
            <pc:sldMk cId="540307469" sldId="298"/>
            <ac:spMk id="1000" creationId="{00000000-0000-0000-0000-000000000000}"/>
          </ac:spMkLst>
        </pc:spChg>
        <pc:picChg chg="add mod">
          <ac:chgData name="Thao Hoang" userId="0e23db62feec2a5d" providerId="LiveId" clId="{3FBBEF04-9D5F-4ECB-BDEB-5AF90A52C1C7}" dt="2021-02-17T22:55:48.926" v="5599" actId="1076"/>
          <ac:picMkLst>
            <pc:docMk/>
            <pc:sldMk cId="540307469" sldId="298"/>
            <ac:picMk id="3" creationId="{A58C8A79-1ABF-48D1-B433-C45EB7DAE116}"/>
          </ac:picMkLst>
        </pc:picChg>
        <pc:picChg chg="add mod">
          <ac:chgData name="Thao Hoang" userId="0e23db62feec2a5d" providerId="LiveId" clId="{3FBBEF04-9D5F-4ECB-BDEB-5AF90A52C1C7}" dt="2021-02-17T22:57:26.027" v="5762" actId="1076"/>
          <ac:picMkLst>
            <pc:docMk/>
            <pc:sldMk cId="540307469" sldId="298"/>
            <ac:picMk id="5" creationId="{0520273D-9E4E-4F1C-A654-CDB3D7461F88}"/>
          </ac:picMkLst>
        </pc:picChg>
        <pc:picChg chg="add mod">
          <ac:chgData name="Thao Hoang" userId="0e23db62feec2a5d" providerId="LiveId" clId="{3FBBEF04-9D5F-4ECB-BDEB-5AF90A52C1C7}" dt="2021-02-17T22:57:47.529" v="5766" actId="14100"/>
          <ac:picMkLst>
            <pc:docMk/>
            <pc:sldMk cId="540307469" sldId="298"/>
            <ac:picMk id="7" creationId="{A4641AC0-873E-4784-A899-D6738A5C9402}"/>
          </ac:picMkLst>
        </pc:picChg>
        <pc:picChg chg="add del mod">
          <ac:chgData name="Thao Hoang" userId="0e23db62feec2a5d" providerId="LiveId" clId="{3FBBEF04-9D5F-4ECB-BDEB-5AF90A52C1C7}" dt="2021-02-17T03:02:06.067" v="1365" actId="478"/>
          <ac:picMkLst>
            <pc:docMk/>
            <pc:sldMk cId="540307469" sldId="298"/>
            <ac:picMk id="14" creationId="{B062E02F-76F9-45A4-AA10-DFEEFB8C7314}"/>
          </ac:picMkLst>
        </pc:picChg>
      </pc:sldChg>
      <pc:sldChg chg="addSp delSp modSp add mod modNotesTx">
        <pc:chgData name="Thao Hoang" userId="0e23db62feec2a5d" providerId="LiveId" clId="{3FBBEF04-9D5F-4ECB-BDEB-5AF90A52C1C7}" dt="2021-02-17T22:36:43.885" v="4811" actId="20577"/>
        <pc:sldMkLst>
          <pc:docMk/>
          <pc:sldMk cId="691394434" sldId="299"/>
        </pc:sldMkLst>
        <pc:spChg chg="add del mod">
          <ac:chgData name="Thao Hoang" userId="0e23db62feec2a5d" providerId="LiveId" clId="{3FBBEF04-9D5F-4ECB-BDEB-5AF90A52C1C7}" dt="2021-02-17T03:01:07.727" v="1340" actId="478"/>
          <ac:spMkLst>
            <pc:docMk/>
            <pc:sldMk cId="691394434" sldId="299"/>
            <ac:spMk id="7" creationId="{780DC6EF-04A6-4CC5-B25B-246F4596E044}"/>
          </ac:spMkLst>
        </pc:spChg>
        <pc:spChg chg="add del mod">
          <ac:chgData name="Thao Hoang" userId="0e23db62feec2a5d" providerId="LiveId" clId="{3FBBEF04-9D5F-4ECB-BDEB-5AF90A52C1C7}" dt="2021-02-17T03:10:16.823" v="1581" actId="478"/>
          <ac:spMkLst>
            <pc:docMk/>
            <pc:sldMk cId="691394434" sldId="299"/>
            <ac:spMk id="9" creationId="{FFEB67D9-E3A2-43EC-9EF3-BE4E905C8C31}"/>
          </ac:spMkLst>
        </pc:spChg>
        <pc:spChg chg="del mod">
          <ac:chgData name="Thao Hoang" userId="0e23db62feec2a5d" providerId="LiveId" clId="{3FBBEF04-9D5F-4ECB-BDEB-5AF90A52C1C7}" dt="2021-02-17T03:10:15.503" v="1580" actId="478"/>
          <ac:spMkLst>
            <pc:docMk/>
            <pc:sldMk cId="691394434" sldId="299"/>
            <ac:spMk id="997" creationId="{00000000-0000-0000-0000-000000000000}"/>
          </ac:spMkLst>
        </pc:spChg>
        <pc:spChg chg="del">
          <ac:chgData name="Thao Hoang" userId="0e23db62feec2a5d" providerId="LiveId" clId="{3FBBEF04-9D5F-4ECB-BDEB-5AF90A52C1C7}" dt="2021-02-17T03:01:05.578" v="1339" actId="478"/>
          <ac:spMkLst>
            <pc:docMk/>
            <pc:sldMk cId="691394434" sldId="299"/>
            <ac:spMk id="998" creationId="{00000000-0000-0000-0000-000000000000}"/>
          </ac:spMkLst>
        </pc:spChg>
        <pc:picChg chg="add del mod">
          <ac:chgData name="Thao Hoang" userId="0e23db62feec2a5d" providerId="LiveId" clId="{3FBBEF04-9D5F-4ECB-BDEB-5AF90A52C1C7}" dt="2021-02-17T03:01:50.788" v="1361" actId="21"/>
          <ac:picMkLst>
            <pc:docMk/>
            <pc:sldMk cId="691394434" sldId="299"/>
            <ac:picMk id="3" creationId="{E2BBF3B0-FF68-461F-AD98-F29E71EF35BA}"/>
          </ac:picMkLst>
        </pc:picChg>
        <pc:picChg chg="add mod">
          <ac:chgData name="Thao Hoang" userId="0e23db62feec2a5d" providerId="LiveId" clId="{3FBBEF04-9D5F-4ECB-BDEB-5AF90A52C1C7}" dt="2021-02-17T03:11:02.856" v="1591" actId="14100"/>
          <ac:picMkLst>
            <pc:docMk/>
            <pc:sldMk cId="691394434" sldId="299"/>
            <ac:picMk id="5" creationId="{6C2AEEB3-9148-4794-945C-8CB50C0FB14A}"/>
          </ac:picMkLst>
        </pc:picChg>
      </pc:sldChg>
      <pc:sldChg chg="addSp delSp modSp add mod modNotesTx">
        <pc:chgData name="Thao Hoang" userId="0e23db62feec2a5d" providerId="LiveId" clId="{3FBBEF04-9D5F-4ECB-BDEB-5AF90A52C1C7}" dt="2021-02-18T02:35:13.138" v="6521" actId="1036"/>
        <pc:sldMkLst>
          <pc:docMk/>
          <pc:sldMk cId="947203652" sldId="300"/>
        </pc:sldMkLst>
        <pc:spChg chg="add mod">
          <ac:chgData name="Thao Hoang" userId="0e23db62feec2a5d" providerId="LiveId" clId="{3FBBEF04-9D5F-4ECB-BDEB-5AF90A52C1C7}" dt="2021-02-18T02:35:13.138" v="6521" actId="1036"/>
          <ac:spMkLst>
            <pc:docMk/>
            <pc:sldMk cId="947203652" sldId="300"/>
            <ac:spMk id="2" creationId="{741B36DA-5D42-475F-9E23-488BC36ECBA9}"/>
          </ac:spMkLst>
        </pc:spChg>
        <pc:spChg chg="add del">
          <ac:chgData name="Thao Hoang" userId="0e23db62feec2a5d" providerId="LiveId" clId="{3FBBEF04-9D5F-4ECB-BDEB-5AF90A52C1C7}" dt="2021-02-17T22:42:08.018" v="5007"/>
          <ac:spMkLst>
            <pc:docMk/>
            <pc:sldMk cId="947203652" sldId="300"/>
            <ac:spMk id="3" creationId="{789B8CB5-25F1-4D2F-A25B-99DD7AF684A1}"/>
          </ac:spMkLst>
        </pc:spChg>
        <pc:spChg chg="add mod">
          <ac:chgData name="Thao Hoang" userId="0e23db62feec2a5d" providerId="LiveId" clId="{3FBBEF04-9D5F-4ECB-BDEB-5AF90A52C1C7}" dt="2021-02-18T02:35:00.232" v="6502" actId="6549"/>
          <ac:spMkLst>
            <pc:docMk/>
            <pc:sldMk cId="947203652" sldId="300"/>
            <ac:spMk id="4" creationId="{9537626E-26FA-4C27-97A0-B0735C4B5F45}"/>
          </ac:spMkLst>
        </pc:spChg>
        <pc:spChg chg="add del mod">
          <ac:chgData name="Thao Hoang" userId="0e23db62feec2a5d" providerId="LiveId" clId="{3FBBEF04-9D5F-4ECB-BDEB-5AF90A52C1C7}" dt="2021-02-17T22:46:49.790" v="5351" actId="478"/>
          <ac:spMkLst>
            <pc:docMk/>
            <pc:sldMk cId="947203652" sldId="300"/>
            <ac:spMk id="6" creationId="{FB148A84-3213-421C-9997-6AC616A92FF2}"/>
          </ac:spMkLst>
        </pc:spChg>
        <pc:spChg chg="add del mod">
          <ac:chgData name="Thao Hoang" userId="0e23db62feec2a5d" providerId="LiveId" clId="{3FBBEF04-9D5F-4ECB-BDEB-5AF90A52C1C7}" dt="2021-02-17T22:42:24.106" v="5021" actId="478"/>
          <ac:spMkLst>
            <pc:docMk/>
            <pc:sldMk cId="947203652" sldId="300"/>
            <ac:spMk id="7" creationId="{D2EEF117-D3F9-4209-94E9-C975EF9F2C86}"/>
          </ac:spMkLst>
        </pc:spChg>
        <pc:spChg chg="add mod">
          <ac:chgData name="Thao Hoang" userId="0e23db62feec2a5d" providerId="LiveId" clId="{3FBBEF04-9D5F-4ECB-BDEB-5AF90A52C1C7}" dt="2021-02-18T02:35:13.138" v="6521" actId="1036"/>
          <ac:spMkLst>
            <pc:docMk/>
            <pc:sldMk cId="947203652" sldId="300"/>
            <ac:spMk id="8" creationId="{A4975890-35E4-444C-82C4-ECD96E14397C}"/>
          </ac:spMkLst>
        </pc:spChg>
        <pc:spChg chg="add mod">
          <ac:chgData name="Thao Hoang" userId="0e23db62feec2a5d" providerId="LiveId" clId="{3FBBEF04-9D5F-4ECB-BDEB-5AF90A52C1C7}" dt="2021-02-18T02:35:13.138" v="6521" actId="1036"/>
          <ac:spMkLst>
            <pc:docMk/>
            <pc:sldMk cId="947203652" sldId="300"/>
            <ac:spMk id="10" creationId="{76D9B805-56F9-46D3-B6F8-E8842D608FC7}"/>
          </ac:spMkLst>
        </pc:spChg>
        <pc:spChg chg="add del mod">
          <ac:chgData name="Thao Hoang" userId="0e23db62feec2a5d" providerId="LiveId" clId="{3FBBEF04-9D5F-4ECB-BDEB-5AF90A52C1C7}" dt="2021-02-17T22:46:25.128" v="5326" actId="478"/>
          <ac:spMkLst>
            <pc:docMk/>
            <pc:sldMk cId="947203652" sldId="300"/>
            <ac:spMk id="11" creationId="{6C049B8C-5C3F-4CF8-B828-866B7B3EACDD}"/>
          </ac:spMkLst>
        </pc:spChg>
        <pc:spChg chg="add mod">
          <ac:chgData name="Thao Hoang" userId="0e23db62feec2a5d" providerId="LiveId" clId="{3FBBEF04-9D5F-4ECB-BDEB-5AF90A52C1C7}" dt="2021-02-17T22:48:27.309" v="5358" actId="20577"/>
          <ac:spMkLst>
            <pc:docMk/>
            <pc:sldMk cId="947203652" sldId="300"/>
            <ac:spMk id="12" creationId="{4A675AE7-223D-4AE5-AFD8-EE8689B2E3F0}"/>
          </ac:spMkLst>
        </pc:spChg>
        <pc:spChg chg="add mod">
          <ac:chgData name="Thao Hoang" userId="0e23db62feec2a5d" providerId="LiveId" clId="{3FBBEF04-9D5F-4ECB-BDEB-5AF90A52C1C7}" dt="2021-02-18T02:33:20.672" v="6446" actId="20577"/>
          <ac:spMkLst>
            <pc:docMk/>
            <pc:sldMk cId="947203652" sldId="300"/>
            <ac:spMk id="13" creationId="{8483E668-FEAE-4C59-9B67-D7450C632178}"/>
          </ac:spMkLst>
        </pc:spChg>
        <pc:spChg chg="add mod">
          <ac:chgData name="Thao Hoang" userId="0e23db62feec2a5d" providerId="LiveId" clId="{3FBBEF04-9D5F-4ECB-BDEB-5AF90A52C1C7}" dt="2021-02-18T02:33:30.590" v="6447" actId="1076"/>
          <ac:spMkLst>
            <pc:docMk/>
            <pc:sldMk cId="947203652" sldId="300"/>
            <ac:spMk id="14" creationId="{A5207FDD-DCF1-4820-9E90-C327CD957920}"/>
          </ac:spMkLst>
        </pc:spChg>
        <pc:picChg chg="del">
          <ac:chgData name="Thao Hoang" userId="0e23db62feec2a5d" providerId="LiveId" clId="{3FBBEF04-9D5F-4ECB-BDEB-5AF90A52C1C7}" dt="2021-02-17T22:36:58.064" v="4813" actId="478"/>
          <ac:picMkLst>
            <pc:docMk/>
            <pc:sldMk cId="947203652" sldId="300"/>
            <ac:picMk id="5" creationId="{6C2AEEB3-9148-4794-945C-8CB50C0FB14A}"/>
          </ac:picMkLst>
        </pc:picChg>
      </pc:sldChg>
      <pc:sldChg chg="addSp delSp modSp add del mod">
        <pc:chgData name="Thao Hoang" userId="0e23db62feec2a5d" providerId="LiveId" clId="{3FBBEF04-9D5F-4ECB-BDEB-5AF90A52C1C7}" dt="2021-02-17T03:02:19.697" v="1366" actId="47"/>
        <pc:sldMkLst>
          <pc:docMk/>
          <pc:sldMk cId="2924716912" sldId="300"/>
        </pc:sldMkLst>
        <pc:spChg chg="add del mod">
          <ac:chgData name="Thao Hoang" userId="0e23db62feec2a5d" providerId="LiveId" clId="{3FBBEF04-9D5F-4ECB-BDEB-5AF90A52C1C7}" dt="2021-02-17T03:00:58.072" v="1338" actId="478"/>
          <ac:spMkLst>
            <pc:docMk/>
            <pc:sldMk cId="2924716912" sldId="300"/>
            <ac:spMk id="4" creationId="{2C281601-5EF8-492C-A47D-CDF0EFB5ED68}"/>
          </ac:spMkLst>
        </pc:spChg>
        <pc:spChg chg="del">
          <ac:chgData name="Thao Hoang" userId="0e23db62feec2a5d" providerId="LiveId" clId="{3FBBEF04-9D5F-4ECB-BDEB-5AF90A52C1C7}" dt="2021-02-17T03:00:48.744" v="1336" actId="478"/>
          <ac:spMkLst>
            <pc:docMk/>
            <pc:sldMk cId="2924716912" sldId="300"/>
            <ac:spMk id="998" creationId="{00000000-0000-0000-0000-000000000000}"/>
          </ac:spMkLst>
        </pc:spChg>
        <pc:picChg chg="mod">
          <ac:chgData name="Thao Hoang" userId="0e23db62feec2a5d" providerId="LiveId" clId="{3FBBEF04-9D5F-4ECB-BDEB-5AF90A52C1C7}" dt="2021-02-17T03:00:51.065" v="1337" actId="1076"/>
          <ac:picMkLst>
            <pc:docMk/>
            <pc:sldMk cId="2924716912" sldId="300"/>
            <ac:picMk id="5" creationId="{6C2AEEB3-9148-4794-945C-8CB50C0FB14A}"/>
          </ac:picMkLst>
        </pc:picChg>
      </pc:sldChg>
      <pc:sldChg chg="addSp delSp modSp add mod modNotesTx">
        <pc:chgData name="Thao Hoang" userId="0e23db62feec2a5d" providerId="LiveId" clId="{3FBBEF04-9D5F-4ECB-BDEB-5AF90A52C1C7}" dt="2021-02-17T23:01:30.987" v="6157" actId="20577"/>
        <pc:sldMkLst>
          <pc:docMk/>
          <pc:sldMk cId="270865405" sldId="301"/>
        </pc:sldMkLst>
        <pc:picChg chg="add mod">
          <ac:chgData name="Thao Hoang" userId="0e23db62feec2a5d" providerId="LiveId" clId="{3FBBEF04-9D5F-4ECB-BDEB-5AF90A52C1C7}" dt="2021-02-17T22:59:54.898" v="5781" actId="14100"/>
          <ac:picMkLst>
            <pc:docMk/>
            <pc:sldMk cId="270865405" sldId="301"/>
            <ac:picMk id="3" creationId="{AC8CBD08-C1F2-483F-B056-122E74ED401B}"/>
          </ac:picMkLst>
        </pc:picChg>
        <pc:picChg chg="del">
          <ac:chgData name="Thao Hoang" userId="0e23db62feec2a5d" providerId="LiveId" clId="{3FBBEF04-9D5F-4ECB-BDEB-5AF90A52C1C7}" dt="2021-02-17T22:58:35.320" v="5768" actId="478"/>
          <ac:picMkLst>
            <pc:docMk/>
            <pc:sldMk cId="270865405" sldId="301"/>
            <ac:picMk id="5" creationId="{6C2AEEB3-9148-4794-945C-8CB50C0FB14A}"/>
          </ac:picMkLst>
        </pc:picChg>
      </pc:sldChg>
      <pc:sldChg chg="delSp add del mod">
        <pc:chgData name="Thao Hoang" userId="0e23db62feec2a5d" providerId="LiveId" clId="{3FBBEF04-9D5F-4ECB-BDEB-5AF90A52C1C7}" dt="2021-02-17T22:58:40.642" v="5773" actId="47"/>
        <pc:sldMkLst>
          <pc:docMk/>
          <pc:sldMk cId="1430458174" sldId="302"/>
        </pc:sldMkLst>
        <pc:picChg chg="del">
          <ac:chgData name="Thao Hoang" userId="0e23db62feec2a5d" providerId="LiveId" clId="{3FBBEF04-9D5F-4ECB-BDEB-5AF90A52C1C7}" dt="2021-02-17T22:58:37.495" v="5770" actId="478"/>
          <ac:picMkLst>
            <pc:docMk/>
            <pc:sldMk cId="1430458174" sldId="302"/>
            <ac:picMk id="5" creationId="{6C2AEEB3-9148-4794-945C-8CB50C0FB14A}"/>
          </ac:picMkLst>
        </pc:picChg>
      </pc:sldChg>
      <pc:sldChg chg="add del ord">
        <pc:chgData name="Thao Hoang" userId="0e23db62feec2a5d" providerId="LiveId" clId="{3FBBEF04-9D5F-4ECB-BDEB-5AF90A52C1C7}" dt="2021-02-18T01:26:12.616" v="6168" actId="47"/>
        <pc:sldMkLst>
          <pc:docMk/>
          <pc:sldMk cId="2634324853" sldId="302"/>
        </pc:sldMkLst>
      </pc:sldChg>
      <pc:sldChg chg="add del">
        <pc:chgData name="Thao Hoang" userId="0e23db62feec2a5d" providerId="LiveId" clId="{3FBBEF04-9D5F-4ECB-BDEB-5AF90A52C1C7}" dt="2021-02-17T22:58:39.200" v="5772"/>
        <pc:sldMkLst>
          <pc:docMk/>
          <pc:sldMk cId="619810769" sldId="303"/>
        </pc:sldMkLst>
      </pc:sldChg>
      <pc:sldChg chg="modSp add del mod">
        <pc:chgData name="Thao Hoang" userId="0e23db62feec2a5d" providerId="LiveId" clId="{3FBBEF04-9D5F-4ECB-BDEB-5AF90A52C1C7}" dt="2021-02-18T01:26:37.351" v="6169" actId="20577"/>
        <pc:sldMkLst>
          <pc:docMk/>
          <pc:sldMk cId="2324945688" sldId="303"/>
        </pc:sldMkLst>
        <pc:spChg chg="mod">
          <ac:chgData name="Thao Hoang" userId="0e23db62feec2a5d" providerId="LiveId" clId="{3FBBEF04-9D5F-4ECB-BDEB-5AF90A52C1C7}" dt="2021-02-18T01:26:37.351" v="6169" actId="20577"/>
          <ac:spMkLst>
            <pc:docMk/>
            <pc:sldMk cId="2324945688" sldId="303"/>
            <ac:spMk id="2" creationId="{DDB62598-AB5E-4C9C-BC42-71BACA199907}"/>
          </ac:spMkLst>
        </pc:spChg>
        <pc:spChg chg="mod">
          <ac:chgData name="Thao Hoang" userId="0e23db62feec2a5d" providerId="LiveId" clId="{3FBBEF04-9D5F-4ECB-BDEB-5AF90A52C1C7}" dt="2021-02-18T01:26:08.221" v="6167" actId="27636"/>
          <ac:spMkLst>
            <pc:docMk/>
            <pc:sldMk cId="2324945688" sldId="303"/>
            <ac:spMk id="3" creationId="{4979AB39-2496-4379-8A0F-E00374E66B80}"/>
          </ac:spMkLst>
        </pc:spChg>
      </pc:sldChg>
      <pc:sldChg chg="addSp delSp modSp add mod modClrScheme modAnim chgLayout">
        <pc:chgData name="Thao Hoang" userId="0e23db62feec2a5d" providerId="LiveId" clId="{3FBBEF04-9D5F-4ECB-BDEB-5AF90A52C1C7}" dt="2021-02-18T02:45:47.810" v="6709" actId="14100"/>
        <pc:sldMkLst>
          <pc:docMk/>
          <pc:sldMk cId="2310393300" sldId="304"/>
        </pc:sldMkLst>
        <pc:spChg chg="add del mod ord">
          <ac:chgData name="Thao Hoang" userId="0e23db62feec2a5d" providerId="LiveId" clId="{3FBBEF04-9D5F-4ECB-BDEB-5AF90A52C1C7}" dt="2021-02-18T02:42:01.096" v="6632" actId="478"/>
          <ac:spMkLst>
            <pc:docMk/>
            <pc:sldMk cId="2310393300" sldId="304"/>
            <ac:spMk id="2" creationId="{6BDE1861-02DF-4155-BD60-0EB37A4998BF}"/>
          </ac:spMkLst>
        </pc:spChg>
        <pc:spChg chg="del">
          <ac:chgData name="Thao Hoang" userId="0e23db62feec2a5d" providerId="LiveId" clId="{3FBBEF04-9D5F-4ECB-BDEB-5AF90A52C1C7}" dt="2021-02-18T02:14:25.138" v="6206" actId="478"/>
          <ac:spMkLst>
            <pc:docMk/>
            <pc:sldMk cId="2310393300" sldId="304"/>
            <ac:spMk id="3" creationId="{458A2F9D-7EF0-47C9-8717-57997AC2B44D}"/>
          </ac:spMkLst>
        </pc:spChg>
        <pc:spChg chg="add del mod">
          <ac:chgData name="Thao Hoang" userId="0e23db62feec2a5d" providerId="LiveId" clId="{3FBBEF04-9D5F-4ECB-BDEB-5AF90A52C1C7}" dt="2021-02-18T02:14:26.727" v="6207" actId="478"/>
          <ac:spMkLst>
            <pc:docMk/>
            <pc:sldMk cId="2310393300" sldId="304"/>
            <ac:spMk id="4" creationId="{126C3872-B348-433A-AF7F-6E41A0D31EEE}"/>
          </ac:spMkLst>
        </pc:spChg>
        <pc:spChg chg="add mod">
          <ac:chgData name="Thao Hoang" userId="0e23db62feec2a5d" providerId="LiveId" clId="{3FBBEF04-9D5F-4ECB-BDEB-5AF90A52C1C7}" dt="2021-02-18T02:45:47.810" v="6709" actId="14100"/>
          <ac:spMkLst>
            <pc:docMk/>
            <pc:sldMk cId="2310393300" sldId="304"/>
            <ac:spMk id="4" creationId="{532CDF93-834D-4193-9970-FCE1DCC7684A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0" creationId="{CFF7ED41-45D9-4499-8E1C-83BDC454DE3A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1" creationId="{0EFF325E-FBF2-4B65-8FD6-3AD25F8DD2D6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2" creationId="{02A21D05-4096-470E-A575-068EABC933F8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3" creationId="{5417F13B-3E36-41F7-A97C-ADB31016094F}"/>
          </ac:spMkLst>
        </pc:spChg>
        <pc:spChg chg="mod ord">
          <ac:chgData name="Thao Hoang" userId="0e23db62feec2a5d" providerId="LiveId" clId="{3FBBEF04-9D5F-4ECB-BDEB-5AF90A52C1C7}" dt="2021-02-18T02:45:13.612" v="6703" actId="1076"/>
          <ac:spMkLst>
            <pc:docMk/>
            <pc:sldMk cId="2310393300" sldId="304"/>
            <ac:spMk id="1006" creationId="{00000000-0000-0000-0000-000000000000}"/>
          </ac:spMkLst>
        </pc:spChg>
        <pc:spChg chg="mod ord">
          <ac:chgData name="Thao Hoang" userId="0e23db62feec2a5d" providerId="LiveId" clId="{3FBBEF04-9D5F-4ECB-BDEB-5AF90A52C1C7}" dt="2021-02-18T02:41:41.835" v="6627" actId="700"/>
          <ac:spMkLst>
            <pc:docMk/>
            <pc:sldMk cId="2310393300" sldId="304"/>
            <ac:spMk id="1009" creationId="{00000000-0000-0000-0000-000000000000}"/>
          </ac:spMkLst>
        </pc:spChg>
        <pc:grpChg chg="add mod">
          <ac:chgData name="Thao Hoang" userId="0e23db62feec2a5d" providerId="LiveId" clId="{3FBBEF04-9D5F-4ECB-BDEB-5AF90A52C1C7}" dt="2021-02-18T02:45:01.097" v="6702" actId="164"/>
          <ac:grpSpMkLst>
            <pc:docMk/>
            <pc:sldMk cId="2310393300" sldId="304"/>
            <ac:grpSpMk id="3" creationId="{192AB5B6-2C8E-4E56-8A8C-E160D2E3D314}"/>
          </ac:grpSpMkLst>
        </pc:grpChg>
        <pc:grpChg chg="add mod">
          <ac:chgData name="Thao Hoang" userId="0e23db62feec2a5d" providerId="LiveId" clId="{3FBBEF04-9D5F-4ECB-BDEB-5AF90A52C1C7}" dt="2021-02-18T02:45:01.097" v="6702" actId="164"/>
          <ac:grpSpMkLst>
            <pc:docMk/>
            <pc:sldMk cId="2310393300" sldId="304"/>
            <ac:grpSpMk id="9" creationId="{D3D64C54-7F90-4380-AF4C-113FF61E1943}"/>
          </ac:grpSpMkLst>
        </pc:grpChg>
        <pc:picChg chg="del">
          <ac:chgData name="Thao Hoang" userId="0e23db62feec2a5d" providerId="LiveId" clId="{3FBBEF04-9D5F-4ECB-BDEB-5AF90A52C1C7}" dt="2021-02-18T02:14:22.037" v="6205" actId="478"/>
          <ac:picMkLst>
            <pc:docMk/>
            <pc:sldMk cId="2310393300" sldId="304"/>
            <ac:picMk id="8" creationId="{4166A587-82EE-4D7E-999F-D497863AAE1C}"/>
          </ac:picMkLst>
        </pc:picChg>
        <pc:picChg chg="add mod">
          <ac:chgData name="Thao Hoang" userId="0e23db62feec2a5d" providerId="LiveId" clId="{3FBBEF04-9D5F-4ECB-BDEB-5AF90A52C1C7}" dt="2021-02-18T02:45:01.097" v="6702" actId="164"/>
          <ac:picMkLst>
            <pc:docMk/>
            <pc:sldMk cId="2310393300" sldId="304"/>
            <ac:picMk id="14" creationId="{BB363BE6-6A7D-4FB7-BE66-E701DF3C5CFD}"/>
          </ac:picMkLst>
        </pc:picChg>
      </pc:sldChg>
      <pc:sldMasterChg chg="delSldLayout">
        <pc:chgData name="Thao Hoang" userId="0e23db62feec2a5d" providerId="LiveId" clId="{3FBBEF04-9D5F-4ECB-BDEB-5AF90A52C1C7}" dt="2021-02-17T03:12:26.148" v="1697" actId="47"/>
        <pc:sldMasterMkLst>
          <pc:docMk/>
          <pc:sldMasterMk cId="0" sldId="2147483658"/>
        </pc:sldMasterMkLst>
        <pc:sldLayoutChg chg="del">
          <pc:chgData name="Thao Hoang" userId="0e23db62feec2a5d" providerId="LiveId" clId="{3FBBEF04-9D5F-4ECB-BDEB-5AF90A52C1C7}" dt="2021-02-17T03:11:40.446" v="1612" actId="47"/>
          <pc:sldLayoutMkLst>
            <pc:docMk/>
            <pc:sldMasterMk cId="0" sldId="2147483658"/>
            <pc:sldLayoutMk cId="0" sldId="2147483655"/>
          </pc:sldLayoutMkLst>
        </pc:sldLayoutChg>
        <pc:sldLayoutChg chg="del">
          <pc:chgData name="Thao Hoang" userId="0e23db62feec2a5d" providerId="LiveId" clId="{3FBBEF04-9D5F-4ECB-BDEB-5AF90A52C1C7}" dt="2021-02-17T03:12:26.148" v="1697" actId="47"/>
          <pc:sldLayoutMkLst>
            <pc:docMk/>
            <pc:sldMasterMk cId="0" sldId="2147483658"/>
            <pc:sldLayoutMk cId="0" sldId="2147483657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1" name="Google Shape;61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754943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" name="Google Shape;1003;g35f391192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4" name="Google Shape;1004;g35f391192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Kelv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629650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" name="Google Shape;1003;g35f391192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4" name="Google Shape;1004;g35f391192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286813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technology'&gt;Technology photo created by </a:t>
            </a:r>
            <a:r>
              <a:rPr lang="en-US" dirty="0" err="1"/>
              <a:t>kjpargeter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02AECF-5C0A-4F8B-AAFD-FF56EB65FD5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1160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7" name="Google Shape;1697;g35ed75ccf_0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98" name="Google Shape;1698;g35ed75ccf_04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4668469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Kelv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175734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6" name="Google Shape;2016;g35ed75ccf_01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17" name="Google Shape;2017;g35ed75ccf_011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Nav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9248531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5" name="Google Shape;1165;g35ed75ccf_0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66" name="Google Shape;1166;g35ed75ccf_0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Kelvin had shown in the app, at the current state, user can toggle the drop down menu and see a comprehensive visualization dashboard for a particular country or all 4 countries in total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For example, if we left the selection to “All”, then some of the results can be observed as shown in this slide. </a:t>
            </a:r>
            <a:endParaRPr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is slide summarizes some results observed from the dashboard focusing on Canada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we saw earlier, </a:t>
            </a:r>
            <a:r>
              <a:rPr lang="en-CA" dirty="0" err="1"/>
              <a:t>pla</a:t>
            </a:r>
            <a:r>
              <a:rPr lang="en-CA" dirty="0"/>
              <a:t> </a:t>
            </a:r>
            <a:r>
              <a:rPr lang="en-CA" dirty="0" err="1"/>
              <a:t>pla</a:t>
            </a:r>
            <a:r>
              <a:rPr lang="en-CA" dirty="0"/>
              <a:t> </a:t>
            </a:r>
            <a:r>
              <a:rPr lang="en-CA" dirty="0" err="1"/>
              <a:t>pla</a:t>
            </a:r>
            <a:r>
              <a:rPr lang="en-CA" dirty="0"/>
              <a:t> (read the slide)  </a:t>
            </a:r>
            <a:r>
              <a:rPr lang="en-CA" dirty="0">
                <a:sym typeface="Wingdings" panose="05000000000000000000" pitchFamily="2" charset="2"/>
              </a:rPr>
              <a:t> this statistics provide users an insight of the demand of different data roles. So depending on their expertise, he or she can make </a:t>
            </a:r>
            <a:r>
              <a:rPr lang="en-CA" dirty="0" err="1">
                <a:sym typeface="Wingdings" panose="05000000000000000000" pitchFamily="2" charset="2"/>
              </a:rPr>
              <a:t>adata</a:t>
            </a:r>
            <a:r>
              <a:rPr lang="en-CA" dirty="0">
                <a:sym typeface="Wingdings" panose="05000000000000000000" pitchFamily="2" charset="2"/>
              </a:rPr>
              <a:t>-driven decision to either move to ON or BC as an example in this case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>
                <a:sym typeface="Wingdings" panose="05000000000000000000" pitchFamily="2" charset="2"/>
              </a:rPr>
              <a:t>The dashboard also gives you an insight of how easy it is to take leaves or if </a:t>
            </a:r>
            <a:r>
              <a:rPr lang="en-CA" dirty="0" err="1">
                <a:sym typeface="Wingdings" panose="05000000000000000000" pitchFamily="2" charset="2"/>
              </a:rPr>
              <a:t>if</a:t>
            </a:r>
            <a:r>
              <a:rPr lang="en-CA" dirty="0">
                <a:sym typeface="Wingdings" panose="05000000000000000000" pitchFamily="2" charset="2"/>
              </a:rPr>
              <a:t> there are work benefits included in the particular country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CA" dirty="0">
              <a:sym typeface="Wingdings" panose="05000000000000000000" pitchFamily="2" charset="2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>
                <a:sym typeface="Wingdings" panose="05000000000000000000" pitchFamily="2" charset="2"/>
              </a:rPr>
              <a:t>Similarly, a user can explore the job market demand for other 3 countries, in case he/she would like to work abroad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1360144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nother useful information a user can get from this dashboard is to find the key words that are widely used in the industry or in job posting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e user can change the frequency to example 5, meaning the key word appears at least 5 times in all the Data Analyst job posting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you can see, the bigger the word the more likely the user can find a relevant job if he/she uses it in job searche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5397072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e heatmap provides a holistic view of the job postings, so the user can see which provinces have more postings than anothe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is will gain help user to make information decision on where they want to move to for more job opportunitie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8129569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2624156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8891281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1" name="Google Shape;1731;g35ed75ccf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32" name="Google Shape;1732;g35ed75ccf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6" name="Google Shape;2056;g35ed75ccf_0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7" name="Google Shape;2057;g35ed75ccf_0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9" name="Google Shape;2209;g35ed75ccf_01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10" name="Google Shape;2210;g35ed75ccf_01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290533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5" name="Google Shape;515;g35f391192_0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16" name="Google Shape;516;g35f391192_0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Summarize the intro</a:t>
            </a:r>
            <a:endParaRPr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117121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Ma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070729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238467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202666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1076325" y="1863600"/>
            <a:ext cx="4962600" cy="14163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 rot="5400000">
            <a:off x="-303375" y="21669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dark">
  <p:cSld name="Blank dark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1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8" name="Google Shape;58;p1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buNone/>
              <a:defRPr>
                <a:solidFill>
                  <a:schemeClr val="accent2"/>
                </a:solidFill>
              </a:defRPr>
            </a:lvl1pPr>
            <a:lvl2pPr lvl="1" rtl="0">
              <a:buNone/>
              <a:defRPr>
                <a:solidFill>
                  <a:schemeClr val="accent2"/>
                </a:solidFill>
              </a:defRPr>
            </a:lvl2pPr>
            <a:lvl3pPr lvl="2" rtl="0">
              <a:buNone/>
              <a:defRPr>
                <a:solidFill>
                  <a:schemeClr val="accent2"/>
                </a:solidFill>
              </a:defRPr>
            </a:lvl3pPr>
            <a:lvl4pPr lvl="3" rtl="0">
              <a:buNone/>
              <a:defRPr>
                <a:solidFill>
                  <a:schemeClr val="accent2"/>
                </a:solidFill>
              </a:defRPr>
            </a:lvl4pPr>
            <a:lvl5pPr lvl="4" rtl="0">
              <a:buNone/>
              <a:defRPr>
                <a:solidFill>
                  <a:schemeClr val="accent2"/>
                </a:solidFill>
              </a:defRPr>
            </a:lvl5pPr>
            <a:lvl6pPr lvl="5" rtl="0">
              <a:buNone/>
              <a:defRPr>
                <a:solidFill>
                  <a:schemeClr val="accent2"/>
                </a:solidFill>
              </a:defRPr>
            </a:lvl6pPr>
            <a:lvl7pPr lvl="6" rtl="0">
              <a:buNone/>
              <a:defRPr>
                <a:solidFill>
                  <a:schemeClr val="accent2"/>
                </a:solidFill>
              </a:defRPr>
            </a:lvl7pPr>
            <a:lvl8pPr lvl="7" rtl="0">
              <a:buNone/>
              <a:defRPr>
                <a:solidFill>
                  <a:schemeClr val="accent2"/>
                </a:solidFill>
              </a:defRPr>
            </a:lvl8pPr>
            <a:lvl9pPr lvl="8" rtl="0">
              <a:buNone/>
              <a:defRPr>
                <a:solidFill>
                  <a:schemeClr val="accent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17324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TITLE_1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1085850" y="3287726"/>
            <a:ext cx="4676700" cy="383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5" name="Google Shape;15;p3"/>
          <p:cNvSpPr/>
          <p:nvPr/>
        </p:nvSpPr>
        <p:spPr>
          <a:xfrm rot="5400000">
            <a:off x="-303375" y="21669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TITLE_1_1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" name="Google Shape;18;p4"/>
          <p:cNvSpPr/>
          <p:nvPr/>
        </p:nvSpPr>
        <p:spPr>
          <a:xfrm rot="5400000">
            <a:off x="-303375" y="9274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1039050" y="1028325"/>
            <a:ext cx="4742700" cy="3579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▸"/>
              <a:defRPr sz="3200">
                <a:solidFill>
                  <a:schemeClr val="lt1"/>
                </a:solidFill>
              </a:defRPr>
            </a:lvl1pPr>
            <a:lvl2pPr marL="914400" lvl="1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2pPr>
            <a:lvl3pPr marL="1371600" lvl="2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3pPr>
            <a:lvl4pPr marL="1828800" lvl="3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4pPr>
            <a:lvl5pPr marL="2286000" lvl="4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5pPr>
            <a:lvl6pPr marL="2743200" lvl="5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6pPr>
            <a:lvl7pPr marL="3200400" lvl="6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7pPr>
            <a:lvl8pPr marL="3657600" lvl="7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8pPr>
            <a:lvl9pPr marL="4114800" lvl="8" indent="-43180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0" name="Google Shape;20;p4"/>
          <p:cNvSpPr txBox="1"/>
          <p:nvPr/>
        </p:nvSpPr>
        <p:spPr>
          <a:xfrm>
            <a:off x="19050" y="933775"/>
            <a:ext cx="531000" cy="65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8600" b="1">
                <a:solidFill>
                  <a:schemeClr val="accent2"/>
                </a:solidFill>
                <a:latin typeface="Raleway"/>
                <a:ea typeface="Raleway"/>
                <a:cs typeface="Raleway"/>
                <a:sym typeface="Raleway"/>
              </a:rPr>
              <a:t>“</a:t>
            </a:r>
            <a:endParaRPr sz="8600" b="1">
              <a:solidFill>
                <a:schemeClr val="accent2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>
                <a:solidFill>
                  <a:schemeClr val="accent2"/>
                </a:solidFill>
              </a:defRPr>
            </a:lvl1pPr>
            <a:lvl2pPr lvl="1">
              <a:buNone/>
              <a:defRPr>
                <a:solidFill>
                  <a:schemeClr val="accent2"/>
                </a:solidFill>
              </a:defRPr>
            </a:lvl2pPr>
            <a:lvl3pPr lvl="2">
              <a:buNone/>
              <a:defRPr>
                <a:solidFill>
                  <a:schemeClr val="accent2"/>
                </a:solidFill>
              </a:defRPr>
            </a:lvl3pPr>
            <a:lvl4pPr lvl="3">
              <a:buNone/>
              <a:defRPr>
                <a:solidFill>
                  <a:schemeClr val="accent2"/>
                </a:solidFill>
              </a:defRPr>
            </a:lvl4pPr>
            <a:lvl5pPr lvl="4">
              <a:buNone/>
              <a:defRPr>
                <a:solidFill>
                  <a:schemeClr val="accent2"/>
                </a:solidFill>
              </a:defRPr>
            </a:lvl5pPr>
            <a:lvl6pPr lvl="5">
              <a:buNone/>
              <a:defRPr>
                <a:solidFill>
                  <a:schemeClr val="accent2"/>
                </a:solidFill>
              </a:defRPr>
            </a:lvl6pPr>
            <a:lvl7pPr lvl="6">
              <a:buNone/>
              <a:defRPr>
                <a:solidFill>
                  <a:schemeClr val="accent2"/>
                </a:solidFill>
              </a:defRPr>
            </a:lvl7pPr>
            <a:lvl8pPr lvl="7">
              <a:buNone/>
              <a:defRPr>
                <a:solidFill>
                  <a:schemeClr val="accent2"/>
                </a:solidFill>
              </a:defRPr>
            </a:lvl8pPr>
            <a:lvl9pPr lvl="8">
              <a:buNone/>
              <a:defRPr>
                <a:solidFill>
                  <a:schemeClr val="accent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_AND_BODY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" name="Google Shape;24;p5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/>
            </a:lvl3pPr>
            <a:lvl4pPr marL="1828800" lvl="3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4pPr>
            <a:lvl5pPr marL="2286000" lvl="4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5pPr>
            <a:lvl6pPr marL="2743200" lvl="5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6pPr>
            <a:lvl7pPr marL="3200400" lvl="6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7pPr>
            <a:lvl8pPr marL="3657600" lvl="7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8pPr>
            <a:lvl9pPr marL="4114800" lvl="8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_AND_TWO_COLUMNS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" name="Google Shape;30;p6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26826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 sz="1800"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3pPr>
            <a:lvl4pPr marL="1828800" lvl="3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4pPr>
            <a:lvl5pPr marL="2286000" lvl="4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5pPr>
            <a:lvl6pPr marL="2743200" lvl="5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6pPr>
            <a:lvl7pPr marL="3200400" lvl="6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7pPr>
            <a:lvl8pPr marL="3657600" lvl="7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8pPr>
            <a:lvl9pPr marL="4114800" lvl="8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9pPr>
          </a:lstStyle>
          <a:p>
            <a:endParaRPr/>
          </a:p>
        </p:txBody>
      </p:sp>
      <p:sp>
        <p:nvSpPr>
          <p:cNvPr id="33" name="Google Shape;33;p6"/>
          <p:cNvSpPr txBox="1">
            <a:spLocks noGrp="1"/>
          </p:cNvSpPr>
          <p:nvPr>
            <p:ph type="body" idx="2"/>
          </p:nvPr>
        </p:nvSpPr>
        <p:spPr>
          <a:xfrm>
            <a:off x="3415578" y="1995750"/>
            <a:ext cx="26826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 sz="1800"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3pPr>
            <a:lvl4pPr marL="1828800" lvl="3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4pPr>
            <a:lvl5pPr marL="2286000" lvl="4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5pPr>
            <a:lvl6pPr marL="2743200" lvl="5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6pPr>
            <a:lvl7pPr marL="3200400" lvl="6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7pPr>
            <a:lvl8pPr marL="3657600" lvl="7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8pPr>
            <a:lvl9pPr marL="4114800" lvl="8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9pPr>
          </a:lstStyle>
          <a:p>
            <a:endParaRPr/>
          </a:p>
        </p:txBody>
      </p:sp>
      <p:sp>
        <p:nvSpPr>
          <p:cNvPr id="34" name="Google Shape;34;p6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_AND_TWO_COLUMNS_1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7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7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" name="Google Shape;38;p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0" name="Google Shape;40;p7"/>
          <p:cNvSpPr txBox="1">
            <a:spLocks noGrp="1"/>
          </p:cNvSpPr>
          <p:nvPr>
            <p:ph type="body" idx="2"/>
          </p:nvPr>
        </p:nvSpPr>
        <p:spPr>
          <a:xfrm>
            <a:off x="329025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1" name="Google Shape;41;p7"/>
          <p:cNvSpPr txBox="1">
            <a:spLocks noGrp="1"/>
          </p:cNvSpPr>
          <p:nvPr>
            <p:ph type="body" idx="3"/>
          </p:nvPr>
        </p:nvSpPr>
        <p:spPr>
          <a:xfrm>
            <a:off x="612330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2" name="Google Shape;42;p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8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" name="Google Shape;45;p8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46;p8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0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5" name="Google Shape;55;p1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55085E5-3B49-4DC6-A6A9-AD47CEE876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880089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55085E5-3B49-4DC6-A6A9-AD47CEE876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78F2DC-0703-47F2-9D0B-0971015D2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513" y="273844"/>
            <a:ext cx="8562975" cy="626269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7F0E3C-330D-4D84-9310-7161F953A7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0513" y="1017640"/>
            <a:ext cx="8562975" cy="36150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58AF1B-9CDC-40BE-9A38-2428C7E189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63B13B-4FD4-4439-B284-D5FEDBBA4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2EC018-797C-48C5-A3AF-DE3788B9D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1862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gradFill>
          <a:gsLst>
            <a:gs pos="0">
              <a:schemeClr val="lt1"/>
            </a:gs>
            <a:gs pos="50000">
              <a:schemeClr val="lt1"/>
            </a:gs>
            <a:gs pos="100000">
              <a:schemeClr val="lt2"/>
            </a:gs>
          </a:gsLst>
          <a:lin ang="16200038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7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lvl="1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lvl="2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lvl="3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lvl="4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lvl="5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lvl="6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lvl="7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lvl="8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lvl="1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lvl="2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lvl="3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lvl="4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lvl="5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lvl="6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lvl="7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lvl="8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6" r:id="rId8"/>
    <p:sldLayoutId id="2147483659" r:id="rId9"/>
    <p:sldLayoutId id="2147483660" r:id="rId10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10" Type="http://schemas.openxmlformats.org/officeDocument/2006/relationships/image" Target="../media/image11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danidee10.github.io/2016/10/05/flask-by-example-5.html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jobapp.herokuapp.com/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6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ngmay/DataJobMarket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github.com/Navyhoang/Project2-DataJobs-App" TargetMode="Externa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12"/>
          <p:cNvGrpSpPr/>
          <p:nvPr/>
        </p:nvGrpSpPr>
        <p:grpSpPr>
          <a:xfrm>
            <a:off x="5122427" y="668001"/>
            <a:ext cx="3841143" cy="3893303"/>
            <a:chOff x="5122427" y="668001"/>
            <a:chExt cx="3841143" cy="3893303"/>
          </a:xfrm>
        </p:grpSpPr>
        <p:grpSp>
          <p:nvGrpSpPr>
            <p:cNvPr id="64" name="Google Shape;64;p12"/>
            <p:cNvGrpSpPr/>
            <p:nvPr/>
          </p:nvGrpSpPr>
          <p:grpSpPr>
            <a:xfrm>
              <a:off x="5144045" y="893590"/>
              <a:ext cx="2833667" cy="2964311"/>
              <a:chOff x="3860721" y="1330073"/>
              <a:chExt cx="3544299" cy="3707706"/>
            </a:xfrm>
          </p:grpSpPr>
          <p:sp>
            <p:nvSpPr>
              <p:cNvPr id="65" name="Google Shape;65;p12"/>
              <p:cNvSpPr/>
              <p:nvPr/>
            </p:nvSpPr>
            <p:spPr>
              <a:xfrm>
                <a:off x="5336000" y="1330073"/>
                <a:ext cx="2069020" cy="2805419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19" extrusionOk="0">
                    <a:moveTo>
                      <a:pt x="2019014" y="2799395"/>
                    </a:moveTo>
                    <a:lnTo>
                      <a:pt x="50006" y="1662586"/>
                    </a:lnTo>
                    <a:cubicBezTo>
                      <a:pt x="22384" y="1646680"/>
                      <a:pt x="0" y="1603912"/>
                      <a:pt x="0" y="1567336"/>
                    </a:cubicBezTo>
                    <a:lnTo>
                      <a:pt x="0" y="43908"/>
                    </a:lnTo>
                    <a:cubicBezTo>
                      <a:pt x="0" y="7141"/>
                      <a:pt x="22384" y="-9813"/>
                      <a:pt x="50006" y="5808"/>
                    </a:cubicBezTo>
                    <a:lnTo>
                      <a:pt x="2019014" y="1142998"/>
                    </a:lnTo>
                    <a:cubicBezTo>
                      <a:pt x="2046637" y="1158904"/>
                      <a:pt x="2069020" y="1201672"/>
                      <a:pt x="2069020" y="1238248"/>
                    </a:cubicBezTo>
                    <a:lnTo>
                      <a:pt x="2069020" y="2761295"/>
                    </a:lnTo>
                    <a:cubicBezTo>
                      <a:pt x="2069020" y="2798443"/>
                      <a:pt x="2046637" y="2815397"/>
                      <a:pt x="2019014" y="2799395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" name="Google Shape;66;p12"/>
              <p:cNvSpPr/>
              <p:nvPr/>
            </p:nvSpPr>
            <p:spPr>
              <a:xfrm>
                <a:off x="7365110" y="4067936"/>
                <a:ext cx="21907" cy="77247"/>
              </a:xfrm>
              <a:custGeom>
                <a:avLst/>
                <a:gdLst/>
                <a:ahLst/>
                <a:cxnLst/>
                <a:rect l="l" t="t" r="r" b="b"/>
                <a:pathLst>
                  <a:path w="21907" h="77247" extrusionOk="0">
                    <a:moveTo>
                      <a:pt x="0" y="77248"/>
                    </a:moveTo>
                    <a:lnTo>
                      <a:pt x="21908" y="64675"/>
                    </a:lnTo>
                    <a:lnTo>
                      <a:pt x="12383" y="0"/>
                    </a:lnTo>
                    <a:lnTo>
                      <a:pt x="0" y="77248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" name="Google Shape;67;p12"/>
              <p:cNvSpPr/>
              <p:nvPr/>
            </p:nvSpPr>
            <p:spPr>
              <a:xfrm>
                <a:off x="5332475" y="1333214"/>
                <a:ext cx="52292" cy="22389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22389" extrusionOk="0">
                    <a:moveTo>
                      <a:pt x="0" y="12383"/>
                    </a:moveTo>
                    <a:lnTo>
                      <a:pt x="21431" y="0"/>
                    </a:lnTo>
                    <a:lnTo>
                      <a:pt x="52292" y="17621"/>
                    </a:lnTo>
                    <a:cubicBezTo>
                      <a:pt x="52292" y="17621"/>
                      <a:pt x="19431" y="22574"/>
                      <a:pt x="18669" y="22384"/>
                    </a:cubicBezTo>
                    <a:cubicBezTo>
                      <a:pt x="17907" y="22193"/>
                      <a:pt x="0" y="12383"/>
                      <a:pt x="0" y="1238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" name="Google Shape;68;p12"/>
              <p:cNvSpPr/>
              <p:nvPr/>
            </p:nvSpPr>
            <p:spPr>
              <a:xfrm>
                <a:off x="5317902" y="1340537"/>
                <a:ext cx="2069115" cy="2805383"/>
              </a:xfrm>
              <a:custGeom>
                <a:avLst/>
                <a:gdLst/>
                <a:ahLst/>
                <a:cxnLst/>
                <a:rect l="l" t="t" r="r" b="b"/>
                <a:pathLst>
                  <a:path w="2069115" h="2805383" extrusionOk="0">
                    <a:moveTo>
                      <a:pt x="2019110" y="2799409"/>
                    </a:moveTo>
                    <a:lnTo>
                      <a:pt x="50006" y="1662600"/>
                    </a:lnTo>
                    <a:cubicBezTo>
                      <a:pt x="22384" y="1646598"/>
                      <a:pt x="0" y="1603831"/>
                      <a:pt x="0" y="1567350"/>
                    </a:cubicBezTo>
                    <a:lnTo>
                      <a:pt x="0" y="43921"/>
                    </a:lnTo>
                    <a:cubicBezTo>
                      <a:pt x="0" y="7060"/>
                      <a:pt x="22384" y="-9800"/>
                      <a:pt x="50006" y="5821"/>
                    </a:cubicBezTo>
                    <a:lnTo>
                      <a:pt x="2019110" y="1142916"/>
                    </a:lnTo>
                    <a:cubicBezTo>
                      <a:pt x="2046732" y="1158823"/>
                      <a:pt x="2069116" y="1201685"/>
                      <a:pt x="2069116" y="1238166"/>
                    </a:cubicBezTo>
                    <a:lnTo>
                      <a:pt x="2069116" y="2761595"/>
                    </a:lnTo>
                    <a:cubicBezTo>
                      <a:pt x="2069116" y="2798361"/>
                      <a:pt x="2046732" y="2815315"/>
                      <a:pt x="2019110" y="2799409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" name="Google Shape;69;p12"/>
              <p:cNvSpPr/>
              <p:nvPr/>
            </p:nvSpPr>
            <p:spPr>
              <a:xfrm>
                <a:off x="5314473" y="1342497"/>
                <a:ext cx="2069020" cy="2805423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23" extrusionOk="0">
                    <a:moveTo>
                      <a:pt x="2019014" y="2799449"/>
                    </a:moveTo>
                    <a:lnTo>
                      <a:pt x="50006" y="1662545"/>
                    </a:lnTo>
                    <a:cubicBezTo>
                      <a:pt x="22384" y="1646638"/>
                      <a:pt x="0" y="1603871"/>
                      <a:pt x="0" y="1567295"/>
                    </a:cubicBezTo>
                    <a:lnTo>
                      <a:pt x="0" y="43962"/>
                    </a:lnTo>
                    <a:cubicBezTo>
                      <a:pt x="0" y="7100"/>
                      <a:pt x="22384" y="-9855"/>
                      <a:pt x="50006" y="5862"/>
                    </a:cubicBezTo>
                    <a:lnTo>
                      <a:pt x="2019014" y="1142956"/>
                    </a:lnTo>
                    <a:cubicBezTo>
                      <a:pt x="2046637" y="1158863"/>
                      <a:pt x="2069021" y="1201630"/>
                      <a:pt x="2069021" y="1238206"/>
                    </a:cubicBezTo>
                    <a:lnTo>
                      <a:pt x="2069021" y="2761635"/>
                    </a:lnTo>
                    <a:cubicBezTo>
                      <a:pt x="2069021" y="2798401"/>
                      <a:pt x="2046637" y="2815356"/>
                      <a:pt x="2019014" y="279944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" name="Google Shape;70;p12"/>
              <p:cNvSpPr/>
              <p:nvPr/>
            </p:nvSpPr>
            <p:spPr>
              <a:xfrm>
                <a:off x="5339429" y="1375389"/>
                <a:ext cx="2018061" cy="2673878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878" extrusionOk="0">
                    <a:moveTo>
                      <a:pt x="2017014" y="2673878"/>
                    </a:moveTo>
                    <a:lnTo>
                      <a:pt x="0" y="1509352"/>
                    </a:lnTo>
                    <a:lnTo>
                      <a:pt x="1048" y="17165"/>
                    </a:lnTo>
                    <a:cubicBezTo>
                      <a:pt x="1048" y="1830"/>
                      <a:pt x="11811" y="-4361"/>
                      <a:pt x="25051" y="3259"/>
                    </a:cubicBezTo>
                    <a:lnTo>
                      <a:pt x="1994059" y="1140163"/>
                    </a:lnTo>
                    <a:cubicBezTo>
                      <a:pt x="2008213" y="1149354"/>
                      <a:pt x="2017138" y="1164747"/>
                      <a:pt x="2018062" y="118159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" name="Google Shape;71;p12"/>
              <p:cNvSpPr/>
              <p:nvPr/>
            </p:nvSpPr>
            <p:spPr>
              <a:xfrm>
                <a:off x="5339238" y="1374339"/>
                <a:ext cx="2018061" cy="2673785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785" extrusionOk="0">
                    <a:moveTo>
                      <a:pt x="2017014" y="2673785"/>
                    </a:moveTo>
                    <a:lnTo>
                      <a:pt x="0" y="1509354"/>
                    </a:lnTo>
                    <a:lnTo>
                      <a:pt x="1048" y="17072"/>
                    </a:lnTo>
                    <a:cubicBezTo>
                      <a:pt x="1048" y="1832"/>
                      <a:pt x="11811" y="-4359"/>
                      <a:pt x="25051" y="3261"/>
                    </a:cubicBezTo>
                    <a:lnTo>
                      <a:pt x="1994059" y="1140260"/>
                    </a:lnTo>
                    <a:cubicBezTo>
                      <a:pt x="2008232" y="1149481"/>
                      <a:pt x="2017147" y="1164911"/>
                      <a:pt x="2018062" y="118178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" name="Google Shape;72;p12"/>
              <p:cNvSpPr/>
              <p:nvPr/>
            </p:nvSpPr>
            <p:spPr>
              <a:xfrm>
                <a:off x="3860721" y="3051171"/>
                <a:ext cx="3440851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51" h="1986608" extrusionOk="0">
                    <a:moveTo>
                      <a:pt x="1987629" y="1975838"/>
                    </a:moveTo>
                    <a:lnTo>
                      <a:pt x="18621" y="838934"/>
                    </a:lnTo>
                    <a:cubicBezTo>
                      <a:pt x="-9002" y="823027"/>
                      <a:pt x="-5477" y="795214"/>
                      <a:pt x="26432" y="776736"/>
                    </a:cubicBezTo>
                    <a:lnTo>
                      <a:pt x="1345454" y="15212"/>
                    </a:lnTo>
                    <a:cubicBezTo>
                      <a:pt x="1377362" y="-3172"/>
                      <a:pt x="1425559" y="-5172"/>
                      <a:pt x="1453181" y="10735"/>
                    </a:cubicBezTo>
                    <a:lnTo>
                      <a:pt x="3422189" y="1147544"/>
                    </a:lnTo>
                    <a:cubicBezTo>
                      <a:pt x="3449812" y="1163546"/>
                      <a:pt x="3446383" y="1191359"/>
                      <a:pt x="3414474" y="1209742"/>
                    </a:cubicBezTo>
                    <a:lnTo>
                      <a:pt x="2095452" y="1971742"/>
                    </a:lnTo>
                    <a:cubicBezTo>
                      <a:pt x="2063829" y="1989744"/>
                      <a:pt x="2015347" y="1991745"/>
                      <a:pt x="1987629" y="197583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" name="Google Shape;73;p12"/>
              <p:cNvSpPr/>
              <p:nvPr/>
            </p:nvSpPr>
            <p:spPr>
              <a:xfrm>
                <a:off x="3903733" y="3024882"/>
                <a:ext cx="3440892" cy="1987084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7084" extrusionOk="0">
                    <a:moveTo>
                      <a:pt x="1987670" y="1976314"/>
                    </a:moveTo>
                    <a:lnTo>
                      <a:pt x="18662" y="839410"/>
                    </a:lnTo>
                    <a:cubicBezTo>
                      <a:pt x="-8961" y="823503"/>
                      <a:pt x="-5532" y="795690"/>
                      <a:pt x="26377" y="777212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8020"/>
                    </a:lnTo>
                    <a:cubicBezTo>
                      <a:pt x="3449853" y="1164022"/>
                      <a:pt x="3446424" y="1191835"/>
                      <a:pt x="3414515" y="1210218"/>
                    </a:cubicBezTo>
                    <a:lnTo>
                      <a:pt x="2095493" y="1972218"/>
                    </a:lnTo>
                    <a:cubicBezTo>
                      <a:pt x="2063584" y="1990220"/>
                      <a:pt x="2015292" y="1992221"/>
                      <a:pt x="1987670" y="1976314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" name="Google Shape;74;p12"/>
              <p:cNvSpPr/>
              <p:nvPr/>
            </p:nvSpPr>
            <p:spPr>
              <a:xfrm>
                <a:off x="3903726" y="3801522"/>
                <a:ext cx="41719" cy="37052"/>
              </a:xfrm>
              <a:custGeom>
                <a:avLst/>
                <a:gdLst/>
                <a:ahLst/>
                <a:cxnLst/>
                <a:rect l="l" t="t" r="r" b="b"/>
                <a:pathLst>
                  <a:path w="41719" h="37052" extrusionOk="0">
                    <a:moveTo>
                      <a:pt x="0" y="37052"/>
                    </a:moveTo>
                    <a:lnTo>
                      <a:pt x="0" y="0"/>
                    </a:lnTo>
                    <a:lnTo>
                      <a:pt x="41719" y="17431"/>
                    </a:lnTo>
                    <a:lnTo>
                      <a:pt x="0" y="37052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12"/>
              <p:cNvSpPr/>
              <p:nvPr/>
            </p:nvSpPr>
            <p:spPr>
              <a:xfrm>
                <a:off x="7313771" y="4164425"/>
                <a:ext cx="30860" cy="40671"/>
              </a:xfrm>
              <a:custGeom>
                <a:avLst/>
                <a:gdLst/>
                <a:ahLst/>
                <a:cxnLst/>
                <a:rect l="l" t="t" r="r" b="b"/>
                <a:pathLst>
                  <a:path w="30860" h="40671" extrusionOk="0">
                    <a:moveTo>
                      <a:pt x="30861" y="36290"/>
                    </a:moveTo>
                    <a:lnTo>
                      <a:pt x="30861" y="0"/>
                    </a:lnTo>
                    <a:lnTo>
                      <a:pt x="0" y="10573"/>
                    </a:lnTo>
                    <a:lnTo>
                      <a:pt x="20479" y="40672"/>
                    </a:lnTo>
                    <a:lnTo>
                      <a:pt x="30861" y="3629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" name="Google Shape;76;p12"/>
              <p:cNvSpPr/>
              <p:nvPr/>
            </p:nvSpPr>
            <p:spPr>
              <a:xfrm>
                <a:off x="3903733" y="2994046"/>
                <a:ext cx="3440892" cy="198661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18" extrusionOk="0">
                    <a:moveTo>
                      <a:pt x="1987670" y="1975813"/>
                    </a:moveTo>
                    <a:lnTo>
                      <a:pt x="18662" y="839005"/>
                    </a:lnTo>
                    <a:cubicBezTo>
                      <a:pt x="-8961" y="823098"/>
                      <a:pt x="-5532" y="795190"/>
                      <a:pt x="26377" y="776806"/>
                    </a:cubicBezTo>
                    <a:lnTo>
                      <a:pt x="1345495" y="15283"/>
                    </a:lnTo>
                    <a:cubicBezTo>
                      <a:pt x="1377308" y="-3196"/>
                      <a:pt x="1425600" y="-5196"/>
                      <a:pt x="1453222" y="10806"/>
                    </a:cubicBezTo>
                    <a:lnTo>
                      <a:pt x="3422230" y="1147615"/>
                    </a:lnTo>
                    <a:cubicBezTo>
                      <a:pt x="3449853" y="1163521"/>
                      <a:pt x="3446424" y="1191430"/>
                      <a:pt x="3414515" y="1209813"/>
                    </a:cubicBezTo>
                    <a:lnTo>
                      <a:pt x="2095493" y="1971336"/>
                    </a:lnTo>
                    <a:cubicBezTo>
                      <a:pt x="2063584" y="1989815"/>
                      <a:pt x="2015292" y="1991815"/>
                      <a:pt x="1987670" y="1975813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" name="Google Shape;77;p12"/>
              <p:cNvSpPr/>
              <p:nvPr/>
            </p:nvSpPr>
            <p:spPr>
              <a:xfrm>
                <a:off x="3903733" y="2989259"/>
                <a:ext cx="3440892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08" extrusionOk="0">
                    <a:moveTo>
                      <a:pt x="1987670" y="1975838"/>
                    </a:moveTo>
                    <a:lnTo>
                      <a:pt x="18662" y="838934"/>
                    </a:lnTo>
                    <a:cubicBezTo>
                      <a:pt x="-8961" y="823027"/>
                      <a:pt x="-5532" y="795214"/>
                      <a:pt x="26377" y="776736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7544"/>
                    </a:lnTo>
                    <a:cubicBezTo>
                      <a:pt x="3449853" y="1163546"/>
                      <a:pt x="3446424" y="1191359"/>
                      <a:pt x="3414515" y="1209742"/>
                    </a:cubicBezTo>
                    <a:lnTo>
                      <a:pt x="2095493" y="1971742"/>
                    </a:lnTo>
                    <a:cubicBezTo>
                      <a:pt x="2063584" y="1989744"/>
                      <a:pt x="2015292" y="1991745"/>
                      <a:pt x="1987670" y="1975838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" name="Google Shape;78;p12"/>
              <p:cNvSpPr/>
              <p:nvPr/>
            </p:nvSpPr>
            <p:spPr>
              <a:xfrm>
                <a:off x="5115918" y="3136967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2082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" name="Google Shape;79;p12"/>
              <p:cNvSpPr/>
              <p:nvPr/>
            </p:nvSpPr>
            <p:spPr>
              <a:xfrm>
                <a:off x="5245712" y="3211893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1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12"/>
              <p:cNvSpPr/>
              <p:nvPr/>
            </p:nvSpPr>
            <p:spPr>
              <a:xfrm>
                <a:off x="5376617" y="3287669"/>
                <a:ext cx="220517" cy="127212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2" extrusionOk="0">
                    <a:moveTo>
                      <a:pt x="97114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7002" y="128100"/>
                      <a:pt x="106353" y="128529"/>
                      <a:pt x="9711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" name="Google Shape;81;p12"/>
              <p:cNvSpPr/>
              <p:nvPr/>
            </p:nvSpPr>
            <p:spPr>
              <a:xfrm>
                <a:off x="5505300" y="3361757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" name="Google Shape;82;p12"/>
              <p:cNvSpPr/>
              <p:nvPr/>
            </p:nvSpPr>
            <p:spPr>
              <a:xfrm>
                <a:off x="5635055" y="3436683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" name="Google Shape;83;p12"/>
              <p:cNvSpPr/>
              <p:nvPr/>
            </p:nvSpPr>
            <p:spPr>
              <a:xfrm>
                <a:off x="5764856" y="3511602"/>
                <a:ext cx="220517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7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8" y="128234"/>
                      <a:pt x="106077" y="128652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" name="Google Shape;84;p12"/>
              <p:cNvSpPr/>
              <p:nvPr/>
            </p:nvSpPr>
            <p:spPr>
              <a:xfrm>
                <a:off x="5894611" y="3586162"/>
                <a:ext cx="220563" cy="12754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9" extrusionOk="0">
                    <a:moveTo>
                      <a:pt x="96613" y="12477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2"/>
                      <a:pt x="213390" y="72676"/>
                    </a:cubicBezTo>
                    <a:lnTo>
                      <a:pt x="125950" y="123158"/>
                    </a:lnTo>
                    <a:cubicBezTo>
                      <a:pt x="116997" y="128378"/>
                      <a:pt x="106081" y="128978"/>
                      <a:pt x="96613" y="12477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" name="Google Shape;85;p12"/>
              <p:cNvSpPr/>
              <p:nvPr/>
            </p:nvSpPr>
            <p:spPr>
              <a:xfrm>
                <a:off x="6024246" y="3661473"/>
                <a:ext cx="220563" cy="12723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38" extrusionOk="0">
                    <a:moveTo>
                      <a:pt x="9689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576" y="-902"/>
                      <a:pt x="114397" y="-1359"/>
                      <a:pt x="123760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855" y="123190"/>
                    </a:lnTo>
                    <a:cubicBezTo>
                      <a:pt x="116930" y="128114"/>
                      <a:pt x="106215" y="128571"/>
                      <a:pt x="9689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" name="Google Shape;86;p12"/>
              <p:cNvSpPr/>
              <p:nvPr/>
            </p:nvSpPr>
            <p:spPr>
              <a:xfrm>
                <a:off x="6154238" y="3736400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7" y="4163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4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" name="Google Shape;87;p12"/>
              <p:cNvSpPr/>
              <p:nvPr/>
            </p:nvSpPr>
            <p:spPr>
              <a:xfrm>
                <a:off x="6283993" y="3811354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6" y="67131"/>
                      <a:pt x="-1494" y="59606"/>
                      <a:pt x="7174" y="54558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49" y="128167"/>
                      <a:pt x="106100" y="128624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" name="Google Shape;88;p12"/>
              <p:cNvSpPr/>
              <p:nvPr/>
            </p:nvSpPr>
            <p:spPr>
              <a:xfrm>
                <a:off x="6413794" y="3886299"/>
                <a:ext cx="220517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46" extrusionOk="0">
                    <a:moveTo>
                      <a:pt x="96733" y="124393"/>
                    </a:moveTo>
                    <a:lnTo>
                      <a:pt x="5008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12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623"/>
                      <a:pt x="213414" y="72672"/>
                    </a:cubicBezTo>
                    <a:lnTo>
                      <a:pt x="125880" y="123154"/>
                    </a:lnTo>
                    <a:cubicBezTo>
                      <a:pt x="116898" y="128136"/>
                      <a:pt x="106096" y="128593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" name="Google Shape;89;p12"/>
              <p:cNvSpPr/>
              <p:nvPr/>
            </p:nvSpPr>
            <p:spPr>
              <a:xfrm>
                <a:off x="6543549" y="396122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6" y="67087"/>
                      <a:pt x="-1494" y="59563"/>
                      <a:pt x="7174" y="54609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" name="Google Shape;90;p12"/>
              <p:cNvSpPr/>
              <p:nvPr/>
            </p:nvSpPr>
            <p:spPr>
              <a:xfrm>
                <a:off x="6673375" y="4036144"/>
                <a:ext cx="220524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6"/>
                      <a:pt x="114416" y="-1344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138"/>
                    </a:lnTo>
                    <a:cubicBezTo>
                      <a:pt x="116902" y="128215"/>
                      <a:pt x="106062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" name="Google Shape;91;p12"/>
              <p:cNvSpPr/>
              <p:nvPr/>
            </p:nvSpPr>
            <p:spPr>
              <a:xfrm>
                <a:off x="6803525" y="4111089"/>
                <a:ext cx="283033" cy="163345"/>
              </a:xfrm>
              <a:custGeom>
                <a:avLst/>
                <a:gdLst/>
                <a:ahLst/>
                <a:cxnLst/>
                <a:rect l="l" t="t" r="r" b="b"/>
                <a:pathLst>
                  <a:path w="283033" h="163345" extrusionOk="0">
                    <a:moveTo>
                      <a:pt x="159249" y="160492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278026" y="91912"/>
                    </a:lnTo>
                    <a:cubicBezTo>
                      <a:pt x="285455" y="96198"/>
                      <a:pt x="284503" y="103723"/>
                      <a:pt x="275930" y="108772"/>
                    </a:cubicBezTo>
                    <a:lnTo>
                      <a:pt x="188396" y="159254"/>
                    </a:lnTo>
                    <a:cubicBezTo>
                      <a:pt x="179414" y="164236"/>
                      <a:pt x="168612" y="164693"/>
                      <a:pt x="159249" y="1604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" name="Google Shape;92;p12"/>
              <p:cNvSpPr/>
              <p:nvPr/>
            </p:nvSpPr>
            <p:spPr>
              <a:xfrm>
                <a:off x="5182617" y="332072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80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68" y="128234"/>
                      <a:pt x="106148" y="128653"/>
                      <a:pt x="9680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" name="Google Shape;93;p12"/>
              <p:cNvSpPr/>
              <p:nvPr/>
            </p:nvSpPr>
            <p:spPr>
              <a:xfrm>
                <a:off x="5312634" y="3395587"/>
                <a:ext cx="220563" cy="12754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8" extrusionOk="0">
                    <a:moveTo>
                      <a:pt x="96709" y="12456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6141" y="123424"/>
                    </a:lnTo>
                    <a:cubicBezTo>
                      <a:pt x="117073" y="128491"/>
                      <a:pt x="106138" y="128910"/>
                      <a:pt x="96709" y="1245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" name="Google Shape;94;p12"/>
              <p:cNvSpPr/>
              <p:nvPr/>
            </p:nvSpPr>
            <p:spPr>
              <a:xfrm>
                <a:off x="5442650" y="3470843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15485" y="55883"/>
                    </a:lnTo>
                    <a:cubicBezTo>
                      <a:pt x="223010" y="60170"/>
                      <a:pt x="222058" y="67694"/>
                      <a:pt x="213390" y="72647"/>
                    </a:cubicBezTo>
                    <a:lnTo>
                      <a:pt x="125950" y="123225"/>
                    </a:lnTo>
                    <a:cubicBezTo>
                      <a:pt x="116940" y="128226"/>
                      <a:pt x="106081" y="128645"/>
                      <a:pt x="96709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" name="Google Shape;95;p12"/>
              <p:cNvSpPr/>
              <p:nvPr/>
            </p:nvSpPr>
            <p:spPr>
              <a:xfrm>
                <a:off x="5572666" y="354593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" name="Google Shape;96;p12"/>
              <p:cNvSpPr/>
              <p:nvPr/>
            </p:nvSpPr>
            <p:spPr>
              <a:xfrm>
                <a:off x="5701635" y="3620377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97;p12"/>
              <p:cNvSpPr/>
              <p:nvPr/>
            </p:nvSpPr>
            <p:spPr>
              <a:xfrm>
                <a:off x="5831651" y="3695149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98;p12"/>
              <p:cNvSpPr/>
              <p:nvPr/>
            </p:nvSpPr>
            <p:spPr>
              <a:xfrm>
                <a:off x="5961667" y="377049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99;p12"/>
              <p:cNvSpPr/>
              <p:nvPr/>
            </p:nvSpPr>
            <p:spPr>
              <a:xfrm>
                <a:off x="6091683" y="3845548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6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100;p12"/>
              <p:cNvSpPr/>
              <p:nvPr/>
            </p:nvSpPr>
            <p:spPr>
              <a:xfrm>
                <a:off x="6221700" y="3920605"/>
                <a:ext cx="220524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7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891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873" y="128234"/>
                      <a:pt x="106053" y="12865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" name="Google Shape;101;p12"/>
              <p:cNvSpPr/>
              <p:nvPr/>
            </p:nvSpPr>
            <p:spPr>
              <a:xfrm>
                <a:off x="6351691" y="3995706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33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898" y="128190"/>
                      <a:pt x="106077" y="128609"/>
                      <a:pt x="96733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102;p12"/>
              <p:cNvSpPr/>
              <p:nvPr/>
            </p:nvSpPr>
            <p:spPr>
              <a:xfrm>
                <a:off x="6481517" y="4070763"/>
                <a:ext cx="220517" cy="12721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5" extrusionOk="0">
                    <a:moveTo>
                      <a:pt x="96924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09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955" y="128124"/>
                      <a:pt x="106210" y="128543"/>
                      <a:pt x="96924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103;p12"/>
              <p:cNvSpPr/>
              <p:nvPr/>
            </p:nvSpPr>
            <p:spPr>
              <a:xfrm>
                <a:off x="6611724" y="4145820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7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79" y="123190"/>
                    </a:lnTo>
                    <a:cubicBezTo>
                      <a:pt x="11689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104;p12"/>
              <p:cNvSpPr/>
              <p:nvPr/>
            </p:nvSpPr>
            <p:spPr>
              <a:xfrm>
                <a:off x="4990117" y="3209572"/>
                <a:ext cx="283047" cy="163399"/>
              </a:xfrm>
              <a:custGeom>
                <a:avLst/>
                <a:gdLst/>
                <a:ahLst/>
                <a:cxnLst/>
                <a:rect l="l" t="t" r="r" b="b"/>
                <a:pathLst>
                  <a:path w="283047" h="163399" extrusionOk="0">
                    <a:moveTo>
                      <a:pt x="159288" y="1604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77969" y="91888"/>
                    </a:lnTo>
                    <a:cubicBezTo>
                      <a:pt x="285494" y="96269"/>
                      <a:pt x="284542" y="103794"/>
                      <a:pt x="275874" y="108747"/>
                    </a:cubicBezTo>
                    <a:lnTo>
                      <a:pt x="188434" y="159325"/>
                    </a:lnTo>
                    <a:cubicBezTo>
                      <a:pt x="179452" y="164325"/>
                      <a:pt x="168632" y="164745"/>
                      <a:pt x="159288" y="1604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105;p12"/>
              <p:cNvSpPr/>
              <p:nvPr/>
            </p:nvSpPr>
            <p:spPr>
              <a:xfrm>
                <a:off x="6648640" y="4220618"/>
                <a:ext cx="313122" cy="199558"/>
              </a:xfrm>
              <a:custGeom>
                <a:avLst/>
                <a:gdLst/>
                <a:ahLst/>
                <a:cxnLst/>
                <a:rect l="l" t="t" r="r" b="b"/>
                <a:pathLst>
                  <a:path w="313122" h="199558" extrusionOk="0">
                    <a:moveTo>
                      <a:pt x="307467" y="56107"/>
                    </a:moveTo>
                    <a:lnTo>
                      <a:pt x="215836" y="3243"/>
                    </a:lnTo>
                    <a:cubicBezTo>
                      <a:pt x="207274" y="-1081"/>
                      <a:pt x="197158" y="-1081"/>
                      <a:pt x="188595" y="3243"/>
                    </a:cubicBezTo>
                    <a:lnTo>
                      <a:pt x="96107" y="56107"/>
                    </a:lnTo>
                    <a:cubicBezTo>
                      <a:pt x="91764" y="57564"/>
                      <a:pt x="89430" y="62260"/>
                      <a:pt x="90878" y="66594"/>
                    </a:cubicBezTo>
                    <a:cubicBezTo>
                      <a:pt x="91707" y="69061"/>
                      <a:pt x="93640" y="70994"/>
                      <a:pt x="96107" y="71823"/>
                    </a:cubicBezTo>
                    <a:lnTo>
                      <a:pt x="103442" y="76014"/>
                    </a:lnTo>
                    <a:cubicBezTo>
                      <a:pt x="107442" y="77329"/>
                      <a:pt x="109614" y="81634"/>
                      <a:pt x="108299" y="85635"/>
                    </a:cubicBezTo>
                    <a:cubicBezTo>
                      <a:pt x="107547" y="87930"/>
                      <a:pt x="105737" y="89740"/>
                      <a:pt x="103442" y="90492"/>
                    </a:cubicBezTo>
                    <a:lnTo>
                      <a:pt x="5715" y="146880"/>
                    </a:lnTo>
                    <a:cubicBezTo>
                      <a:pt x="-1905" y="151262"/>
                      <a:pt x="-1905" y="158310"/>
                      <a:pt x="5715" y="162596"/>
                    </a:cubicBezTo>
                    <a:lnTo>
                      <a:pt x="64103" y="196315"/>
                    </a:lnTo>
                    <a:cubicBezTo>
                      <a:pt x="72666" y="200639"/>
                      <a:pt x="82782" y="200639"/>
                      <a:pt x="91345" y="196315"/>
                    </a:cubicBezTo>
                    <a:lnTo>
                      <a:pt x="182690" y="143546"/>
                    </a:lnTo>
                    <a:lnTo>
                      <a:pt x="201740" y="132593"/>
                    </a:lnTo>
                    <a:lnTo>
                      <a:pt x="215360" y="124782"/>
                    </a:lnTo>
                    <a:lnTo>
                      <a:pt x="229076" y="116877"/>
                    </a:lnTo>
                    <a:lnTo>
                      <a:pt x="307848" y="71347"/>
                    </a:lnTo>
                    <a:cubicBezTo>
                      <a:pt x="314896" y="67061"/>
                      <a:pt x="314992" y="60108"/>
                      <a:pt x="307467" y="5610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106;p12"/>
              <p:cNvSpPr/>
              <p:nvPr/>
            </p:nvSpPr>
            <p:spPr>
              <a:xfrm>
                <a:off x="4613284" y="3427765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194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107;p12"/>
              <p:cNvSpPr/>
              <p:nvPr/>
            </p:nvSpPr>
            <p:spPr>
              <a:xfrm>
                <a:off x="4742658" y="3502501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108;p12"/>
              <p:cNvSpPr/>
              <p:nvPr/>
            </p:nvSpPr>
            <p:spPr>
              <a:xfrm>
                <a:off x="4871721" y="3577213"/>
                <a:ext cx="220563" cy="12718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189" extrusionOk="0">
                    <a:moveTo>
                      <a:pt x="97090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3"/>
                    </a:lnTo>
                    <a:cubicBezTo>
                      <a:pt x="223010" y="60099"/>
                      <a:pt x="222058" y="67719"/>
                      <a:pt x="213390" y="72672"/>
                    </a:cubicBezTo>
                    <a:lnTo>
                      <a:pt x="125950" y="123154"/>
                    </a:lnTo>
                    <a:cubicBezTo>
                      <a:pt x="117054" y="128060"/>
                      <a:pt x="106376" y="128517"/>
                      <a:pt x="97090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109;p12"/>
              <p:cNvSpPr/>
              <p:nvPr/>
            </p:nvSpPr>
            <p:spPr>
              <a:xfrm>
                <a:off x="5974216" y="4213507"/>
                <a:ext cx="220549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2082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110;p12"/>
              <p:cNvSpPr/>
              <p:nvPr/>
            </p:nvSpPr>
            <p:spPr>
              <a:xfrm>
                <a:off x="6104041" y="428825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6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111;p12"/>
              <p:cNvSpPr/>
              <p:nvPr/>
            </p:nvSpPr>
            <p:spPr>
              <a:xfrm>
                <a:off x="6233034" y="4362946"/>
                <a:ext cx="220563" cy="12735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51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4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328"/>
                    </a:lnTo>
                    <a:cubicBezTo>
                      <a:pt x="116920" y="128300"/>
                      <a:pt x="106072" y="128681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112;p12"/>
              <p:cNvSpPr/>
              <p:nvPr/>
            </p:nvSpPr>
            <p:spPr>
              <a:xfrm>
                <a:off x="6362479" y="4438082"/>
                <a:ext cx="220563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46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3010" y="60099"/>
                      <a:pt x="222058" y="67624"/>
                      <a:pt x="213390" y="72672"/>
                    </a:cubicBezTo>
                    <a:lnTo>
                      <a:pt x="125950" y="123154"/>
                    </a:lnTo>
                    <a:cubicBezTo>
                      <a:pt x="116940" y="128136"/>
                      <a:pt x="106110" y="128593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113;p12"/>
              <p:cNvSpPr/>
              <p:nvPr/>
            </p:nvSpPr>
            <p:spPr>
              <a:xfrm>
                <a:off x="5001523" y="3651913"/>
                <a:ext cx="253854" cy="146540"/>
              </a:xfrm>
              <a:custGeom>
                <a:avLst/>
                <a:gdLst/>
                <a:ahLst/>
                <a:cxnLst/>
                <a:rect l="l" t="t" r="r" b="b"/>
                <a:pathLst>
                  <a:path w="253854" h="146540" extrusionOk="0">
                    <a:moveTo>
                      <a:pt x="130071" y="143609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3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48847" y="75124"/>
                    </a:lnTo>
                    <a:cubicBezTo>
                      <a:pt x="256277" y="79410"/>
                      <a:pt x="255324" y="86935"/>
                      <a:pt x="246752" y="91888"/>
                    </a:cubicBezTo>
                    <a:lnTo>
                      <a:pt x="159217" y="142465"/>
                    </a:lnTo>
                    <a:cubicBezTo>
                      <a:pt x="150235" y="147466"/>
                      <a:pt x="139415" y="147885"/>
                      <a:pt x="130071" y="14360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" name="Google Shape;114;p12"/>
              <p:cNvSpPr/>
              <p:nvPr/>
            </p:nvSpPr>
            <p:spPr>
              <a:xfrm>
                <a:off x="5811458" y="4119562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3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48823" y="75057"/>
                    </a:lnTo>
                    <a:cubicBezTo>
                      <a:pt x="256348" y="79343"/>
                      <a:pt x="255395" y="86963"/>
                      <a:pt x="246727" y="91916"/>
                    </a:cubicBezTo>
                    <a:lnTo>
                      <a:pt x="159288" y="142399"/>
                    </a:lnTo>
                    <a:cubicBezTo>
                      <a:pt x="150287" y="147428"/>
                      <a:pt x="139438" y="147885"/>
                      <a:pt x="130046" y="14363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" name="Google Shape;115;p12"/>
              <p:cNvSpPr/>
              <p:nvPr/>
            </p:nvSpPr>
            <p:spPr>
              <a:xfrm>
                <a:off x="5164178" y="3745900"/>
                <a:ext cx="738494" cy="426244"/>
              </a:xfrm>
              <a:custGeom>
                <a:avLst/>
                <a:gdLst/>
                <a:ahLst/>
                <a:cxnLst/>
                <a:rect l="l" t="t" r="r" b="b"/>
                <a:pathLst>
                  <a:path w="738494" h="426244" extrusionOk="0">
                    <a:moveTo>
                      <a:pt x="614639" y="423287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733416" y="354802"/>
                    </a:lnTo>
                    <a:cubicBezTo>
                      <a:pt x="740941" y="359089"/>
                      <a:pt x="739989" y="366613"/>
                      <a:pt x="731321" y="371566"/>
                    </a:cubicBezTo>
                    <a:lnTo>
                      <a:pt x="643881" y="422144"/>
                    </a:lnTo>
                    <a:cubicBezTo>
                      <a:pt x="634880" y="427173"/>
                      <a:pt x="624012" y="427602"/>
                      <a:pt x="614639" y="42328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116;p12"/>
              <p:cNvSpPr/>
              <p:nvPr/>
            </p:nvSpPr>
            <p:spPr>
              <a:xfrm>
                <a:off x="5092169" y="3413764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2"/>
                    </a:moveTo>
                    <a:lnTo>
                      <a:pt x="5039" y="71433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099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3"/>
                      <a:pt x="106128" y="128641"/>
                      <a:pt x="96765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117;p12"/>
              <p:cNvSpPr/>
              <p:nvPr/>
            </p:nvSpPr>
            <p:spPr>
              <a:xfrm>
                <a:off x="5221804" y="3488595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2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" name="Google Shape;118;p12"/>
              <p:cNvSpPr/>
              <p:nvPr/>
            </p:nvSpPr>
            <p:spPr>
              <a:xfrm>
                <a:off x="5351534" y="3563461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65" y="124333"/>
                    </a:moveTo>
                    <a:lnTo>
                      <a:pt x="5039" y="71469"/>
                    </a:lnTo>
                    <a:cubicBezTo>
                      <a:pt x="-2390" y="67087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542" y="55848"/>
                    </a:lnTo>
                    <a:cubicBezTo>
                      <a:pt x="222972" y="60134"/>
                      <a:pt x="222019" y="67659"/>
                      <a:pt x="213447" y="72707"/>
                    </a:cubicBezTo>
                    <a:lnTo>
                      <a:pt x="125912" y="123190"/>
                    </a:lnTo>
                    <a:cubicBezTo>
                      <a:pt x="116930" y="128190"/>
                      <a:pt x="106109" y="128609"/>
                      <a:pt x="96765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" name="Google Shape;119;p12"/>
              <p:cNvSpPr/>
              <p:nvPr/>
            </p:nvSpPr>
            <p:spPr>
              <a:xfrm>
                <a:off x="5481392" y="3638284"/>
                <a:ext cx="220517" cy="12722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25" extrusionOk="0">
                    <a:moveTo>
                      <a:pt x="96447" y="124090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774" y="128234"/>
                      <a:pt x="105830" y="128557"/>
                      <a:pt x="96447" y="124090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" name="Google Shape;120;p12"/>
              <p:cNvSpPr/>
              <p:nvPr/>
            </p:nvSpPr>
            <p:spPr>
              <a:xfrm>
                <a:off x="5610742" y="3713151"/>
                <a:ext cx="220517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64" extrusionOk="0">
                    <a:moveTo>
                      <a:pt x="96733" y="124376"/>
                    </a:moveTo>
                    <a:lnTo>
                      <a:pt x="5007" y="71417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6"/>
                      <a:pt x="114440" y="-1344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138"/>
                    </a:lnTo>
                    <a:cubicBezTo>
                      <a:pt x="116917" y="128167"/>
                      <a:pt x="106096" y="128624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121;p12"/>
              <p:cNvSpPr/>
              <p:nvPr/>
            </p:nvSpPr>
            <p:spPr>
              <a:xfrm>
                <a:off x="5740377" y="3788001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2" name="Google Shape;122;p12"/>
              <p:cNvSpPr/>
              <p:nvPr/>
            </p:nvSpPr>
            <p:spPr>
              <a:xfrm>
                <a:off x="5870012" y="3862832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0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123;p12"/>
              <p:cNvSpPr/>
              <p:nvPr/>
            </p:nvSpPr>
            <p:spPr>
              <a:xfrm>
                <a:off x="5999266" y="3937698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124;p12"/>
              <p:cNvSpPr/>
              <p:nvPr/>
            </p:nvSpPr>
            <p:spPr>
              <a:xfrm>
                <a:off x="6129021" y="4012522"/>
                <a:ext cx="220524" cy="12723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37" extrusionOk="0">
                    <a:moveTo>
                      <a:pt x="9699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949" y="128138"/>
                      <a:pt x="106262" y="128557"/>
                      <a:pt x="9699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125;p12"/>
              <p:cNvSpPr/>
              <p:nvPr/>
            </p:nvSpPr>
            <p:spPr>
              <a:xfrm>
                <a:off x="6258942" y="4087388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3" y="54653"/>
                    </a:cubicBezTo>
                    <a:lnTo>
                      <a:pt x="94613" y="4075"/>
                    </a:lnTo>
                    <a:cubicBezTo>
                      <a:pt x="103595" y="-925"/>
                      <a:pt x="114415" y="-1345"/>
                      <a:pt x="123760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126;p12"/>
              <p:cNvSpPr/>
              <p:nvPr/>
            </p:nvSpPr>
            <p:spPr>
              <a:xfrm>
                <a:off x="6388578" y="4161853"/>
                <a:ext cx="220563" cy="127285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5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7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3"/>
                      <a:pt x="213390" y="72676"/>
                    </a:cubicBezTo>
                    <a:lnTo>
                      <a:pt x="125950" y="123158"/>
                    </a:lnTo>
                    <a:cubicBezTo>
                      <a:pt x="116949" y="128187"/>
                      <a:pt x="106100" y="128645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127;p12"/>
              <p:cNvSpPr/>
              <p:nvPr/>
            </p:nvSpPr>
            <p:spPr>
              <a:xfrm>
                <a:off x="6518213" y="4237101"/>
                <a:ext cx="221039" cy="127370"/>
              </a:xfrm>
              <a:custGeom>
                <a:avLst/>
                <a:gdLst/>
                <a:ahLst/>
                <a:cxnLst/>
                <a:rect l="l" t="t" r="r" b="b"/>
                <a:pathLst>
                  <a:path w="221039" h="127370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3" y="54578"/>
                    </a:cubicBezTo>
                    <a:lnTo>
                      <a:pt x="94613" y="4095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962" y="55816"/>
                    </a:lnTo>
                    <a:cubicBezTo>
                      <a:pt x="223486" y="60103"/>
                      <a:pt x="222534" y="67627"/>
                      <a:pt x="213866" y="72676"/>
                    </a:cubicBezTo>
                    <a:lnTo>
                      <a:pt x="126427" y="123158"/>
                    </a:lnTo>
                    <a:cubicBezTo>
                      <a:pt x="117292" y="128302"/>
                      <a:pt x="106243" y="128759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128;p12"/>
              <p:cNvSpPr/>
              <p:nvPr/>
            </p:nvSpPr>
            <p:spPr>
              <a:xfrm>
                <a:off x="4864578" y="3282378"/>
                <a:ext cx="318480" cy="183800"/>
              </a:xfrm>
              <a:custGeom>
                <a:avLst/>
                <a:gdLst/>
                <a:ahLst/>
                <a:cxnLst/>
                <a:rect l="l" t="t" r="r" b="b"/>
                <a:pathLst>
                  <a:path w="318480" h="183800" extrusionOk="0">
                    <a:moveTo>
                      <a:pt x="194721" y="180911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313402" y="112331"/>
                    </a:lnTo>
                    <a:cubicBezTo>
                      <a:pt x="320927" y="116713"/>
                      <a:pt x="319975" y="124237"/>
                      <a:pt x="311307" y="129190"/>
                    </a:cubicBezTo>
                    <a:lnTo>
                      <a:pt x="223867" y="179673"/>
                    </a:lnTo>
                    <a:cubicBezTo>
                      <a:pt x="214904" y="184702"/>
                      <a:pt x="204084" y="185159"/>
                      <a:pt x="194721" y="18091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129;p12"/>
              <p:cNvSpPr/>
              <p:nvPr/>
            </p:nvSpPr>
            <p:spPr>
              <a:xfrm>
                <a:off x="4902011" y="3449213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3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130;p12"/>
              <p:cNvSpPr/>
              <p:nvPr/>
            </p:nvSpPr>
            <p:spPr>
              <a:xfrm>
                <a:off x="5031646" y="352368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2915" y="60099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4"/>
                      <a:pt x="106072" y="128641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131;p12"/>
              <p:cNvSpPr/>
              <p:nvPr/>
            </p:nvSpPr>
            <p:spPr>
              <a:xfrm>
                <a:off x="5161066" y="359889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32;p12"/>
              <p:cNvSpPr/>
              <p:nvPr/>
            </p:nvSpPr>
            <p:spPr>
              <a:xfrm>
                <a:off x="5290892" y="3673717"/>
                <a:ext cx="220517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8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7" y="128234"/>
                      <a:pt x="106077" y="128653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133;p12"/>
              <p:cNvSpPr/>
              <p:nvPr/>
            </p:nvSpPr>
            <p:spPr>
              <a:xfrm>
                <a:off x="5420495" y="3748758"/>
                <a:ext cx="220334" cy="127131"/>
              </a:xfrm>
              <a:custGeom>
                <a:avLst/>
                <a:gdLst/>
                <a:ahLst/>
                <a:cxnLst/>
                <a:rect l="l" t="t" r="r" b="b"/>
                <a:pathLst>
                  <a:path w="220334" h="127131" extrusionOk="0">
                    <a:moveTo>
                      <a:pt x="96765" y="124202"/>
                    </a:moveTo>
                    <a:lnTo>
                      <a:pt x="5039" y="71243"/>
                    </a:lnTo>
                    <a:cubicBezTo>
                      <a:pt x="-2390" y="66957"/>
                      <a:pt x="-1533" y="59432"/>
                      <a:pt x="7135" y="54384"/>
                    </a:cubicBezTo>
                    <a:lnTo>
                      <a:pt x="94479" y="4092"/>
                    </a:lnTo>
                    <a:cubicBezTo>
                      <a:pt x="103461" y="-890"/>
                      <a:pt x="114263" y="-1347"/>
                      <a:pt x="123626" y="2854"/>
                    </a:cubicBezTo>
                    <a:lnTo>
                      <a:pt x="215256" y="55813"/>
                    </a:lnTo>
                    <a:cubicBezTo>
                      <a:pt x="222781" y="60099"/>
                      <a:pt x="221828" y="67719"/>
                      <a:pt x="213161" y="72672"/>
                    </a:cubicBezTo>
                    <a:lnTo>
                      <a:pt x="125721" y="123154"/>
                    </a:lnTo>
                    <a:cubicBezTo>
                      <a:pt x="116777" y="128060"/>
                      <a:pt x="106043" y="128450"/>
                      <a:pt x="96765" y="12420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134;p12"/>
              <p:cNvSpPr/>
              <p:nvPr/>
            </p:nvSpPr>
            <p:spPr>
              <a:xfrm>
                <a:off x="5550092" y="3823398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135;p12"/>
              <p:cNvSpPr/>
              <p:nvPr/>
            </p:nvSpPr>
            <p:spPr>
              <a:xfrm>
                <a:off x="5679727" y="3898222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136;p12"/>
              <p:cNvSpPr/>
              <p:nvPr/>
            </p:nvSpPr>
            <p:spPr>
              <a:xfrm>
                <a:off x="5809362" y="397307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4"/>
                    </a:cubicBezTo>
                    <a:lnTo>
                      <a:pt x="215485" y="55813"/>
                    </a:lnTo>
                    <a:cubicBezTo>
                      <a:pt x="222915" y="60194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3"/>
                      <a:pt x="106072" y="128641"/>
                      <a:pt x="96709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137;p12"/>
              <p:cNvSpPr/>
              <p:nvPr/>
            </p:nvSpPr>
            <p:spPr>
              <a:xfrm>
                <a:off x="5938592" y="4047903"/>
                <a:ext cx="220517" cy="126979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6979" extrusionOk="0">
                    <a:moveTo>
                      <a:pt x="97114" y="124047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45" y="127924"/>
                      <a:pt x="106315" y="128238"/>
                      <a:pt x="97114" y="12404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" name="Google Shape;138;p12"/>
              <p:cNvSpPr/>
              <p:nvPr/>
            </p:nvSpPr>
            <p:spPr>
              <a:xfrm>
                <a:off x="6068608" y="4122734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80" y="123225"/>
                    </a:lnTo>
                    <a:cubicBezTo>
                      <a:pt x="116898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139;p12"/>
              <p:cNvSpPr/>
              <p:nvPr/>
            </p:nvSpPr>
            <p:spPr>
              <a:xfrm>
                <a:off x="6198212" y="4197576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3"/>
                    </a:moveTo>
                    <a:lnTo>
                      <a:pt x="5039" y="71434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194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4"/>
                      <a:pt x="106128" y="128641"/>
                      <a:pt x="96765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140;p12"/>
              <p:cNvSpPr/>
              <p:nvPr/>
            </p:nvSpPr>
            <p:spPr>
              <a:xfrm>
                <a:off x="6327808" y="4272442"/>
                <a:ext cx="380989" cy="219907"/>
              </a:xfrm>
              <a:custGeom>
                <a:avLst/>
                <a:gdLst/>
                <a:ahLst/>
                <a:cxnLst/>
                <a:rect l="l" t="t" r="r" b="b"/>
                <a:pathLst>
                  <a:path w="380989" h="219907" extrusionOk="0">
                    <a:moveTo>
                      <a:pt x="257205" y="216975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624" y="-890"/>
                      <a:pt x="114454" y="-1347"/>
                      <a:pt x="123855" y="2854"/>
                    </a:cubicBezTo>
                    <a:lnTo>
                      <a:pt x="375982" y="148396"/>
                    </a:lnTo>
                    <a:cubicBezTo>
                      <a:pt x="383411" y="152777"/>
                      <a:pt x="382459" y="160302"/>
                      <a:pt x="373886" y="165255"/>
                    </a:cubicBezTo>
                    <a:lnTo>
                      <a:pt x="286351" y="215832"/>
                    </a:lnTo>
                    <a:cubicBezTo>
                      <a:pt x="277369" y="220833"/>
                      <a:pt x="266549" y="221252"/>
                      <a:pt x="257205" y="21697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141;p12"/>
              <p:cNvSpPr/>
              <p:nvPr/>
            </p:nvSpPr>
            <p:spPr>
              <a:xfrm>
                <a:off x="4739038" y="3355149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6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48823" y="75088"/>
                    </a:lnTo>
                    <a:cubicBezTo>
                      <a:pt x="256348" y="79375"/>
                      <a:pt x="255395" y="86899"/>
                      <a:pt x="246727" y="91948"/>
                    </a:cubicBezTo>
                    <a:lnTo>
                      <a:pt x="159288" y="142430"/>
                    </a:lnTo>
                    <a:cubicBezTo>
                      <a:pt x="150277" y="147412"/>
                      <a:pt x="139447" y="147879"/>
                      <a:pt x="130046" y="1436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142;p12"/>
              <p:cNvSpPr/>
              <p:nvPr/>
            </p:nvSpPr>
            <p:spPr>
              <a:xfrm>
                <a:off x="5246664" y="3087528"/>
                <a:ext cx="1926000" cy="1111651"/>
              </a:xfrm>
              <a:custGeom>
                <a:avLst/>
                <a:gdLst/>
                <a:ahLst/>
                <a:cxnLst/>
                <a:rect l="l" t="t" r="r" b="b"/>
                <a:pathLst>
                  <a:path w="1926000" h="1111651" extrusionOk="0">
                    <a:moveTo>
                      <a:pt x="1845936" y="1108805"/>
                    </a:moveTo>
                    <a:lnTo>
                      <a:pt x="5039" y="46196"/>
                    </a:lnTo>
                    <a:cubicBezTo>
                      <a:pt x="-2390" y="41910"/>
                      <a:pt x="-1533" y="34290"/>
                      <a:pt x="7135" y="29337"/>
                    </a:cubicBezTo>
                    <a:lnTo>
                      <a:pt x="50855" y="4096"/>
                    </a:lnTo>
                    <a:cubicBezTo>
                      <a:pt x="59865" y="-886"/>
                      <a:pt x="70695" y="-1353"/>
                      <a:pt x="80097" y="2857"/>
                    </a:cubicBezTo>
                    <a:lnTo>
                      <a:pt x="1920993" y="1065371"/>
                    </a:lnTo>
                    <a:cubicBezTo>
                      <a:pt x="1928423" y="1069658"/>
                      <a:pt x="1927470" y="1077182"/>
                      <a:pt x="1918898" y="1082230"/>
                    </a:cubicBezTo>
                    <a:lnTo>
                      <a:pt x="1875083" y="1107472"/>
                    </a:lnTo>
                    <a:cubicBezTo>
                      <a:pt x="1866129" y="1112529"/>
                      <a:pt x="1855309" y="1113025"/>
                      <a:pt x="1845936" y="110880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" name="Google Shape;143;p12"/>
              <p:cNvSpPr/>
              <p:nvPr/>
            </p:nvSpPr>
            <p:spPr>
              <a:xfrm>
                <a:off x="4501288" y="3792632"/>
                <a:ext cx="1451798" cy="838156"/>
              </a:xfrm>
              <a:custGeom>
                <a:avLst/>
                <a:gdLst/>
                <a:ahLst/>
                <a:cxnLst/>
                <a:rect l="l" t="t" r="r" b="b"/>
                <a:pathLst>
                  <a:path w="1451798" h="838156" extrusionOk="0">
                    <a:moveTo>
                      <a:pt x="1450884" y="524573"/>
                    </a:moveTo>
                    <a:cubicBezTo>
                      <a:pt x="1448283" y="530298"/>
                      <a:pt x="1443816" y="534965"/>
                      <a:pt x="1438216" y="537813"/>
                    </a:cubicBezTo>
                    <a:lnTo>
                      <a:pt x="931581" y="830231"/>
                    </a:lnTo>
                    <a:cubicBezTo>
                      <a:pt x="914321" y="839889"/>
                      <a:pt x="893500" y="840766"/>
                      <a:pt x="875479" y="832612"/>
                    </a:cubicBezTo>
                    <a:lnTo>
                      <a:pt x="9751" y="332740"/>
                    </a:lnTo>
                    <a:cubicBezTo>
                      <a:pt x="5808" y="330683"/>
                      <a:pt x="2709" y="327311"/>
                      <a:pt x="988" y="323215"/>
                    </a:cubicBezTo>
                    <a:cubicBezTo>
                      <a:pt x="-2155" y="315595"/>
                      <a:pt x="2226" y="306641"/>
                      <a:pt x="13752" y="299974"/>
                    </a:cubicBezTo>
                    <a:lnTo>
                      <a:pt x="520387" y="7842"/>
                    </a:lnTo>
                    <a:cubicBezTo>
                      <a:pt x="537674" y="-1740"/>
                      <a:pt x="558477" y="-2588"/>
                      <a:pt x="576489" y="5556"/>
                    </a:cubicBezTo>
                    <a:lnTo>
                      <a:pt x="1442311" y="505428"/>
                    </a:lnTo>
                    <a:cubicBezTo>
                      <a:pt x="1449874" y="508438"/>
                      <a:pt x="1453675" y="516925"/>
                      <a:pt x="1450884" y="52457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" name="Google Shape;144;p12"/>
              <p:cNvSpPr/>
              <p:nvPr/>
            </p:nvSpPr>
            <p:spPr>
              <a:xfrm>
                <a:off x="4502277" y="3802740"/>
                <a:ext cx="1449895" cy="828048"/>
              </a:xfrm>
              <a:custGeom>
                <a:avLst/>
                <a:gdLst/>
                <a:ahLst/>
                <a:cxnLst/>
                <a:rect l="l" t="t" r="r" b="b"/>
                <a:pathLst>
                  <a:path w="1449895" h="828048" extrusionOk="0">
                    <a:moveTo>
                      <a:pt x="1449896" y="514465"/>
                    </a:moveTo>
                    <a:cubicBezTo>
                      <a:pt x="1447295" y="520190"/>
                      <a:pt x="1442828" y="524857"/>
                      <a:pt x="1437227" y="527705"/>
                    </a:cubicBezTo>
                    <a:lnTo>
                      <a:pt x="930593" y="820123"/>
                    </a:lnTo>
                    <a:cubicBezTo>
                      <a:pt x="913333" y="829781"/>
                      <a:pt x="892512" y="830657"/>
                      <a:pt x="874490" y="822504"/>
                    </a:cubicBezTo>
                    <a:lnTo>
                      <a:pt x="8763" y="322632"/>
                    </a:lnTo>
                    <a:cubicBezTo>
                      <a:pt x="4820" y="320575"/>
                      <a:pt x="1720" y="317203"/>
                      <a:pt x="0" y="313107"/>
                    </a:cubicBezTo>
                    <a:cubicBezTo>
                      <a:pt x="2669" y="307582"/>
                      <a:pt x="7089" y="303096"/>
                      <a:pt x="12573" y="300343"/>
                    </a:cubicBezTo>
                    <a:lnTo>
                      <a:pt x="519208" y="7926"/>
                    </a:lnTo>
                    <a:cubicBezTo>
                      <a:pt x="536467" y="-1732"/>
                      <a:pt x="557289" y="-2609"/>
                      <a:pt x="575310" y="5545"/>
                    </a:cubicBezTo>
                    <a:lnTo>
                      <a:pt x="1441323" y="505417"/>
                    </a:lnTo>
                    <a:cubicBezTo>
                      <a:pt x="1445095" y="507417"/>
                      <a:pt x="1448105" y="510598"/>
                      <a:pt x="1449896" y="514465"/>
                    </a:cubicBezTo>
                    <a:close/>
                  </a:path>
                </a:pathLst>
              </a:custGeom>
              <a:solidFill>
                <a:srgbClr val="C3C6D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145;p12"/>
              <p:cNvSpPr/>
              <p:nvPr/>
            </p:nvSpPr>
            <p:spPr>
              <a:xfrm>
                <a:off x="5378291" y="2993528"/>
                <a:ext cx="1867947" cy="1123828"/>
              </a:xfrm>
              <a:custGeom>
                <a:avLst/>
                <a:gdLst/>
                <a:ahLst/>
                <a:cxnLst/>
                <a:rect l="l" t="t" r="r" b="b"/>
                <a:pathLst>
                  <a:path w="1867947" h="1123828" extrusionOk="0">
                    <a:moveTo>
                      <a:pt x="1854422" y="1122224"/>
                    </a:moveTo>
                    <a:lnTo>
                      <a:pt x="13526" y="59425"/>
                    </a:lnTo>
                    <a:cubicBezTo>
                      <a:pt x="5191" y="53395"/>
                      <a:pt x="181" y="43804"/>
                      <a:pt x="0" y="33517"/>
                    </a:cubicBezTo>
                    <a:lnTo>
                      <a:pt x="0" y="11895"/>
                    </a:lnTo>
                    <a:cubicBezTo>
                      <a:pt x="0" y="1894"/>
                      <a:pt x="6096" y="-2678"/>
                      <a:pt x="13526" y="1608"/>
                    </a:cubicBezTo>
                    <a:lnTo>
                      <a:pt x="1854422" y="1064122"/>
                    </a:lnTo>
                    <a:cubicBezTo>
                      <a:pt x="1862804" y="1070103"/>
                      <a:pt x="1867833" y="1079733"/>
                      <a:pt x="1867948" y="1090030"/>
                    </a:cubicBezTo>
                    <a:lnTo>
                      <a:pt x="1867948" y="1111747"/>
                    </a:lnTo>
                    <a:cubicBezTo>
                      <a:pt x="1867948" y="1121938"/>
                      <a:pt x="1861947" y="1126510"/>
                      <a:pt x="1854422" y="1122224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" name="Google Shape;146;p12"/>
              <p:cNvSpPr/>
              <p:nvPr/>
            </p:nvSpPr>
            <p:spPr>
              <a:xfrm>
                <a:off x="5482399" y="1596347"/>
                <a:ext cx="657230" cy="440903"/>
              </a:xfrm>
              <a:custGeom>
                <a:avLst/>
                <a:gdLst/>
                <a:ahLst/>
                <a:cxnLst/>
                <a:rect l="l" t="t" r="r" b="b"/>
                <a:pathLst>
                  <a:path w="657230" h="440903" extrusionOk="0">
                    <a:moveTo>
                      <a:pt x="647700" y="439716"/>
                    </a:moveTo>
                    <a:lnTo>
                      <a:pt x="9525" y="71480"/>
                    </a:lnTo>
                    <a:cubicBezTo>
                      <a:pt x="3610" y="67173"/>
                      <a:pt x="76" y="60320"/>
                      <a:pt x="0" y="53001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647700" y="369422"/>
                    </a:lnTo>
                    <a:cubicBezTo>
                      <a:pt x="653615" y="373729"/>
                      <a:pt x="657149" y="380581"/>
                      <a:pt x="657225" y="387900"/>
                    </a:cubicBezTo>
                    <a:lnTo>
                      <a:pt x="657225" y="432477"/>
                    </a:lnTo>
                    <a:cubicBezTo>
                      <a:pt x="657416" y="439526"/>
                      <a:pt x="653034" y="442860"/>
                      <a:pt x="647700" y="43971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147;p12"/>
              <p:cNvSpPr/>
              <p:nvPr/>
            </p:nvSpPr>
            <p:spPr>
              <a:xfrm>
                <a:off x="5485731" y="1725601"/>
                <a:ext cx="490070" cy="322282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282" extrusionOk="0">
                    <a:moveTo>
                      <a:pt x="480538" y="321130"/>
                    </a:moveTo>
                    <a:lnTo>
                      <a:pt x="9527" y="49191"/>
                    </a:lnTo>
                    <a:cubicBezTo>
                      <a:pt x="3460" y="44756"/>
                      <a:pt x="-93" y="37658"/>
                      <a:pt x="2" y="30141"/>
                    </a:cubicBezTo>
                    <a:lnTo>
                      <a:pt x="2" y="8520"/>
                    </a:lnTo>
                    <a:cubicBezTo>
                      <a:pt x="2" y="1376"/>
                      <a:pt x="4288" y="-1958"/>
                      <a:pt x="9527" y="1185"/>
                    </a:cubicBezTo>
                    <a:lnTo>
                      <a:pt x="480538" y="273124"/>
                    </a:lnTo>
                    <a:cubicBezTo>
                      <a:pt x="486606" y="277563"/>
                      <a:pt x="490158" y="284659"/>
                      <a:pt x="490063" y="292174"/>
                    </a:cubicBezTo>
                    <a:lnTo>
                      <a:pt x="490063" y="314272"/>
                    </a:lnTo>
                    <a:cubicBezTo>
                      <a:pt x="490254" y="320940"/>
                      <a:pt x="486444" y="324178"/>
                      <a:pt x="480538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" name="Google Shape;148;p12"/>
              <p:cNvSpPr/>
              <p:nvPr/>
            </p:nvSpPr>
            <p:spPr>
              <a:xfrm>
                <a:off x="5485731" y="1809557"/>
                <a:ext cx="490070" cy="322194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194" extrusionOk="0">
                    <a:moveTo>
                      <a:pt x="480538" y="321090"/>
                    </a:moveTo>
                    <a:lnTo>
                      <a:pt x="9527" y="49151"/>
                    </a:lnTo>
                    <a:cubicBezTo>
                      <a:pt x="3460" y="44715"/>
                      <a:pt x="-93" y="37618"/>
                      <a:pt x="2" y="30101"/>
                    </a:cubicBezTo>
                    <a:lnTo>
                      <a:pt x="2" y="8479"/>
                    </a:lnTo>
                    <a:cubicBezTo>
                      <a:pt x="2" y="1335"/>
                      <a:pt x="4288" y="-1903"/>
                      <a:pt x="9527" y="1145"/>
                    </a:cubicBezTo>
                    <a:lnTo>
                      <a:pt x="480538" y="273179"/>
                    </a:lnTo>
                    <a:cubicBezTo>
                      <a:pt x="486491" y="277456"/>
                      <a:pt x="490035" y="284323"/>
                      <a:pt x="490063" y="291657"/>
                    </a:cubicBezTo>
                    <a:lnTo>
                      <a:pt x="490063" y="313755"/>
                    </a:lnTo>
                    <a:cubicBezTo>
                      <a:pt x="490254" y="320899"/>
                      <a:pt x="486444" y="324042"/>
                      <a:pt x="480538" y="32109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" name="Google Shape;149;p12"/>
              <p:cNvSpPr/>
              <p:nvPr/>
            </p:nvSpPr>
            <p:spPr>
              <a:xfrm>
                <a:off x="5485733" y="1893472"/>
                <a:ext cx="401289" cy="270998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0998" extrusionOk="0">
                    <a:moveTo>
                      <a:pt x="391763" y="269845"/>
                    </a:moveTo>
                    <a:lnTo>
                      <a:pt x="9525" y="49627"/>
                    </a:lnTo>
                    <a:cubicBezTo>
                      <a:pt x="3572" y="45351"/>
                      <a:pt x="29" y="38479"/>
                      <a:pt x="0" y="31149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821" y="226287"/>
                      <a:pt x="401364" y="233374"/>
                      <a:pt x="401288" y="240889"/>
                    </a:cubicBezTo>
                    <a:lnTo>
                      <a:pt x="401288" y="262987"/>
                    </a:lnTo>
                    <a:cubicBezTo>
                      <a:pt x="401384" y="269655"/>
                      <a:pt x="397097" y="272893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" name="Google Shape;150;p12"/>
              <p:cNvSpPr/>
              <p:nvPr/>
            </p:nvSpPr>
            <p:spPr>
              <a:xfrm>
                <a:off x="5482398" y="2477545"/>
                <a:ext cx="657231" cy="440923"/>
              </a:xfrm>
              <a:custGeom>
                <a:avLst/>
                <a:gdLst/>
                <a:ahLst/>
                <a:cxnLst/>
                <a:rect l="l" t="t" r="r" b="b"/>
                <a:pathLst>
                  <a:path w="657231" h="440923" extrusionOk="0">
                    <a:moveTo>
                      <a:pt x="647701" y="439771"/>
                    </a:moveTo>
                    <a:lnTo>
                      <a:pt x="9526" y="71535"/>
                    </a:lnTo>
                    <a:cubicBezTo>
                      <a:pt x="3477" y="67077"/>
                      <a:pt x="-56" y="59990"/>
                      <a:pt x="1" y="52485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647701" y="369381"/>
                    </a:lnTo>
                    <a:cubicBezTo>
                      <a:pt x="653749" y="373839"/>
                      <a:pt x="657283" y="380926"/>
                      <a:pt x="657226" y="388431"/>
                    </a:cubicBezTo>
                    <a:lnTo>
                      <a:pt x="657226" y="432913"/>
                    </a:lnTo>
                    <a:cubicBezTo>
                      <a:pt x="657416" y="439581"/>
                      <a:pt x="653035" y="442819"/>
                      <a:pt x="647701" y="4397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151;p12"/>
              <p:cNvSpPr/>
              <p:nvPr/>
            </p:nvSpPr>
            <p:spPr>
              <a:xfrm>
                <a:off x="5485733" y="2606854"/>
                <a:ext cx="490068" cy="322274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74" extrusionOk="0">
                    <a:moveTo>
                      <a:pt x="480536" y="321130"/>
                    </a:moveTo>
                    <a:lnTo>
                      <a:pt x="9525" y="49096"/>
                    </a:lnTo>
                    <a:cubicBezTo>
                      <a:pt x="3572" y="44819"/>
                      <a:pt x="29" y="37952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470" y="277420"/>
                      <a:pt x="490004" y="284278"/>
                      <a:pt x="490061" y="291603"/>
                    </a:cubicBezTo>
                    <a:lnTo>
                      <a:pt x="490061" y="313796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152;p12"/>
              <p:cNvSpPr/>
              <p:nvPr/>
            </p:nvSpPr>
            <p:spPr>
              <a:xfrm>
                <a:off x="5485733" y="2690770"/>
                <a:ext cx="490068" cy="322283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83" extrusionOk="0">
                    <a:moveTo>
                      <a:pt x="480536" y="321130"/>
                    </a:moveTo>
                    <a:lnTo>
                      <a:pt x="9525" y="49191"/>
                    </a:lnTo>
                    <a:cubicBezTo>
                      <a:pt x="3591" y="44858"/>
                      <a:pt x="57" y="37971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604" y="277563"/>
                      <a:pt x="490157" y="284659"/>
                      <a:pt x="490061" y="292174"/>
                    </a:cubicBezTo>
                    <a:lnTo>
                      <a:pt x="490061" y="314272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" name="Google Shape;153;p12"/>
              <p:cNvSpPr/>
              <p:nvPr/>
            </p:nvSpPr>
            <p:spPr>
              <a:xfrm>
                <a:off x="5485733" y="2774725"/>
                <a:ext cx="401289" cy="271152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1152" extrusionOk="0">
                    <a:moveTo>
                      <a:pt x="391763" y="269845"/>
                    </a:moveTo>
                    <a:lnTo>
                      <a:pt x="9525" y="49151"/>
                    </a:lnTo>
                    <a:cubicBezTo>
                      <a:pt x="3591" y="44817"/>
                      <a:pt x="57" y="37931"/>
                      <a:pt x="0" y="305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697" y="226135"/>
                      <a:pt x="401231" y="232993"/>
                      <a:pt x="401288" y="240318"/>
                    </a:cubicBezTo>
                    <a:lnTo>
                      <a:pt x="401288" y="262511"/>
                    </a:lnTo>
                    <a:cubicBezTo>
                      <a:pt x="401384" y="269655"/>
                      <a:pt x="397097" y="273274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" name="Google Shape;154;p12"/>
              <p:cNvSpPr/>
              <p:nvPr/>
            </p:nvSpPr>
            <p:spPr>
              <a:xfrm>
                <a:off x="6293929" y="2971606"/>
                <a:ext cx="893444" cy="828868"/>
              </a:xfrm>
              <a:custGeom>
                <a:avLst/>
                <a:gdLst/>
                <a:ahLst/>
                <a:cxnLst/>
                <a:rect l="l" t="t" r="r" b="b"/>
                <a:pathLst>
                  <a:path w="893444" h="828868" extrusionOk="0">
                    <a:moveTo>
                      <a:pt x="6858" y="55057"/>
                    </a:moveTo>
                    <a:cubicBezTo>
                      <a:pt x="6858" y="55057"/>
                      <a:pt x="77248" y="114113"/>
                      <a:pt x="178784" y="33436"/>
                    </a:cubicBezTo>
                    <a:cubicBezTo>
                      <a:pt x="251365" y="-26096"/>
                      <a:pt x="316230" y="7909"/>
                      <a:pt x="352330" y="28483"/>
                    </a:cubicBezTo>
                    <a:cubicBezTo>
                      <a:pt x="388430" y="49057"/>
                      <a:pt x="441007" y="61344"/>
                      <a:pt x="540068" y="240795"/>
                    </a:cubicBezTo>
                    <a:cubicBezTo>
                      <a:pt x="561489" y="276076"/>
                      <a:pt x="590845" y="305889"/>
                      <a:pt x="625793" y="327853"/>
                    </a:cubicBezTo>
                    <a:cubicBezTo>
                      <a:pt x="679228" y="358619"/>
                      <a:pt x="704850" y="343665"/>
                      <a:pt x="746855" y="280228"/>
                    </a:cubicBezTo>
                    <a:cubicBezTo>
                      <a:pt x="788861" y="216792"/>
                      <a:pt x="816293" y="146878"/>
                      <a:pt x="893445" y="192598"/>
                    </a:cubicBezTo>
                    <a:lnTo>
                      <a:pt x="893445" y="828868"/>
                    </a:lnTo>
                    <a:lnTo>
                      <a:pt x="0" y="313090"/>
                    </a:lnTo>
                    <a:lnTo>
                      <a:pt x="0" y="50867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" name="Google Shape;155;p12"/>
              <p:cNvSpPr/>
              <p:nvPr/>
            </p:nvSpPr>
            <p:spPr>
              <a:xfrm>
                <a:off x="5485733" y="2024441"/>
                <a:ext cx="630461" cy="733619"/>
              </a:xfrm>
              <a:custGeom>
                <a:avLst/>
                <a:gdLst/>
                <a:ahLst/>
                <a:cxnLst/>
                <a:rect l="l" t="t" r="r" b="b"/>
                <a:pathLst>
                  <a:path w="630461" h="733619" extrusionOk="0">
                    <a:moveTo>
                      <a:pt x="620935" y="732474"/>
                    </a:moveTo>
                    <a:lnTo>
                      <a:pt x="9525" y="379478"/>
                    </a:lnTo>
                    <a:cubicBezTo>
                      <a:pt x="3591" y="375144"/>
                      <a:pt x="57" y="368257"/>
                      <a:pt x="0" y="360904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620935" y="354141"/>
                    </a:lnTo>
                    <a:cubicBezTo>
                      <a:pt x="626859" y="358485"/>
                      <a:pt x="630384" y="365371"/>
                      <a:pt x="630460" y="372715"/>
                    </a:cubicBezTo>
                    <a:lnTo>
                      <a:pt x="630460" y="725140"/>
                    </a:lnTo>
                    <a:cubicBezTo>
                      <a:pt x="630555" y="732284"/>
                      <a:pt x="626269" y="735522"/>
                      <a:pt x="620935" y="73247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" name="Google Shape;156;p12"/>
              <p:cNvSpPr/>
              <p:nvPr/>
            </p:nvSpPr>
            <p:spPr>
              <a:xfrm>
                <a:off x="6293834" y="3011804"/>
                <a:ext cx="893445" cy="788955"/>
              </a:xfrm>
              <a:custGeom>
                <a:avLst/>
                <a:gdLst/>
                <a:ahLst/>
                <a:cxnLst/>
                <a:rect l="l" t="t" r="r" b="b"/>
                <a:pathLst>
                  <a:path w="893445" h="788955" extrusionOk="0">
                    <a:moveTo>
                      <a:pt x="0" y="0"/>
                    </a:moveTo>
                    <a:lnTo>
                      <a:pt x="0" y="273177"/>
                    </a:lnTo>
                    <a:lnTo>
                      <a:pt x="893445" y="788956"/>
                    </a:lnTo>
                    <a:lnTo>
                      <a:pt x="893445" y="15259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157;p12"/>
              <p:cNvSpPr/>
              <p:nvPr/>
            </p:nvSpPr>
            <p:spPr>
              <a:xfrm>
                <a:off x="6645021" y="3003137"/>
                <a:ext cx="9525" cy="483869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483869" extrusionOk="0">
                    <a:moveTo>
                      <a:pt x="0" y="0"/>
                    </a:moveTo>
                    <a:lnTo>
                      <a:pt x="0" y="483870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" name="Google Shape;158;p12"/>
              <p:cNvSpPr/>
              <p:nvPr/>
            </p:nvSpPr>
            <p:spPr>
              <a:xfrm>
                <a:off x="6918293" y="3309175"/>
                <a:ext cx="9525" cy="335661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335661" extrusionOk="0">
                    <a:moveTo>
                      <a:pt x="0" y="0"/>
                    </a:moveTo>
                    <a:lnTo>
                      <a:pt x="0" y="33566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" name="Google Shape;159;p12"/>
              <p:cNvSpPr/>
              <p:nvPr/>
            </p:nvSpPr>
            <p:spPr>
              <a:xfrm>
                <a:off x="6293834" y="2971929"/>
                <a:ext cx="893349" cy="341800"/>
              </a:xfrm>
              <a:custGeom>
                <a:avLst/>
                <a:gdLst/>
                <a:ahLst/>
                <a:cxnLst/>
                <a:rect l="l" t="t" r="r" b="b"/>
                <a:pathLst>
                  <a:path w="893349" h="341800" extrusionOk="0">
                    <a:moveTo>
                      <a:pt x="0" y="50543"/>
                    </a:moveTo>
                    <a:cubicBezTo>
                      <a:pt x="158496" y="148841"/>
                      <a:pt x="180975" y="-73282"/>
                      <a:pt x="353663" y="26350"/>
                    </a:cubicBezTo>
                    <a:cubicBezTo>
                      <a:pt x="526352" y="125981"/>
                      <a:pt x="502539" y="255997"/>
                      <a:pt x="629888" y="329626"/>
                    </a:cubicBezTo>
                    <a:cubicBezTo>
                      <a:pt x="757238" y="403254"/>
                      <a:pt x="760381" y="115694"/>
                      <a:pt x="893350" y="192466"/>
                    </a:cubicBezTo>
                  </a:path>
                </a:pathLst>
              </a:custGeom>
              <a:noFill/>
              <a:ln w="1037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" name="Google Shape;160;p12"/>
              <p:cNvSpPr/>
              <p:nvPr/>
            </p:nvSpPr>
            <p:spPr>
              <a:xfrm rot="-1801764">
                <a:off x="6627823" y="2973379"/>
                <a:ext cx="34449" cy="59573"/>
              </a:xfrm>
              <a:custGeom>
                <a:avLst/>
                <a:gdLst/>
                <a:ahLst/>
                <a:cxnLst/>
                <a:rect l="l" t="t" r="r" b="b"/>
                <a:pathLst>
                  <a:path w="34480" h="59626" extrusionOk="0">
                    <a:moveTo>
                      <a:pt x="34481" y="29813"/>
                    </a:moveTo>
                    <a:cubicBezTo>
                      <a:pt x="34481" y="46279"/>
                      <a:pt x="26762" y="59626"/>
                      <a:pt x="17240" y="59626"/>
                    </a:cubicBezTo>
                    <a:cubicBezTo>
                      <a:pt x="7719" y="59626"/>
                      <a:pt x="0" y="46279"/>
                      <a:pt x="0" y="29813"/>
                    </a:cubicBezTo>
                    <a:cubicBezTo>
                      <a:pt x="0" y="13348"/>
                      <a:pt x="7719" y="0"/>
                      <a:pt x="17240" y="0"/>
                    </a:cubicBezTo>
                    <a:cubicBezTo>
                      <a:pt x="26762" y="0"/>
                      <a:pt x="34481" y="13348"/>
                      <a:pt x="34481" y="2981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" name="Google Shape;161;p12"/>
              <p:cNvSpPr/>
              <p:nvPr/>
            </p:nvSpPr>
            <p:spPr>
              <a:xfrm rot="-1790023">
                <a:off x="7183546" y="3143044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162;p12"/>
              <p:cNvSpPr/>
              <p:nvPr/>
            </p:nvSpPr>
            <p:spPr>
              <a:xfrm rot="-1790023">
                <a:off x="6913571" y="3282356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163;p12"/>
              <p:cNvSpPr/>
              <p:nvPr/>
            </p:nvSpPr>
            <p:spPr>
              <a:xfrm rot="-1790023">
                <a:off x="6286614" y="3000522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0" y="29917"/>
                    </a:moveTo>
                    <a:cubicBezTo>
                      <a:pt x="34600" y="46439"/>
                      <a:pt x="26855" y="59833"/>
                      <a:pt x="17301" y="59833"/>
                    </a:cubicBezTo>
                    <a:cubicBezTo>
                      <a:pt x="7746" y="59833"/>
                      <a:pt x="1" y="46439"/>
                      <a:pt x="1" y="29917"/>
                    </a:cubicBezTo>
                    <a:cubicBezTo>
                      <a:pt x="1" y="13395"/>
                      <a:pt x="7746" y="1"/>
                      <a:pt x="17301" y="1"/>
                    </a:cubicBezTo>
                    <a:cubicBezTo>
                      <a:pt x="26855" y="1"/>
                      <a:pt x="34600" y="13395"/>
                      <a:pt x="34600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164;p12"/>
              <p:cNvSpPr/>
              <p:nvPr/>
            </p:nvSpPr>
            <p:spPr>
              <a:xfrm>
                <a:off x="6272974" y="2328193"/>
                <a:ext cx="55632" cy="226128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226128" extrusionOk="0">
                    <a:moveTo>
                      <a:pt x="46101" y="224982"/>
                    </a:moveTo>
                    <a:lnTo>
                      <a:pt x="9525" y="203837"/>
                    </a:lnTo>
                    <a:cubicBezTo>
                      <a:pt x="3610" y="199532"/>
                      <a:pt x="76" y="192674"/>
                      <a:pt x="0" y="185358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01" y="22290"/>
                    </a:lnTo>
                    <a:cubicBezTo>
                      <a:pt x="52007" y="26605"/>
                      <a:pt x="55541" y="33454"/>
                      <a:pt x="55626" y="40769"/>
                    </a:cubicBezTo>
                    <a:lnTo>
                      <a:pt x="55626" y="217743"/>
                    </a:lnTo>
                    <a:cubicBezTo>
                      <a:pt x="55817" y="224506"/>
                      <a:pt x="51626" y="228126"/>
                      <a:pt x="46101" y="22498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165;p12"/>
              <p:cNvSpPr/>
              <p:nvPr/>
            </p:nvSpPr>
            <p:spPr>
              <a:xfrm>
                <a:off x="6357270" y="2193891"/>
                <a:ext cx="55722" cy="409197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409197" extrusionOk="0">
                    <a:moveTo>
                      <a:pt x="46196" y="408053"/>
                    </a:moveTo>
                    <a:lnTo>
                      <a:pt x="9525" y="387384"/>
                    </a:lnTo>
                    <a:cubicBezTo>
                      <a:pt x="3620" y="383031"/>
                      <a:pt x="86" y="376154"/>
                      <a:pt x="0" y="368810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96" y="22290"/>
                    </a:lnTo>
                    <a:cubicBezTo>
                      <a:pt x="52254" y="26739"/>
                      <a:pt x="55797" y="33825"/>
                      <a:pt x="55721" y="41340"/>
                    </a:cubicBezTo>
                    <a:lnTo>
                      <a:pt x="55721" y="400719"/>
                    </a:lnTo>
                    <a:cubicBezTo>
                      <a:pt x="55817" y="407862"/>
                      <a:pt x="51530" y="411101"/>
                      <a:pt x="46196" y="40805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166;p12"/>
              <p:cNvSpPr/>
              <p:nvPr/>
            </p:nvSpPr>
            <p:spPr>
              <a:xfrm>
                <a:off x="6526149" y="2326193"/>
                <a:ext cx="55625" cy="374240"/>
              </a:xfrm>
              <a:custGeom>
                <a:avLst/>
                <a:gdLst/>
                <a:ahLst/>
                <a:cxnLst/>
                <a:rect l="l" t="t" r="r" b="b"/>
                <a:pathLst>
                  <a:path w="55625" h="374240" extrusionOk="0">
                    <a:moveTo>
                      <a:pt x="46101" y="373096"/>
                    </a:moveTo>
                    <a:lnTo>
                      <a:pt x="9525" y="351951"/>
                    </a:lnTo>
                    <a:cubicBezTo>
                      <a:pt x="3591" y="347617"/>
                      <a:pt x="57" y="340730"/>
                      <a:pt x="0" y="3333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46101" y="22290"/>
                    </a:lnTo>
                    <a:cubicBezTo>
                      <a:pt x="52006" y="26643"/>
                      <a:pt x="55540" y="33520"/>
                      <a:pt x="55626" y="40864"/>
                    </a:cubicBezTo>
                    <a:lnTo>
                      <a:pt x="55626" y="365762"/>
                    </a:lnTo>
                    <a:cubicBezTo>
                      <a:pt x="55626" y="372906"/>
                      <a:pt x="51245" y="376144"/>
                      <a:pt x="46101" y="37309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167;p12"/>
              <p:cNvSpPr/>
              <p:nvPr/>
            </p:nvSpPr>
            <p:spPr>
              <a:xfrm>
                <a:off x="6610350" y="2430587"/>
                <a:ext cx="55627" cy="318519"/>
              </a:xfrm>
              <a:custGeom>
                <a:avLst/>
                <a:gdLst/>
                <a:ahLst/>
                <a:cxnLst/>
                <a:rect l="l" t="t" r="r" b="b"/>
                <a:pathLst>
                  <a:path w="55627" h="318519" extrusionOk="0">
                    <a:moveTo>
                      <a:pt x="46006" y="317375"/>
                    </a:moveTo>
                    <a:lnTo>
                      <a:pt x="9525" y="296229"/>
                    </a:lnTo>
                    <a:cubicBezTo>
                      <a:pt x="3620" y="291915"/>
                      <a:pt x="86" y="285066"/>
                      <a:pt x="0" y="277751"/>
                    </a:cubicBezTo>
                    <a:lnTo>
                      <a:pt x="0" y="8479"/>
                    </a:lnTo>
                    <a:cubicBezTo>
                      <a:pt x="0" y="1335"/>
                      <a:pt x="4381" y="-1903"/>
                      <a:pt x="9525" y="1145"/>
                    </a:cubicBezTo>
                    <a:lnTo>
                      <a:pt x="46101" y="22290"/>
                    </a:lnTo>
                    <a:cubicBezTo>
                      <a:pt x="52035" y="26624"/>
                      <a:pt x="55569" y="33511"/>
                      <a:pt x="55626" y="40864"/>
                    </a:cubicBezTo>
                    <a:lnTo>
                      <a:pt x="55626" y="310041"/>
                    </a:lnTo>
                    <a:cubicBezTo>
                      <a:pt x="55721" y="317184"/>
                      <a:pt x="51435" y="320423"/>
                      <a:pt x="46006" y="31737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168;p12"/>
              <p:cNvSpPr/>
              <p:nvPr/>
            </p:nvSpPr>
            <p:spPr>
              <a:xfrm>
                <a:off x="6778179" y="2662902"/>
                <a:ext cx="55632" cy="183161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183161" extrusionOk="0">
                    <a:moveTo>
                      <a:pt x="46102" y="182025"/>
                    </a:moveTo>
                    <a:lnTo>
                      <a:pt x="9526" y="160879"/>
                    </a:lnTo>
                    <a:cubicBezTo>
                      <a:pt x="3477" y="156421"/>
                      <a:pt x="-56" y="149335"/>
                      <a:pt x="1" y="141829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46102" y="22290"/>
                    </a:lnTo>
                    <a:cubicBezTo>
                      <a:pt x="52036" y="26624"/>
                      <a:pt x="55570" y="33511"/>
                      <a:pt x="55627" y="40864"/>
                    </a:cubicBezTo>
                    <a:lnTo>
                      <a:pt x="55627" y="174214"/>
                    </a:lnTo>
                    <a:cubicBezTo>
                      <a:pt x="55817" y="181834"/>
                      <a:pt x="51245" y="185073"/>
                      <a:pt x="46102" y="18202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169;p12"/>
              <p:cNvSpPr/>
              <p:nvPr/>
            </p:nvSpPr>
            <p:spPr>
              <a:xfrm>
                <a:off x="6862476" y="2392923"/>
                <a:ext cx="55722" cy="501818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501818" extrusionOk="0">
                    <a:moveTo>
                      <a:pt x="46196" y="500676"/>
                    </a:moveTo>
                    <a:lnTo>
                      <a:pt x="9525" y="479531"/>
                    </a:lnTo>
                    <a:cubicBezTo>
                      <a:pt x="3620" y="475178"/>
                      <a:pt x="86" y="468301"/>
                      <a:pt x="0" y="460957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493152"/>
                    </a:lnTo>
                    <a:cubicBezTo>
                      <a:pt x="55816" y="500486"/>
                      <a:pt x="51530" y="503724"/>
                      <a:pt x="46196" y="50067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170;p12"/>
              <p:cNvSpPr/>
              <p:nvPr/>
            </p:nvSpPr>
            <p:spPr>
              <a:xfrm>
                <a:off x="7068216" y="2830406"/>
                <a:ext cx="55722" cy="183106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183106" extrusionOk="0">
                    <a:moveTo>
                      <a:pt x="46196" y="181970"/>
                    </a:moveTo>
                    <a:lnTo>
                      <a:pt x="9525" y="160443"/>
                    </a:lnTo>
                    <a:cubicBezTo>
                      <a:pt x="3620" y="156090"/>
                      <a:pt x="86" y="149213"/>
                      <a:pt x="0" y="141870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174159"/>
                    </a:lnTo>
                    <a:cubicBezTo>
                      <a:pt x="55816" y="181779"/>
                      <a:pt x="51530" y="185018"/>
                      <a:pt x="46196" y="1819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171;p12"/>
              <p:cNvSpPr/>
              <p:nvPr/>
            </p:nvSpPr>
            <p:spPr>
              <a:xfrm>
                <a:off x="7152513" y="2836026"/>
                <a:ext cx="55727" cy="226167"/>
              </a:xfrm>
              <a:custGeom>
                <a:avLst/>
                <a:gdLst/>
                <a:ahLst/>
                <a:cxnLst/>
                <a:rect l="l" t="t" r="r" b="b"/>
                <a:pathLst>
                  <a:path w="55727" h="226167" extrusionOk="0">
                    <a:moveTo>
                      <a:pt x="46196" y="225023"/>
                    </a:moveTo>
                    <a:lnTo>
                      <a:pt x="9525" y="203877"/>
                    </a:lnTo>
                    <a:cubicBezTo>
                      <a:pt x="3591" y="199582"/>
                      <a:pt x="57" y="192724"/>
                      <a:pt x="0" y="185399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6196" y="22331"/>
                    </a:lnTo>
                    <a:cubicBezTo>
                      <a:pt x="52111" y="26636"/>
                      <a:pt x="55645" y="33494"/>
                      <a:pt x="55721" y="40809"/>
                    </a:cubicBezTo>
                    <a:lnTo>
                      <a:pt x="55721" y="217689"/>
                    </a:lnTo>
                    <a:cubicBezTo>
                      <a:pt x="55912" y="224832"/>
                      <a:pt x="51530" y="228071"/>
                      <a:pt x="46196" y="22502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72" name="Google Shape;172;p12"/>
            <p:cNvSpPr/>
            <p:nvPr/>
          </p:nvSpPr>
          <p:spPr>
            <a:xfrm>
              <a:off x="6986665" y="3342725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173;p12"/>
            <p:cNvSpPr/>
            <p:nvPr/>
          </p:nvSpPr>
          <p:spPr>
            <a:xfrm>
              <a:off x="7014156" y="3327342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174;p12"/>
            <p:cNvSpPr/>
            <p:nvPr/>
          </p:nvSpPr>
          <p:spPr>
            <a:xfrm>
              <a:off x="7014156" y="3298709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12"/>
            <p:cNvSpPr/>
            <p:nvPr/>
          </p:nvSpPr>
          <p:spPr>
            <a:xfrm>
              <a:off x="7976493" y="3396565"/>
              <a:ext cx="664277" cy="383503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176;p12"/>
            <p:cNvSpPr/>
            <p:nvPr/>
          </p:nvSpPr>
          <p:spPr>
            <a:xfrm>
              <a:off x="7912754" y="3450709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177;p12"/>
            <p:cNvSpPr/>
            <p:nvPr/>
          </p:nvSpPr>
          <p:spPr>
            <a:xfrm>
              <a:off x="7863331" y="3479190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178;p12"/>
            <p:cNvSpPr/>
            <p:nvPr/>
          </p:nvSpPr>
          <p:spPr>
            <a:xfrm>
              <a:off x="7813984" y="3507747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179;p12"/>
            <p:cNvSpPr/>
            <p:nvPr/>
          </p:nvSpPr>
          <p:spPr>
            <a:xfrm>
              <a:off x="7451727" y="3699575"/>
              <a:ext cx="664201" cy="38350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12"/>
            <p:cNvSpPr/>
            <p:nvPr/>
          </p:nvSpPr>
          <p:spPr>
            <a:xfrm>
              <a:off x="7387988" y="3753643"/>
              <a:ext cx="592922" cy="342381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12"/>
            <p:cNvSpPr/>
            <p:nvPr/>
          </p:nvSpPr>
          <p:spPr>
            <a:xfrm>
              <a:off x="7338565" y="3782200"/>
              <a:ext cx="581727" cy="33583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182;p12"/>
            <p:cNvSpPr/>
            <p:nvPr/>
          </p:nvSpPr>
          <p:spPr>
            <a:xfrm>
              <a:off x="7289218" y="3810681"/>
              <a:ext cx="496361" cy="286637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183;p12"/>
            <p:cNvSpPr/>
            <p:nvPr/>
          </p:nvSpPr>
          <p:spPr>
            <a:xfrm>
              <a:off x="7582329" y="3561435"/>
              <a:ext cx="337202" cy="194645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184;p12"/>
            <p:cNvSpPr/>
            <p:nvPr/>
          </p:nvSpPr>
          <p:spPr>
            <a:xfrm>
              <a:off x="7800200" y="3687162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185;p12"/>
            <p:cNvSpPr/>
            <p:nvPr/>
          </p:nvSpPr>
          <p:spPr>
            <a:xfrm>
              <a:off x="8018073" y="3812966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186;p12"/>
            <p:cNvSpPr/>
            <p:nvPr/>
          </p:nvSpPr>
          <p:spPr>
            <a:xfrm>
              <a:off x="6687910" y="670084"/>
              <a:ext cx="163899" cy="239625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187;p12"/>
            <p:cNvSpPr/>
            <p:nvPr/>
          </p:nvSpPr>
          <p:spPr>
            <a:xfrm>
              <a:off x="6700339" y="668001"/>
              <a:ext cx="78506" cy="96744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188;p12"/>
            <p:cNvSpPr/>
            <p:nvPr/>
          </p:nvSpPr>
          <p:spPr>
            <a:xfrm>
              <a:off x="6715688" y="773039"/>
              <a:ext cx="96838" cy="108380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189;p12"/>
            <p:cNvSpPr/>
            <p:nvPr/>
          </p:nvSpPr>
          <p:spPr>
            <a:xfrm>
              <a:off x="6550295" y="816287"/>
              <a:ext cx="182749" cy="260151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190;p12"/>
            <p:cNvSpPr/>
            <p:nvPr/>
          </p:nvSpPr>
          <p:spPr>
            <a:xfrm>
              <a:off x="6687493" y="808527"/>
              <a:ext cx="141166" cy="186207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191;p12"/>
            <p:cNvSpPr/>
            <p:nvPr/>
          </p:nvSpPr>
          <p:spPr>
            <a:xfrm>
              <a:off x="6712641" y="675415"/>
              <a:ext cx="103849" cy="127932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192;p12"/>
            <p:cNvSpPr/>
            <p:nvPr/>
          </p:nvSpPr>
          <p:spPr>
            <a:xfrm>
              <a:off x="6716857" y="674913"/>
              <a:ext cx="104260" cy="98126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193;p12"/>
            <p:cNvSpPr/>
            <p:nvPr/>
          </p:nvSpPr>
          <p:spPr>
            <a:xfrm>
              <a:off x="6591681" y="1319278"/>
              <a:ext cx="81988" cy="62539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194;p12"/>
            <p:cNvSpPr/>
            <p:nvPr/>
          </p:nvSpPr>
          <p:spPr>
            <a:xfrm>
              <a:off x="6592043" y="1339232"/>
              <a:ext cx="81616" cy="42611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195;p12"/>
            <p:cNvSpPr/>
            <p:nvPr/>
          </p:nvSpPr>
          <p:spPr>
            <a:xfrm>
              <a:off x="6550653" y="1292322"/>
              <a:ext cx="75049" cy="58139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196;p12"/>
            <p:cNvSpPr/>
            <p:nvPr/>
          </p:nvSpPr>
          <p:spPr>
            <a:xfrm>
              <a:off x="6550998" y="1311512"/>
              <a:ext cx="74752" cy="39022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197;p12"/>
            <p:cNvSpPr/>
            <p:nvPr/>
          </p:nvSpPr>
          <p:spPr>
            <a:xfrm>
              <a:off x="6578488" y="992358"/>
              <a:ext cx="178709" cy="308230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198;p12"/>
            <p:cNvSpPr/>
            <p:nvPr/>
          </p:nvSpPr>
          <p:spPr>
            <a:xfrm>
              <a:off x="6627226" y="992967"/>
              <a:ext cx="177917" cy="333745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199;p12"/>
            <p:cNvSpPr/>
            <p:nvPr/>
          </p:nvSpPr>
          <p:spPr>
            <a:xfrm>
              <a:off x="6560953" y="971949"/>
              <a:ext cx="266059" cy="244904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00;p12"/>
            <p:cNvSpPr/>
            <p:nvPr/>
          </p:nvSpPr>
          <p:spPr>
            <a:xfrm>
              <a:off x="6774876" y="827227"/>
              <a:ext cx="92463" cy="324160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01;p12"/>
            <p:cNvSpPr/>
            <p:nvPr/>
          </p:nvSpPr>
          <p:spPr>
            <a:xfrm>
              <a:off x="6792998" y="823141"/>
              <a:ext cx="55907" cy="71103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02;p12"/>
            <p:cNvSpPr/>
            <p:nvPr/>
          </p:nvSpPr>
          <p:spPr>
            <a:xfrm>
              <a:off x="6683350" y="808424"/>
              <a:ext cx="47823" cy="50210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03" name="Google Shape;203;p12"/>
            <p:cNvGrpSpPr/>
            <p:nvPr/>
          </p:nvGrpSpPr>
          <p:grpSpPr>
            <a:xfrm flipH="1">
              <a:off x="5678143" y="1227582"/>
              <a:ext cx="345795" cy="1043508"/>
              <a:chOff x="5678143" y="1151382"/>
              <a:chExt cx="345795" cy="1043508"/>
            </a:xfrm>
          </p:grpSpPr>
          <p:sp>
            <p:nvSpPr>
              <p:cNvPr id="204" name="Google Shape;204;p12"/>
              <p:cNvSpPr/>
              <p:nvPr/>
            </p:nvSpPr>
            <p:spPr>
              <a:xfrm>
                <a:off x="5678143" y="199524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" name="Google Shape;205;p12"/>
              <p:cNvSpPr/>
              <p:nvPr/>
            </p:nvSpPr>
            <p:spPr>
              <a:xfrm>
                <a:off x="5781662" y="1153715"/>
                <a:ext cx="174078" cy="254926"/>
              </a:xfrm>
              <a:custGeom>
                <a:avLst/>
                <a:gdLst/>
                <a:ahLst/>
                <a:cxnLst/>
                <a:rect l="l" t="t" r="r" b="b"/>
                <a:pathLst>
                  <a:path w="217597" h="318657" extrusionOk="0">
                    <a:moveTo>
                      <a:pt x="77117" y="10535"/>
                    </a:moveTo>
                    <a:cubicBezTo>
                      <a:pt x="85785" y="-3371"/>
                      <a:pt x="151983" y="-12515"/>
                      <a:pt x="173796" y="43587"/>
                    </a:cubicBezTo>
                    <a:cubicBezTo>
                      <a:pt x="181987" y="64828"/>
                      <a:pt x="180749" y="119216"/>
                      <a:pt x="187702" y="153315"/>
                    </a:cubicBezTo>
                    <a:cubicBezTo>
                      <a:pt x="194655" y="187415"/>
                      <a:pt x="210848" y="206846"/>
                      <a:pt x="216277" y="234563"/>
                    </a:cubicBezTo>
                    <a:cubicBezTo>
                      <a:pt x="221706" y="262281"/>
                      <a:pt x="212658" y="308668"/>
                      <a:pt x="145888" y="316954"/>
                    </a:cubicBezTo>
                    <a:cubicBezTo>
                      <a:pt x="79117" y="325241"/>
                      <a:pt x="27778" y="301715"/>
                      <a:pt x="11966" y="280379"/>
                    </a:cubicBezTo>
                    <a:cubicBezTo>
                      <a:pt x="-3845" y="259043"/>
                      <a:pt x="-4131" y="213704"/>
                      <a:pt x="11966" y="189605"/>
                    </a:cubicBezTo>
                    <a:cubicBezTo>
                      <a:pt x="28063" y="165507"/>
                      <a:pt x="40541" y="145505"/>
                      <a:pt x="40541" y="113405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206;p12"/>
              <p:cNvSpPr/>
              <p:nvPr/>
            </p:nvSpPr>
            <p:spPr>
              <a:xfrm>
                <a:off x="5776639" y="1337053"/>
                <a:ext cx="32518" cy="188360"/>
              </a:xfrm>
              <a:custGeom>
                <a:avLst/>
                <a:gdLst/>
                <a:ahLst/>
                <a:cxnLst/>
                <a:rect l="l" t="t" r="r" b="b"/>
                <a:pathLst>
                  <a:path w="40647" h="235450" extrusionOk="0">
                    <a:moveTo>
                      <a:pt x="4152" y="15917"/>
                    </a:moveTo>
                    <a:cubicBezTo>
                      <a:pt x="4152" y="15917"/>
                      <a:pt x="-11564" y="127074"/>
                      <a:pt x="18154" y="205274"/>
                    </a:cubicBezTo>
                    <a:cubicBezTo>
                      <a:pt x="47872" y="283474"/>
                      <a:pt x="39585" y="184986"/>
                      <a:pt x="39585" y="184986"/>
                    </a:cubicBezTo>
                    <a:lnTo>
                      <a:pt x="32442" y="161554"/>
                    </a:lnTo>
                    <a:cubicBezTo>
                      <a:pt x="32442" y="161554"/>
                      <a:pt x="26536" y="71067"/>
                      <a:pt x="29013" y="48873"/>
                    </a:cubicBezTo>
                    <a:cubicBezTo>
                      <a:pt x="31489" y="26680"/>
                      <a:pt x="30918" y="7630"/>
                      <a:pt x="32442" y="5820"/>
                    </a:cubicBezTo>
                    <a:cubicBezTo>
                      <a:pt x="33966" y="4011"/>
                      <a:pt x="26632" y="486"/>
                      <a:pt x="23488" y="10"/>
                    </a:cubicBezTo>
                    <a:cubicBezTo>
                      <a:pt x="20345" y="-466"/>
                      <a:pt x="4152" y="15917"/>
                      <a:pt x="4152" y="1591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207;p12"/>
              <p:cNvSpPr/>
              <p:nvPr/>
            </p:nvSpPr>
            <p:spPr>
              <a:xfrm>
                <a:off x="5795186" y="1151382"/>
                <a:ext cx="83137" cy="102663"/>
              </a:xfrm>
              <a:custGeom>
                <a:avLst/>
                <a:gdLst/>
                <a:ahLst/>
                <a:cxnLst/>
                <a:rect l="l" t="t" r="r" b="b"/>
                <a:pathLst>
                  <a:path w="103921" h="128329" extrusionOk="0">
                    <a:moveTo>
                      <a:pt x="103921" y="3833"/>
                    </a:moveTo>
                    <a:cubicBezTo>
                      <a:pt x="103921" y="3833"/>
                      <a:pt x="54105" y="-10550"/>
                      <a:pt x="23911" y="16406"/>
                    </a:cubicBezTo>
                    <a:cubicBezTo>
                      <a:pt x="3585" y="35104"/>
                      <a:pt x="-4645" y="63564"/>
                      <a:pt x="2575" y="90225"/>
                    </a:cubicBezTo>
                    <a:cubicBezTo>
                      <a:pt x="6576" y="105941"/>
                      <a:pt x="14672" y="127468"/>
                      <a:pt x="27150" y="128325"/>
                    </a:cubicBezTo>
                    <a:cubicBezTo>
                      <a:pt x="39627" y="129182"/>
                      <a:pt x="103921" y="3833"/>
                      <a:pt x="103921" y="3833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208;p12"/>
              <p:cNvSpPr/>
              <p:nvPr/>
            </p:nvSpPr>
            <p:spPr>
              <a:xfrm>
                <a:off x="5811517" y="1263498"/>
                <a:ext cx="102898" cy="115088"/>
              </a:xfrm>
              <a:custGeom>
                <a:avLst/>
                <a:gdLst/>
                <a:ahLst/>
                <a:cxnLst/>
                <a:rect l="l" t="t" r="r" b="b"/>
                <a:pathLst>
                  <a:path w="128622" h="143860" extrusionOk="0">
                    <a:moveTo>
                      <a:pt x="102545" y="0"/>
                    </a:moveTo>
                    <a:cubicBezTo>
                      <a:pt x="102545" y="0"/>
                      <a:pt x="99307" y="55531"/>
                      <a:pt x="100355" y="59627"/>
                    </a:cubicBezTo>
                    <a:cubicBezTo>
                      <a:pt x="101402" y="63722"/>
                      <a:pt x="122071" y="67628"/>
                      <a:pt x="127977" y="72485"/>
                    </a:cubicBezTo>
                    <a:cubicBezTo>
                      <a:pt x="133883" y="77343"/>
                      <a:pt x="97783" y="133636"/>
                      <a:pt x="79400" y="142018"/>
                    </a:cubicBezTo>
                    <a:cubicBezTo>
                      <a:pt x="61016" y="150400"/>
                      <a:pt x="4343" y="129064"/>
                      <a:pt x="437" y="100774"/>
                    </a:cubicBezTo>
                    <a:cubicBezTo>
                      <a:pt x="-3182" y="74866"/>
                      <a:pt x="16630" y="54673"/>
                      <a:pt x="24345" y="47625"/>
                    </a:cubicBezTo>
                    <a:cubicBezTo>
                      <a:pt x="29546" y="47282"/>
                      <a:pt x="34765" y="47282"/>
                      <a:pt x="39966" y="47625"/>
                    </a:cubicBezTo>
                    <a:lnTo>
                      <a:pt x="41585" y="20764"/>
                    </a:lnTo>
                    <a:cubicBezTo>
                      <a:pt x="66446" y="11906"/>
                      <a:pt x="102545" y="0"/>
                      <a:pt x="102545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209;p12"/>
              <p:cNvSpPr/>
              <p:nvPr/>
            </p:nvSpPr>
            <p:spPr>
              <a:xfrm>
                <a:off x="5781607" y="1300507"/>
                <a:ext cx="149918" cy="172167"/>
              </a:xfrm>
              <a:custGeom>
                <a:avLst/>
                <a:gdLst/>
                <a:ahLst/>
                <a:cxnLst/>
                <a:rect l="l" t="t" r="r" b="b"/>
                <a:pathLst>
                  <a:path w="187397" h="215209" extrusionOk="0">
                    <a:moveTo>
                      <a:pt x="147575" y="18193"/>
                    </a:moveTo>
                    <a:cubicBezTo>
                      <a:pt x="163196" y="20669"/>
                      <a:pt x="181008" y="28956"/>
                      <a:pt x="183485" y="37243"/>
                    </a:cubicBezTo>
                    <a:cubicBezTo>
                      <a:pt x="189933" y="68008"/>
                      <a:pt x="188390" y="99917"/>
                      <a:pt x="179008" y="129921"/>
                    </a:cubicBezTo>
                    <a:cubicBezTo>
                      <a:pt x="165482" y="165640"/>
                      <a:pt x="156434" y="188405"/>
                      <a:pt x="148623" y="203835"/>
                    </a:cubicBezTo>
                    <a:cubicBezTo>
                      <a:pt x="148623" y="203835"/>
                      <a:pt x="81091" y="232410"/>
                      <a:pt x="26703" y="198977"/>
                    </a:cubicBezTo>
                    <a:cubicBezTo>
                      <a:pt x="26703" y="198977"/>
                      <a:pt x="22893" y="160877"/>
                      <a:pt x="22703" y="140208"/>
                    </a:cubicBezTo>
                    <a:cubicBezTo>
                      <a:pt x="-27589" y="96393"/>
                      <a:pt x="15368" y="42291"/>
                      <a:pt x="57945" y="286"/>
                    </a:cubicBezTo>
                    <a:cubicBezTo>
                      <a:pt x="63050" y="-95"/>
                      <a:pt x="68175" y="-95"/>
                      <a:pt x="73280" y="286"/>
                    </a:cubicBezTo>
                    <a:cubicBezTo>
                      <a:pt x="73280" y="286"/>
                      <a:pt x="35180" y="45244"/>
                      <a:pt x="61755" y="70771"/>
                    </a:cubicBezTo>
                    <a:cubicBezTo>
                      <a:pt x="118238" y="53721"/>
                      <a:pt x="129478" y="28384"/>
                      <a:pt x="147575" y="18193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210;p12"/>
              <p:cNvSpPr/>
              <p:nvPr/>
            </p:nvSpPr>
            <p:spPr>
              <a:xfrm>
                <a:off x="5808246" y="1159602"/>
                <a:ext cx="110823" cy="136345"/>
              </a:xfrm>
              <a:custGeom>
                <a:avLst/>
                <a:gdLst/>
                <a:ahLst/>
                <a:cxnLst/>
                <a:rect l="l" t="t" r="r" b="b"/>
                <a:pathLst>
                  <a:path w="138529" h="170431" extrusionOk="0">
                    <a:moveTo>
                      <a:pt x="2908" y="60608"/>
                    </a:moveTo>
                    <a:lnTo>
                      <a:pt x="2908" y="60608"/>
                    </a:lnTo>
                    <a:cubicBezTo>
                      <a:pt x="8528" y="24890"/>
                      <a:pt x="34245" y="-2066"/>
                      <a:pt x="71107" y="125"/>
                    </a:cubicBezTo>
                    <a:cubicBezTo>
                      <a:pt x="110150" y="1972"/>
                      <a:pt x="140297" y="35129"/>
                      <a:pt x="138449" y="74172"/>
                    </a:cubicBezTo>
                    <a:cubicBezTo>
                      <a:pt x="137372" y="96775"/>
                      <a:pt x="125552" y="117511"/>
                      <a:pt x="106635" y="129950"/>
                    </a:cubicBezTo>
                    <a:cubicBezTo>
                      <a:pt x="105369" y="135322"/>
                      <a:pt x="103483" y="140533"/>
                      <a:pt x="101016" y="145476"/>
                    </a:cubicBezTo>
                    <a:cubicBezTo>
                      <a:pt x="87966" y="160716"/>
                      <a:pt x="53391" y="170336"/>
                      <a:pt x="41865" y="170432"/>
                    </a:cubicBezTo>
                    <a:cubicBezTo>
                      <a:pt x="32340" y="170432"/>
                      <a:pt x="23482" y="161383"/>
                      <a:pt x="14243" y="146048"/>
                    </a:cubicBezTo>
                    <a:cubicBezTo>
                      <a:pt x="-5093" y="113663"/>
                      <a:pt x="-140" y="78230"/>
                      <a:pt x="2908" y="60608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211;p12"/>
              <p:cNvSpPr/>
              <p:nvPr/>
            </p:nvSpPr>
            <p:spPr>
              <a:xfrm>
                <a:off x="5812703" y="1158869"/>
                <a:ext cx="110779" cy="104694"/>
              </a:xfrm>
              <a:custGeom>
                <a:avLst/>
                <a:gdLst/>
                <a:ahLst/>
                <a:cxnLst/>
                <a:rect l="l" t="t" r="r" b="b"/>
                <a:pathLst>
                  <a:path w="138474" h="130867" extrusionOk="0">
                    <a:moveTo>
                      <a:pt x="76867" y="1709"/>
                    </a:moveTo>
                    <a:cubicBezTo>
                      <a:pt x="102679" y="6757"/>
                      <a:pt x="123920" y="13996"/>
                      <a:pt x="130969" y="39332"/>
                    </a:cubicBezTo>
                    <a:cubicBezTo>
                      <a:pt x="135731" y="56858"/>
                      <a:pt x="142018" y="90101"/>
                      <a:pt x="136017" y="104102"/>
                    </a:cubicBezTo>
                    <a:lnTo>
                      <a:pt x="132398" y="114294"/>
                    </a:lnTo>
                    <a:lnTo>
                      <a:pt x="101060" y="130868"/>
                    </a:lnTo>
                    <a:cubicBezTo>
                      <a:pt x="101060" y="130868"/>
                      <a:pt x="86487" y="118676"/>
                      <a:pt x="91059" y="83243"/>
                    </a:cubicBezTo>
                    <a:cubicBezTo>
                      <a:pt x="90850" y="78423"/>
                      <a:pt x="89335" y="73746"/>
                      <a:pt x="86678" y="69717"/>
                    </a:cubicBezTo>
                    <a:cubicBezTo>
                      <a:pt x="84687" y="66364"/>
                      <a:pt x="83211" y="62735"/>
                      <a:pt x="82296" y="58954"/>
                    </a:cubicBezTo>
                    <a:cubicBezTo>
                      <a:pt x="78591" y="49353"/>
                      <a:pt x="71371" y="41514"/>
                      <a:pt x="62103" y="37046"/>
                    </a:cubicBezTo>
                    <a:cubicBezTo>
                      <a:pt x="38767" y="23997"/>
                      <a:pt x="4953" y="35237"/>
                      <a:pt x="0" y="39999"/>
                    </a:cubicBezTo>
                    <a:cubicBezTo>
                      <a:pt x="13221" y="10548"/>
                      <a:pt x="45396" y="-5483"/>
                      <a:pt x="76867" y="1709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12;p12"/>
              <p:cNvSpPr/>
              <p:nvPr/>
            </p:nvSpPr>
            <p:spPr>
              <a:xfrm>
                <a:off x="5898276" y="1323720"/>
                <a:ext cx="74471" cy="246223"/>
              </a:xfrm>
              <a:custGeom>
                <a:avLst/>
                <a:gdLst/>
                <a:ahLst/>
                <a:cxnLst/>
                <a:rect l="l" t="t" r="r" b="b"/>
                <a:pathLst>
                  <a:path w="93089" h="307779" extrusionOk="0">
                    <a:moveTo>
                      <a:pt x="39367" y="248524"/>
                    </a:moveTo>
                    <a:cubicBezTo>
                      <a:pt x="45177" y="212329"/>
                      <a:pt x="56036" y="188898"/>
                      <a:pt x="50988" y="168990"/>
                    </a:cubicBezTo>
                    <a:cubicBezTo>
                      <a:pt x="39739" y="128738"/>
                      <a:pt x="25013" y="89542"/>
                      <a:pt x="6982" y="51833"/>
                    </a:cubicBezTo>
                    <a:cubicBezTo>
                      <a:pt x="-4448" y="29354"/>
                      <a:pt x="-924" y="13733"/>
                      <a:pt x="10887" y="4779"/>
                    </a:cubicBezTo>
                    <a:cubicBezTo>
                      <a:pt x="24222" y="-4746"/>
                      <a:pt x="36891" y="-840"/>
                      <a:pt x="48987" y="23829"/>
                    </a:cubicBezTo>
                    <a:cubicBezTo>
                      <a:pt x="64132" y="55167"/>
                      <a:pt x="81086" y="87361"/>
                      <a:pt x="89373" y="134034"/>
                    </a:cubicBezTo>
                    <a:cubicBezTo>
                      <a:pt x="94688" y="164228"/>
                      <a:pt x="94298" y="195136"/>
                      <a:pt x="88230" y="225188"/>
                    </a:cubicBezTo>
                    <a:cubicBezTo>
                      <a:pt x="83087" y="257668"/>
                      <a:pt x="72800" y="275956"/>
                      <a:pt x="60513" y="306436"/>
                    </a:cubicBezTo>
                    <a:cubicBezTo>
                      <a:pt x="57084" y="315199"/>
                      <a:pt x="34414" y="279385"/>
                      <a:pt x="39367" y="248524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213;p12"/>
              <p:cNvSpPr/>
              <p:nvPr/>
            </p:nvSpPr>
            <p:spPr>
              <a:xfrm>
                <a:off x="5831068" y="2061801"/>
                <a:ext cx="86995" cy="66513"/>
              </a:xfrm>
              <a:custGeom>
                <a:avLst/>
                <a:gdLst/>
                <a:ahLst/>
                <a:cxnLst/>
                <a:rect l="l" t="t" r="r" b="b"/>
                <a:pathLst>
                  <a:path w="108744" h="83141" extrusionOk="0">
                    <a:moveTo>
                      <a:pt x="100855" y="2"/>
                    </a:moveTo>
                    <a:cubicBezTo>
                      <a:pt x="87806" y="10575"/>
                      <a:pt x="67423" y="3241"/>
                      <a:pt x="66470" y="4194"/>
                    </a:cubicBezTo>
                    <a:cubicBezTo>
                      <a:pt x="51297" y="17281"/>
                      <a:pt x="35400" y="29492"/>
                      <a:pt x="18845" y="40769"/>
                    </a:cubicBezTo>
                    <a:cubicBezTo>
                      <a:pt x="10654" y="47151"/>
                      <a:pt x="-2014" y="55724"/>
                      <a:pt x="271" y="68106"/>
                    </a:cubicBezTo>
                    <a:cubicBezTo>
                      <a:pt x="4367" y="90109"/>
                      <a:pt x="39610" y="83346"/>
                      <a:pt x="52945" y="76584"/>
                    </a:cubicBezTo>
                    <a:cubicBezTo>
                      <a:pt x="66280" y="69821"/>
                      <a:pt x="77043" y="58677"/>
                      <a:pt x="89616" y="50866"/>
                    </a:cubicBezTo>
                    <a:cubicBezTo>
                      <a:pt x="98665" y="45246"/>
                      <a:pt x="107428" y="42389"/>
                      <a:pt x="108666" y="31054"/>
                    </a:cubicBezTo>
                    <a:cubicBezTo>
                      <a:pt x="109523" y="24196"/>
                      <a:pt x="103142" y="-283"/>
                      <a:pt x="100855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214;p12"/>
              <p:cNvSpPr/>
              <p:nvPr/>
            </p:nvSpPr>
            <p:spPr>
              <a:xfrm>
                <a:off x="5831514" y="2082973"/>
                <a:ext cx="86563" cy="44990"/>
              </a:xfrm>
              <a:custGeom>
                <a:avLst/>
                <a:gdLst/>
                <a:ahLst/>
                <a:cxnLst/>
                <a:rect l="l" t="t" r="r" b="b"/>
                <a:pathLst>
                  <a:path w="108204" h="56238" extrusionOk="0">
                    <a:moveTo>
                      <a:pt x="107918" y="0"/>
                    </a:moveTo>
                    <a:cubicBezTo>
                      <a:pt x="106204" y="10859"/>
                      <a:pt x="97536" y="13907"/>
                      <a:pt x="88868" y="19050"/>
                    </a:cubicBezTo>
                    <a:cubicBezTo>
                      <a:pt x="76105" y="26956"/>
                      <a:pt x="64865" y="38100"/>
                      <a:pt x="51530" y="45149"/>
                    </a:cubicBezTo>
                    <a:cubicBezTo>
                      <a:pt x="38195" y="52197"/>
                      <a:pt x="8573" y="57531"/>
                      <a:pt x="0" y="41815"/>
                    </a:cubicBezTo>
                    <a:cubicBezTo>
                      <a:pt x="4667" y="63056"/>
                      <a:pt x="39338" y="56388"/>
                      <a:pt x="52483" y="49721"/>
                    </a:cubicBezTo>
                    <a:cubicBezTo>
                      <a:pt x="65627" y="43053"/>
                      <a:pt x="76581" y="31814"/>
                      <a:pt x="89154" y="24003"/>
                    </a:cubicBezTo>
                    <a:cubicBezTo>
                      <a:pt x="98203" y="18383"/>
                      <a:pt x="106966" y="15526"/>
                      <a:pt x="108204" y="4191"/>
                    </a:cubicBezTo>
                    <a:cubicBezTo>
                      <a:pt x="108214" y="2791"/>
                      <a:pt x="108118" y="1391"/>
                      <a:pt x="107918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215;p12"/>
              <p:cNvSpPr/>
              <p:nvPr/>
            </p:nvSpPr>
            <p:spPr>
              <a:xfrm>
                <a:off x="5764925" y="2047104"/>
                <a:ext cx="79862" cy="61873"/>
              </a:xfrm>
              <a:custGeom>
                <a:avLst/>
                <a:gdLst/>
                <a:ahLst/>
                <a:cxnLst/>
                <a:rect l="l" t="t" r="r" b="b"/>
                <a:pathLst>
                  <a:path w="99827" h="77341" extrusionOk="0">
                    <a:moveTo>
                      <a:pt x="91860" y="1"/>
                    </a:moveTo>
                    <a:cubicBezTo>
                      <a:pt x="79954" y="9526"/>
                      <a:pt x="61856" y="4288"/>
                      <a:pt x="60999" y="5240"/>
                    </a:cubicBezTo>
                    <a:cubicBezTo>
                      <a:pt x="47045" y="17146"/>
                      <a:pt x="32453" y="28281"/>
                      <a:pt x="17279" y="38578"/>
                    </a:cubicBezTo>
                    <a:cubicBezTo>
                      <a:pt x="9754" y="44388"/>
                      <a:pt x="-1771" y="52294"/>
                      <a:pt x="229" y="63533"/>
                    </a:cubicBezTo>
                    <a:cubicBezTo>
                      <a:pt x="4040" y="83726"/>
                      <a:pt x="36329" y="77535"/>
                      <a:pt x="48521" y="71344"/>
                    </a:cubicBezTo>
                    <a:cubicBezTo>
                      <a:pt x="60713" y="65152"/>
                      <a:pt x="70619" y="54961"/>
                      <a:pt x="82145" y="47817"/>
                    </a:cubicBezTo>
                    <a:cubicBezTo>
                      <a:pt x="90336" y="42673"/>
                      <a:pt x="98433" y="40006"/>
                      <a:pt x="99766" y="29624"/>
                    </a:cubicBezTo>
                    <a:cubicBezTo>
                      <a:pt x="100528" y="23338"/>
                      <a:pt x="94051" y="-189"/>
                      <a:pt x="91860" y="1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16;p12"/>
              <p:cNvSpPr/>
              <p:nvPr/>
            </p:nvSpPr>
            <p:spPr>
              <a:xfrm>
                <a:off x="5764880" y="2067438"/>
                <a:ext cx="79629" cy="41383"/>
              </a:xfrm>
              <a:custGeom>
                <a:avLst/>
                <a:gdLst/>
                <a:ahLst/>
                <a:cxnLst/>
                <a:rect l="l" t="t" r="r" b="b"/>
                <a:pathLst>
                  <a:path w="99536" h="51729" extrusionOk="0">
                    <a:moveTo>
                      <a:pt x="99536" y="0"/>
                    </a:moveTo>
                    <a:cubicBezTo>
                      <a:pt x="97917" y="10001"/>
                      <a:pt x="90011" y="12668"/>
                      <a:pt x="81820" y="17812"/>
                    </a:cubicBezTo>
                    <a:cubicBezTo>
                      <a:pt x="70104" y="25051"/>
                      <a:pt x="59817" y="35528"/>
                      <a:pt x="47625" y="41720"/>
                    </a:cubicBezTo>
                    <a:cubicBezTo>
                      <a:pt x="35433" y="47911"/>
                      <a:pt x="8287" y="53054"/>
                      <a:pt x="0" y="38671"/>
                    </a:cubicBezTo>
                    <a:cubicBezTo>
                      <a:pt x="4286" y="57721"/>
                      <a:pt x="36004" y="52006"/>
                      <a:pt x="47625" y="45911"/>
                    </a:cubicBezTo>
                    <a:cubicBezTo>
                      <a:pt x="59246" y="39814"/>
                      <a:pt x="69723" y="29528"/>
                      <a:pt x="81248" y="22384"/>
                    </a:cubicBezTo>
                    <a:cubicBezTo>
                      <a:pt x="89440" y="17240"/>
                      <a:pt x="97536" y="14573"/>
                      <a:pt x="98870" y="4191"/>
                    </a:cubicBezTo>
                    <a:cubicBezTo>
                      <a:pt x="99222" y="2819"/>
                      <a:pt x="99441" y="1419"/>
                      <a:pt x="9953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17;p12"/>
              <p:cNvSpPr/>
              <p:nvPr/>
            </p:nvSpPr>
            <p:spPr>
              <a:xfrm>
                <a:off x="5777722" y="1472916"/>
                <a:ext cx="170454" cy="595560"/>
              </a:xfrm>
              <a:custGeom>
                <a:avLst/>
                <a:gdLst/>
                <a:ahLst/>
                <a:cxnLst/>
                <a:rect l="l" t="t" r="r" b="b"/>
                <a:pathLst>
                  <a:path w="213068" h="744450" extrusionOk="0">
                    <a:moveTo>
                      <a:pt x="5465" y="110490"/>
                    </a:moveTo>
                    <a:cubicBezTo>
                      <a:pt x="11276" y="65437"/>
                      <a:pt x="27849" y="0"/>
                      <a:pt x="27849" y="0"/>
                    </a:cubicBezTo>
                    <a:cubicBezTo>
                      <a:pt x="43546" y="7372"/>
                      <a:pt x="60529" y="11611"/>
                      <a:pt x="77855" y="12478"/>
                    </a:cubicBezTo>
                    <a:cubicBezTo>
                      <a:pt x="103211" y="12316"/>
                      <a:pt x="128490" y="9830"/>
                      <a:pt x="153388" y="5048"/>
                    </a:cubicBezTo>
                    <a:cubicBezTo>
                      <a:pt x="161532" y="19269"/>
                      <a:pt x="170429" y="33033"/>
                      <a:pt x="180059" y="46291"/>
                    </a:cubicBezTo>
                    <a:cubicBezTo>
                      <a:pt x="193012" y="64294"/>
                      <a:pt x="218159" y="103441"/>
                      <a:pt x="212158" y="172879"/>
                    </a:cubicBezTo>
                    <a:cubicBezTo>
                      <a:pt x="208253" y="217932"/>
                      <a:pt x="182916" y="409480"/>
                      <a:pt x="182916" y="409480"/>
                    </a:cubicBezTo>
                    <a:cubicBezTo>
                      <a:pt x="192755" y="441693"/>
                      <a:pt x="197985" y="475145"/>
                      <a:pt x="198442" y="508826"/>
                    </a:cubicBezTo>
                    <a:cubicBezTo>
                      <a:pt x="196156" y="548821"/>
                      <a:pt x="190869" y="588588"/>
                      <a:pt x="182630" y="627793"/>
                    </a:cubicBezTo>
                    <a:lnTo>
                      <a:pt x="167581" y="736568"/>
                    </a:lnTo>
                    <a:cubicBezTo>
                      <a:pt x="167581" y="736568"/>
                      <a:pt x="147483" y="751046"/>
                      <a:pt x="133195" y="740759"/>
                    </a:cubicBezTo>
                    <a:lnTo>
                      <a:pt x="135005" y="634365"/>
                    </a:lnTo>
                    <a:cubicBezTo>
                      <a:pt x="133291" y="608362"/>
                      <a:pt x="130719" y="569976"/>
                      <a:pt x="129004" y="545402"/>
                    </a:cubicBezTo>
                    <a:cubicBezTo>
                      <a:pt x="126337" y="505492"/>
                      <a:pt x="119479" y="442055"/>
                      <a:pt x="117098" y="426148"/>
                    </a:cubicBezTo>
                    <a:cubicBezTo>
                      <a:pt x="114717" y="410242"/>
                      <a:pt x="109954" y="382619"/>
                      <a:pt x="107573" y="351568"/>
                    </a:cubicBezTo>
                    <a:cubicBezTo>
                      <a:pt x="105192" y="320516"/>
                      <a:pt x="93476" y="162973"/>
                      <a:pt x="93476" y="162973"/>
                    </a:cubicBezTo>
                    <a:lnTo>
                      <a:pt x="91857" y="192500"/>
                    </a:lnTo>
                    <a:cubicBezTo>
                      <a:pt x="91857" y="192500"/>
                      <a:pt x="90238" y="240125"/>
                      <a:pt x="83380" y="299561"/>
                    </a:cubicBezTo>
                    <a:cubicBezTo>
                      <a:pt x="76522" y="358997"/>
                      <a:pt x="73855" y="385286"/>
                      <a:pt x="73855" y="385286"/>
                    </a:cubicBezTo>
                    <a:cubicBezTo>
                      <a:pt x="80370" y="397183"/>
                      <a:pt x="84932" y="410042"/>
                      <a:pt x="87380" y="423386"/>
                    </a:cubicBezTo>
                    <a:cubicBezTo>
                      <a:pt x="88619" y="436150"/>
                      <a:pt x="103192" y="537686"/>
                      <a:pt x="94429" y="588740"/>
                    </a:cubicBezTo>
                    <a:lnTo>
                      <a:pt x="76712" y="719138"/>
                    </a:lnTo>
                    <a:cubicBezTo>
                      <a:pt x="67645" y="725376"/>
                      <a:pt x="56138" y="726900"/>
                      <a:pt x="45756" y="723233"/>
                    </a:cubicBezTo>
                    <a:lnTo>
                      <a:pt x="35183" y="591407"/>
                    </a:lnTo>
                    <a:cubicBezTo>
                      <a:pt x="28135" y="541211"/>
                      <a:pt x="13180" y="434912"/>
                      <a:pt x="10895" y="421100"/>
                    </a:cubicBezTo>
                    <a:cubicBezTo>
                      <a:pt x="5808" y="393268"/>
                      <a:pt x="2817" y="365084"/>
                      <a:pt x="1941" y="336804"/>
                    </a:cubicBezTo>
                    <a:cubicBezTo>
                      <a:pt x="-1583" y="279749"/>
                      <a:pt x="-250" y="155543"/>
                      <a:pt x="5465" y="11049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18;p12"/>
              <p:cNvSpPr/>
              <p:nvPr/>
            </p:nvSpPr>
            <p:spPr>
              <a:xfrm>
                <a:off x="5770564" y="1458904"/>
                <a:ext cx="181538" cy="396087"/>
              </a:xfrm>
              <a:custGeom>
                <a:avLst/>
                <a:gdLst/>
                <a:ahLst/>
                <a:cxnLst/>
                <a:rect l="l" t="t" r="r" b="b"/>
                <a:pathLst>
                  <a:path w="226922" h="495109" extrusionOk="0">
                    <a:moveTo>
                      <a:pt x="162435" y="6001"/>
                    </a:moveTo>
                    <a:lnTo>
                      <a:pt x="201202" y="83915"/>
                    </a:lnTo>
                    <a:cubicBezTo>
                      <a:pt x="201202" y="83915"/>
                      <a:pt x="260447" y="170593"/>
                      <a:pt x="199106" y="393287"/>
                    </a:cubicBezTo>
                    <a:lnTo>
                      <a:pt x="210631" y="461963"/>
                    </a:lnTo>
                    <a:cubicBezTo>
                      <a:pt x="210631" y="461963"/>
                      <a:pt x="94522" y="536543"/>
                      <a:pt x="16798" y="461963"/>
                    </a:cubicBezTo>
                    <a:cubicBezTo>
                      <a:pt x="16798" y="461963"/>
                      <a:pt x="-10158" y="256127"/>
                      <a:pt x="4224" y="161258"/>
                    </a:cubicBezTo>
                    <a:cubicBezTo>
                      <a:pt x="12149" y="106661"/>
                      <a:pt x="24246" y="52749"/>
                      <a:pt x="40420" y="0"/>
                    </a:cubicBezTo>
                    <a:cubicBezTo>
                      <a:pt x="40420" y="0"/>
                      <a:pt x="59470" y="21050"/>
                      <a:pt x="157291" y="7144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19;p12"/>
              <p:cNvSpPr/>
              <p:nvPr/>
            </p:nvSpPr>
            <p:spPr>
              <a:xfrm>
                <a:off x="5895126" y="1321170"/>
                <a:ext cx="61010" cy="76023"/>
              </a:xfrm>
              <a:custGeom>
                <a:avLst/>
                <a:gdLst/>
                <a:ahLst/>
                <a:cxnLst/>
                <a:rect l="l" t="t" r="r" b="b"/>
                <a:pathLst>
                  <a:path w="76263" h="95029" extrusionOk="0">
                    <a:moveTo>
                      <a:pt x="76263" y="71216"/>
                    </a:moveTo>
                    <a:cubicBezTo>
                      <a:pt x="76263" y="71216"/>
                      <a:pt x="49307" y="98076"/>
                      <a:pt x="17303" y="94743"/>
                    </a:cubicBezTo>
                    <a:lnTo>
                      <a:pt x="1968" y="42165"/>
                    </a:lnTo>
                    <a:cubicBezTo>
                      <a:pt x="1968" y="42165"/>
                      <a:pt x="-7557" y="14828"/>
                      <a:pt x="15303" y="2826"/>
                    </a:cubicBezTo>
                    <a:cubicBezTo>
                      <a:pt x="38163" y="-9175"/>
                      <a:pt x="62833" y="17685"/>
                      <a:pt x="76263" y="7121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220;p12"/>
              <p:cNvSpPr/>
              <p:nvPr/>
            </p:nvSpPr>
            <p:spPr>
              <a:xfrm>
                <a:off x="5777141" y="1300603"/>
                <a:ext cx="50825" cy="53396"/>
              </a:xfrm>
              <a:custGeom>
                <a:avLst/>
                <a:gdLst/>
                <a:ahLst/>
                <a:cxnLst/>
                <a:rect l="l" t="t" r="r" b="b"/>
                <a:pathLst>
                  <a:path w="63531" h="66745" extrusionOk="0">
                    <a:moveTo>
                      <a:pt x="63532" y="451"/>
                    </a:moveTo>
                    <a:cubicBezTo>
                      <a:pt x="63532" y="451"/>
                      <a:pt x="32671" y="-9074"/>
                      <a:pt x="0" y="59411"/>
                    </a:cubicBezTo>
                    <a:lnTo>
                      <a:pt x="12192" y="66745"/>
                    </a:lnTo>
                    <a:cubicBezTo>
                      <a:pt x="27499" y="43304"/>
                      <a:pt x="44663" y="21130"/>
                      <a:pt x="63532" y="451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21" name="Google Shape;221;p12"/>
            <p:cNvGrpSpPr/>
            <p:nvPr/>
          </p:nvGrpSpPr>
          <p:grpSpPr>
            <a:xfrm>
              <a:off x="5122427" y="3292365"/>
              <a:ext cx="823270" cy="1268939"/>
              <a:chOff x="5490177" y="3555452"/>
              <a:chExt cx="823270" cy="1268939"/>
            </a:xfrm>
          </p:grpSpPr>
          <p:sp>
            <p:nvSpPr>
              <p:cNvPr id="222" name="Google Shape;222;p12"/>
              <p:cNvSpPr/>
              <p:nvPr/>
            </p:nvSpPr>
            <p:spPr>
              <a:xfrm>
                <a:off x="5967652" y="4624747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7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7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7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223;p12"/>
              <p:cNvSpPr/>
              <p:nvPr/>
            </p:nvSpPr>
            <p:spPr>
              <a:xfrm>
                <a:off x="6225123" y="3957880"/>
                <a:ext cx="68002" cy="244678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12"/>
              <p:cNvSpPr/>
              <p:nvPr/>
            </p:nvSpPr>
            <p:spPr>
              <a:xfrm>
                <a:off x="6014262" y="4720102"/>
                <a:ext cx="99120" cy="56094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225;p12"/>
              <p:cNvSpPr/>
              <p:nvPr/>
            </p:nvSpPr>
            <p:spPr>
              <a:xfrm>
                <a:off x="6014165" y="4729456"/>
                <a:ext cx="97551" cy="46733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226;p12"/>
              <p:cNvSpPr/>
              <p:nvPr/>
            </p:nvSpPr>
            <p:spPr>
              <a:xfrm>
                <a:off x="6140412" y="4656810"/>
                <a:ext cx="95533" cy="53978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227;p12"/>
              <p:cNvSpPr/>
              <p:nvPr/>
            </p:nvSpPr>
            <p:spPr>
              <a:xfrm>
                <a:off x="6140448" y="4665717"/>
                <a:ext cx="93872" cy="45066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" name="Google Shape;228;p12"/>
              <p:cNvSpPr/>
              <p:nvPr/>
            </p:nvSpPr>
            <p:spPr>
              <a:xfrm>
                <a:off x="6074259" y="4151308"/>
                <a:ext cx="190443" cy="586341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" name="Google Shape;229;p12"/>
              <p:cNvSpPr/>
              <p:nvPr/>
            </p:nvSpPr>
            <p:spPr>
              <a:xfrm>
                <a:off x="6075072" y="4151308"/>
                <a:ext cx="189540" cy="327893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230;p12"/>
              <p:cNvSpPr/>
              <p:nvPr/>
            </p:nvSpPr>
            <p:spPr>
              <a:xfrm>
                <a:off x="6112869" y="3797323"/>
                <a:ext cx="128417" cy="206862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231;p12"/>
              <p:cNvSpPr/>
              <p:nvPr/>
            </p:nvSpPr>
            <p:spPr>
              <a:xfrm>
                <a:off x="6244085" y="3981464"/>
                <a:ext cx="49073" cy="87044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232;p12"/>
              <p:cNvSpPr/>
              <p:nvPr/>
            </p:nvSpPr>
            <p:spPr>
              <a:xfrm>
                <a:off x="6106401" y="3956215"/>
                <a:ext cx="153237" cy="219092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" name="Google Shape;233;p12"/>
              <p:cNvSpPr/>
              <p:nvPr/>
            </p:nvSpPr>
            <p:spPr>
              <a:xfrm>
                <a:off x="5856250" y="4001330"/>
                <a:ext cx="294998" cy="212364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234;p12"/>
              <p:cNvSpPr/>
              <p:nvPr/>
            </p:nvSpPr>
            <p:spPr>
              <a:xfrm>
                <a:off x="6075027" y="3988967"/>
                <a:ext cx="80628" cy="83804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" name="Google Shape;235;p12"/>
              <p:cNvSpPr/>
              <p:nvPr/>
            </p:nvSpPr>
            <p:spPr>
              <a:xfrm>
                <a:off x="6107459" y="3797280"/>
                <a:ext cx="160810" cy="262954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" name="Google Shape;236;p12"/>
              <p:cNvSpPr/>
              <p:nvPr/>
            </p:nvSpPr>
            <p:spPr>
              <a:xfrm>
                <a:off x="5490177" y="438113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237;p12"/>
              <p:cNvSpPr/>
              <p:nvPr/>
            </p:nvSpPr>
            <p:spPr>
              <a:xfrm>
                <a:off x="5573749" y="4455840"/>
                <a:ext cx="98301" cy="76095"/>
              </a:xfrm>
              <a:custGeom>
                <a:avLst/>
                <a:gdLst/>
                <a:ahLst/>
                <a:cxnLst/>
                <a:rect l="l" t="t" r="r" b="b"/>
                <a:pathLst>
                  <a:path w="122876" h="95119" extrusionOk="0">
                    <a:moveTo>
                      <a:pt x="9769" y="2"/>
                    </a:moveTo>
                    <a:cubicBezTo>
                      <a:pt x="24533" y="12004"/>
                      <a:pt x="46250" y="1050"/>
                      <a:pt x="47297" y="2193"/>
                    </a:cubicBezTo>
                    <a:cubicBezTo>
                      <a:pt x="64639" y="18195"/>
                      <a:pt x="82792" y="33302"/>
                      <a:pt x="101685" y="47437"/>
                    </a:cubicBezTo>
                    <a:cubicBezTo>
                      <a:pt x="111210" y="54676"/>
                      <a:pt x="125212" y="64296"/>
                      <a:pt x="122545" y="78202"/>
                    </a:cubicBezTo>
                    <a:cubicBezTo>
                      <a:pt x="117973" y="102967"/>
                      <a:pt x="78254" y="95347"/>
                      <a:pt x="63204" y="87727"/>
                    </a:cubicBezTo>
                    <a:cubicBezTo>
                      <a:pt x="48155" y="80107"/>
                      <a:pt x="35963" y="67630"/>
                      <a:pt x="21770" y="59152"/>
                    </a:cubicBezTo>
                    <a:cubicBezTo>
                      <a:pt x="11674" y="52866"/>
                      <a:pt x="1768" y="49627"/>
                      <a:pt x="149" y="36864"/>
                    </a:cubicBezTo>
                    <a:cubicBezTo>
                      <a:pt x="-1185" y="28768"/>
                      <a:pt x="6816" y="-284"/>
                      <a:pt x="9769" y="2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8" name="Google Shape;238;p12"/>
              <p:cNvSpPr/>
              <p:nvPr/>
            </p:nvSpPr>
            <p:spPr>
              <a:xfrm>
                <a:off x="5573762" y="4480895"/>
                <a:ext cx="97794" cy="51001"/>
              </a:xfrm>
              <a:custGeom>
                <a:avLst/>
                <a:gdLst/>
                <a:ahLst/>
                <a:cxnLst/>
                <a:rect l="l" t="t" r="r" b="b"/>
                <a:pathLst>
                  <a:path w="122242" h="63751" extrusionOk="0">
                    <a:moveTo>
                      <a:pt x="227" y="0"/>
                    </a:moveTo>
                    <a:cubicBezTo>
                      <a:pt x="2228" y="12192"/>
                      <a:pt x="12038" y="15621"/>
                      <a:pt x="22040" y="21812"/>
                    </a:cubicBezTo>
                    <a:cubicBezTo>
                      <a:pt x="36518" y="30766"/>
                      <a:pt x="49186" y="43720"/>
                      <a:pt x="64140" y="51245"/>
                    </a:cubicBezTo>
                    <a:cubicBezTo>
                      <a:pt x="79094" y="58769"/>
                      <a:pt x="112527" y="65246"/>
                      <a:pt x="122243" y="47530"/>
                    </a:cubicBezTo>
                    <a:cubicBezTo>
                      <a:pt x="117004" y="71438"/>
                      <a:pt x="77951" y="63913"/>
                      <a:pt x="63092" y="56388"/>
                    </a:cubicBezTo>
                    <a:cubicBezTo>
                      <a:pt x="48233" y="48863"/>
                      <a:pt x="35851" y="36290"/>
                      <a:pt x="21659" y="27813"/>
                    </a:cubicBezTo>
                    <a:cubicBezTo>
                      <a:pt x="11562" y="21527"/>
                      <a:pt x="1656" y="18288"/>
                      <a:pt x="37" y="5524"/>
                    </a:cubicBezTo>
                    <a:cubicBezTo>
                      <a:pt x="-49" y="3677"/>
                      <a:pt x="15" y="1829"/>
                      <a:pt x="227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239;p12"/>
              <p:cNvSpPr/>
              <p:nvPr/>
            </p:nvSpPr>
            <p:spPr>
              <a:xfrm>
                <a:off x="5674337" y="4417793"/>
                <a:ext cx="98217" cy="73323"/>
              </a:xfrm>
              <a:custGeom>
                <a:avLst/>
                <a:gdLst/>
                <a:ahLst/>
                <a:cxnLst/>
                <a:rect l="l" t="t" r="r" b="b"/>
                <a:pathLst>
                  <a:path w="122771" h="91654" extrusionOk="0">
                    <a:moveTo>
                      <a:pt x="11400" y="61"/>
                    </a:moveTo>
                    <a:cubicBezTo>
                      <a:pt x="26164" y="12062"/>
                      <a:pt x="51881" y="-987"/>
                      <a:pt x="53024" y="61"/>
                    </a:cubicBezTo>
                    <a:cubicBezTo>
                      <a:pt x="68334" y="15615"/>
                      <a:pt x="84521" y="30274"/>
                      <a:pt x="101507" y="43971"/>
                    </a:cubicBezTo>
                    <a:cubicBezTo>
                      <a:pt x="111032" y="51114"/>
                      <a:pt x="125033" y="60830"/>
                      <a:pt x="122462" y="74737"/>
                    </a:cubicBezTo>
                    <a:cubicBezTo>
                      <a:pt x="117794" y="99502"/>
                      <a:pt x="78075" y="91881"/>
                      <a:pt x="63121" y="84262"/>
                    </a:cubicBezTo>
                    <a:cubicBezTo>
                      <a:pt x="48167" y="76642"/>
                      <a:pt x="35879" y="64069"/>
                      <a:pt x="21687" y="55687"/>
                    </a:cubicBezTo>
                    <a:cubicBezTo>
                      <a:pt x="11591" y="49400"/>
                      <a:pt x="1589" y="46162"/>
                      <a:pt x="65" y="33398"/>
                    </a:cubicBezTo>
                    <a:cubicBezTo>
                      <a:pt x="-887" y="25302"/>
                      <a:pt x="8828" y="-225"/>
                      <a:pt x="11400" y="61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240;p12"/>
              <p:cNvSpPr/>
              <p:nvPr/>
            </p:nvSpPr>
            <p:spPr>
              <a:xfrm>
                <a:off x="5674522" y="4441449"/>
                <a:ext cx="97784" cy="51040"/>
              </a:xfrm>
              <a:custGeom>
                <a:avLst/>
                <a:gdLst/>
                <a:ahLst/>
                <a:cxnLst/>
                <a:rect l="l" t="t" r="r" b="b"/>
                <a:pathLst>
                  <a:path w="122230" h="63800" extrusionOk="0">
                    <a:moveTo>
                      <a:pt x="216" y="0"/>
                    </a:moveTo>
                    <a:cubicBezTo>
                      <a:pt x="2216" y="12192"/>
                      <a:pt x="12027" y="15621"/>
                      <a:pt x="22028" y="21812"/>
                    </a:cubicBezTo>
                    <a:cubicBezTo>
                      <a:pt x="36506" y="30766"/>
                      <a:pt x="49174" y="43720"/>
                      <a:pt x="64128" y="51340"/>
                    </a:cubicBezTo>
                    <a:cubicBezTo>
                      <a:pt x="79083" y="58960"/>
                      <a:pt x="112515" y="65246"/>
                      <a:pt x="122231" y="47530"/>
                    </a:cubicBezTo>
                    <a:cubicBezTo>
                      <a:pt x="116992" y="71438"/>
                      <a:pt x="77940" y="64008"/>
                      <a:pt x="63081" y="56483"/>
                    </a:cubicBezTo>
                    <a:cubicBezTo>
                      <a:pt x="48222" y="48958"/>
                      <a:pt x="35934" y="36290"/>
                      <a:pt x="21742" y="27432"/>
                    </a:cubicBezTo>
                    <a:cubicBezTo>
                      <a:pt x="11550" y="21146"/>
                      <a:pt x="1644" y="17907"/>
                      <a:pt x="25" y="5143"/>
                    </a:cubicBezTo>
                    <a:cubicBezTo>
                      <a:pt x="-41" y="3429"/>
                      <a:pt x="23" y="1705"/>
                      <a:pt x="21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241;p12"/>
              <p:cNvSpPr/>
              <p:nvPr/>
            </p:nvSpPr>
            <p:spPr>
              <a:xfrm>
                <a:off x="5578538" y="3979203"/>
                <a:ext cx="169290" cy="484803"/>
              </a:xfrm>
              <a:custGeom>
                <a:avLst/>
                <a:gdLst/>
                <a:ahLst/>
                <a:cxnLst/>
                <a:rect l="l" t="t" r="r" b="b"/>
                <a:pathLst>
                  <a:path w="211613" h="606004" extrusionOk="0">
                    <a:moveTo>
                      <a:pt x="2540" y="52483"/>
                    </a:moveTo>
                    <a:cubicBezTo>
                      <a:pt x="3302" y="74771"/>
                      <a:pt x="10160" y="171545"/>
                      <a:pt x="13303" y="222695"/>
                    </a:cubicBezTo>
                    <a:cubicBezTo>
                      <a:pt x="16446" y="273844"/>
                      <a:pt x="17113" y="336995"/>
                      <a:pt x="17113" y="336995"/>
                    </a:cubicBezTo>
                    <a:cubicBezTo>
                      <a:pt x="17113" y="336995"/>
                      <a:pt x="8255" y="374237"/>
                      <a:pt x="2540" y="418147"/>
                    </a:cubicBezTo>
                    <a:cubicBezTo>
                      <a:pt x="-3175" y="462058"/>
                      <a:pt x="2540" y="600361"/>
                      <a:pt x="2540" y="600361"/>
                    </a:cubicBezTo>
                    <a:cubicBezTo>
                      <a:pt x="14124" y="607886"/>
                      <a:pt x="29056" y="607886"/>
                      <a:pt x="40640" y="600361"/>
                    </a:cubicBezTo>
                    <a:cubicBezTo>
                      <a:pt x="40640" y="600361"/>
                      <a:pt x="64262" y="489585"/>
                      <a:pt x="75121" y="439674"/>
                    </a:cubicBezTo>
                    <a:cubicBezTo>
                      <a:pt x="85979" y="389763"/>
                      <a:pt x="87979" y="360997"/>
                      <a:pt x="93599" y="330137"/>
                    </a:cubicBezTo>
                    <a:cubicBezTo>
                      <a:pt x="100457" y="292703"/>
                      <a:pt x="115221" y="118110"/>
                      <a:pt x="115221" y="118110"/>
                    </a:cubicBezTo>
                    <a:lnTo>
                      <a:pt x="121126" y="118110"/>
                    </a:lnTo>
                    <a:lnTo>
                      <a:pt x="136938" y="315182"/>
                    </a:lnTo>
                    <a:cubicBezTo>
                      <a:pt x="132057" y="329717"/>
                      <a:pt x="128705" y="344719"/>
                      <a:pt x="126937" y="359950"/>
                    </a:cubicBezTo>
                    <a:cubicBezTo>
                      <a:pt x="122650" y="392049"/>
                      <a:pt x="131509" y="553593"/>
                      <a:pt x="131509" y="553593"/>
                    </a:cubicBezTo>
                    <a:cubicBezTo>
                      <a:pt x="144340" y="560727"/>
                      <a:pt x="160089" y="560070"/>
                      <a:pt x="172276" y="551879"/>
                    </a:cubicBezTo>
                    <a:cubicBezTo>
                      <a:pt x="172276" y="551879"/>
                      <a:pt x="211614" y="337947"/>
                      <a:pt x="211614" y="305467"/>
                    </a:cubicBezTo>
                    <a:cubicBezTo>
                      <a:pt x="211614" y="283845"/>
                      <a:pt x="207994" y="0"/>
                      <a:pt x="207994" y="0"/>
                    </a:cubicBezTo>
                    <a:close/>
                  </a:path>
                </a:pathLst>
              </a:custGeom>
              <a:solidFill>
                <a:srgbClr val="E2616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242;p12"/>
              <p:cNvSpPr/>
              <p:nvPr/>
            </p:nvSpPr>
            <p:spPr>
              <a:xfrm>
                <a:off x="5601056" y="3677030"/>
                <a:ext cx="108255" cy="105706"/>
              </a:xfrm>
              <a:custGeom>
                <a:avLst/>
                <a:gdLst/>
                <a:ahLst/>
                <a:cxnLst/>
                <a:rect l="l" t="t" r="r" b="b"/>
                <a:pathLst>
                  <a:path w="135319" h="132132" extrusionOk="0">
                    <a:moveTo>
                      <a:pt x="27811" y="0"/>
                    </a:moveTo>
                    <a:cubicBezTo>
                      <a:pt x="27811" y="0"/>
                      <a:pt x="30287" y="48578"/>
                      <a:pt x="29239" y="52864"/>
                    </a:cubicBezTo>
                    <a:cubicBezTo>
                      <a:pt x="28192" y="57150"/>
                      <a:pt x="6951" y="71342"/>
                      <a:pt x="664" y="76486"/>
                    </a:cubicBezTo>
                    <a:cubicBezTo>
                      <a:pt x="-5622" y="81629"/>
                      <a:pt x="34288" y="120491"/>
                      <a:pt x="53623" y="130016"/>
                    </a:cubicBezTo>
                    <a:cubicBezTo>
                      <a:pt x="72959" y="139541"/>
                      <a:pt x="134205" y="115538"/>
                      <a:pt x="135253" y="85439"/>
                    </a:cubicBezTo>
                    <a:cubicBezTo>
                      <a:pt x="136300" y="55340"/>
                      <a:pt x="124775" y="30099"/>
                      <a:pt x="115441" y="28765"/>
                    </a:cubicBezTo>
                    <a:cubicBezTo>
                      <a:pt x="106106" y="27432"/>
                      <a:pt x="27811" y="0"/>
                      <a:pt x="27811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243;p12"/>
              <p:cNvSpPr/>
              <p:nvPr/>
            </p:nvSpPr>
            <p:spPr>
              <a:xfrm>
                <a:off x="5726677" y="3702009"/>
                <a:ext cx="153814" cy="302133"/>
              </a:xfrm>
              <a:custGeom>
                <a:avLst/>
                <a:gdLst/>
                <a:ahLst/>
                <a:cxnLst/>
                <a:rect l="l" t="t" r="r" b="b"/>
                <a:pathLst>
                  <a:path w="192267" h="377666" extrusionOk="0">
                    <a:moveTo>
                      <a:pt x="3655" y="58864"/>
                    </a:moveTo>
                    <a:cubicBezTo>
                      <a:pt x="6513" y="37433"/>
                      <a:pt x="-7584" y="17050"/>
                      <a:pt x="6037" y="0"/>
                    </a:cubicBezTo>
                    <a:cubicBezTo>
                      <a:pt x="53662" y="47054"/>
                      <a:pt x="47947" y="171450"/>
                      <a:pt x="58805" y="250984"/>
                    </a:cubicBezTo>
                    <a:cubicBezTo>
                      <a:pt x="94429" y="288131"/>
                      <a:pt x="165961" y="324803"/>
                      <a:pt x="186059" y="333851"/>
                    </a:cubicBezTo>
                    <a:cubicBezTo>
                      <a:pt x="189679" y="335566"/>
                      <a:pt x="192917" y="337375"/>
                      <a:pt x="192155" y="341281"/>
                    </a:cubicBezTo>
                    <a:cubicBezTo>
                      <a:pt x="189461" y="354530"/>
                      <a:pt x="183757" y="366979"/>
                      <a:pt x="175486" y="377666"/>
                    </a:cubicBezTo>
                    <a:cubicBezTo>
                      <a:pt x="127861" y="357283"/>
                      <a:pt x="94048" y="345567"/>
                      <a:pt x="34897" y="289370"/>
                    </a:cubicBezTo>
                    <a:cubicBezTo>
                      <a:pt x="29295" y="283293"/>
                      <a:pt x="24287" y="276692"/>
                      <a:pt x="19943" y="269653"/>
                    </a:cubicBezTo>
                    <a:cubicBezTo>
                      <a:pt x="3084" y="218980"/>
                      <a:pt x="-1202" y="95821"/>
                      <a:pt x="3655" y="588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244;p12"/>
              <p:cNvSpPr/>
              <p:nvPr/>
            </p:nvSpPr>
            <p:spPr>
              <a:xfrm>
                <a:off x="5572425" y="3691494"/>
                <a:ext cx="175494" cy="353954"/>
              </a:xfrm>
              <a:custGeom>
                <a:avLst/>
                <a:gdLst/>
                <a:ahLst/>
                <a:cxnLst/>
                <a:rect l="l" t="t" r="r" b="b"/>
                <a:pathLst>
                  <a:path w="219367" h="442443" extrusionOk="0">
                    <a:moveTo>
                      <a:pt x="58192" y="43155"/>
                    </a:moveTo>
                    <a:cubicBezTo>
                      <a:pt x="58192" y="43155"/>
                      <a:pt x="93434" y="95638"/>
                      <a:pt x="142583" y="100305"/>
                    </a:cubicBezTo>
                    <a:cubicBezTo>
                      <a:pt x="158109" y="85065"/>
                      <a:pt x="159443" y="30678"/>
                      <a:pt x="138011" y="13247"/>
                    </a:cubicBezTo>
                    <a:cubicBezTo>
                      <a:pt x="138011" y="13247"/>
                      <a:pt x="157728" y="-2660"/>
                      <a:pt x="171254" y="388"/>
                    </a:cubicBezTo>
                    <a:cubicBezTo>
                      <a:pt x="185905" y="9218"/>
                      <a:pt x="196816" y="23115"/>
                      <a:pt x="201924" y="39441"/>
                    </a:cubicBezTo>
                    <a:cubicBezTo>
                      <a:pt x="214382" y="75569"/>
                      <a:pt x="220254" y="113631"/>
                      <a:pt x="219260" y="151836"/>
                    </a:cubicBezTo>
                    <a:cubicBezTo>
                      <a:pt x="218402" y="203366"/>
                      <a:pt x="219260" y="360814"/>
                      <a:pt x="219260" y="360814"/>
                    </a:cubicBezTo>
                    <a:cubicBezTo>
                      <a:pt x="219260" y="360814"/>
                      <a:pt x="212402" y="394056"/>
                      <a:pt x="167920" y="418821"/>
                    </a:cubicBezTo>
                    <a:cubicBezTo>
                      <a:pt x="123438" y="443586"/>
                      <a:pt x="90386" y="446063"/>
                      <a:pt x="60192" y="439014"/>
                    </a:cubicBezTo>
                    <a:cubicBezTo>
                      <a:pt x="35332" y="433204"/>
                      <a:pt x="14758" y="424441"/>
                      <a:pt x="6185" y="406439"/>
                    </a:cubicBezTo>
                    <a:cubicBezTo>
                      <a:pt x="8471" y="370244"/>
                      <a:pt x="24569" y="276042"/>
                      <a:pt x="18568" y="230607"/>
                    </a:cubicBezTo>
                    <a:cubicBezTo>
                      <a:pt x="12567" y="185173"/>
                      <a:pt x="2947" y="151359"/>
                      <a:pt x="470" y="114593"/>
                    </a:cubicBezTo>
                    <a:cubicBezTo>
                      <a:pt x="-2006" y="77826"/>
                      <a:pt x="5233" y="78588"/>
                      <a:pt x="23711" y="65539"/>
                    </a:cubicBezTo>
                    <a:cubicBezTo>
                      <a:pt x="34645" y="57252"/>
                      <a:pt x="46169" y="49766"/>
                      <a:pt x="58192" y="4315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245;p12"/>
              <p:cNvSpPr/>
              <p:nvPr/>
            </p:nvSpPr>
            <p:spPr>
              <a:xfrm>
                <a:off x="5596900" y="3567776"/>
                <a:ext cx="116875" cy="142090"/>
              </a:xfrm>
              <a:custGeom>
                <a:avLst/>
                <a:gdLst/>
                <a:ahLst/>
                <a:cxnLst/>
                <a:rect l="l" t="t" r="r" b="b"/>
                <a:pathLst>
                  <a:path w="146094" h="177613" extrusionOk="0">
                    <a:moveTo>
                      <a:pt x="142737" y="64264"/>
                    </a:moveTo>
                    <a:lnTo>
                      <a:pt x="142737" y="64264"/>
                    </a:lnTo>
                    <a:cubicBezTo>
                      <a:pt x="136926" y="26164"/>
                      <a:pt x="109780" y="-2411"/>
                      <a:pt x="70823" y="161"/>
                    </a:cubicBezTo>
                    <a:cubicBezTo>
                      <a:pt x="29585" y="2342"/>
                      <a:pt x="-2076" y="37537"/>
                      <a:pt x="106" y="78780"/>
                    </a:cubicBezTo>
                    <a:cubicBezTo>
                      <a:pt x="1341" y="102107"/>
                      <a:pt x="13407" y="123519"/>
                      <a:pt x="32723" y="136654"/>
                    </a:cubicBezTo>
                    <a:cubicBezTo>
                      <a:pt x="34067" y="142360"/>
                      <a:pt x="36081" y="147894"/>
                      <a:pt x="38724" y="153132"/>
                    </a:cubicBezTo>
                    <a:cubicBezTo>
                      <a:pt x="52440" y="169230"/>
                      <a:pt x="94064" y="179136"/>
                      <a:pt x="105970" y="177421"/>
                    </a:cubicBezTo>
                    <a:cubicBezTo>
                      <a:pt x="120536" y="176269"/>
                      <a:pt x="132921" y="166334"/>
                      <a:pt x="137212" y="152370"/>
                    </a:cubicBezTo>
                    <a:cubicBezTo>
                      <a:pt x="150166" y="122462"/>
                      <a:pt x="146070" y="82838"/>
                      <a:pt x="142737" y="642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246;p12"/>
              <p:cNvSpPr/>
              <p:nvPr/>
            </p:nvSpPr>
            <p:spPr>
              <a:xfrm>
                <a:off x="5586117" y="3555452"/>
                <a:ext cx="123225" cy="121654"/>
              </a:xfrm>
              <a:custGeom>
                <a:avLst/>
                <a:gdLst/>
                <a:ahLst/>
                <a:cxnLst/>
                <a:rect l="l" t="t" r="r" b="b"/>
                <a:pathLst>
                  <a:path w="154031" h="152067" extrusionOk="0">
                    <a:moveTo>
                      <a:pt x="46496" y="152068"/>
                    </a:moveTo>
                    <a:lnTo>
                      <a:pt x="46496" y="152068"/>
                    </a:lnTo>
                    <a:lnTo>
                      <a:pt x="50021" y="119112"/>
                    </a:lnTo>
                    <a:cubicBezTo>
                      <a:pt x="50021" y="119112"/>
                      <a:pt x="22874" y="49579"/>
                      <a:pt x="86692" y="63009"/>
                    </a:cubicBezTo>
                    <a:cubicBezTo>
                      <a:pt x="128602" y="71867"/>
                      <a:pt x="139079" y="75677"/>
                      <a:pt x="151843" y="47579"/>
                    </a:cubicBezTo>
                    <a:cubicBezTo>
                      <a:pt x="164606" y="19480"/>
                      <a:pt x="119648" y="-5857"/>
                      <a:pt x="66118" y="1192"/>
                    </a:cubicBezTo>
                    <a:cubicBezTo>
                      <a:pt x="27984" y="5192"/>
                      <a:pt x="-739" y="37720"/>
                      <a:pt x="14" y="76058"/>
                    </a:cubicBezTo>
                    <a:cubicBezTo>
                      <a:pt x="1538" y="96632"/>
                      <a:pt x="7063" y="138542"/>
                      <a:pt x="46496" y="152068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247;p12"/>
              <p:cNvSpPr/>
              <p:nvPr/>
            </p:nvSpPr>
            <p:spPr>
              <a:xfrm>
                <a:off x="5563193" y="3761560"/>
                <a:ext cx="157578" cy="270890"/>
              </a:xfrm>
              <a:custGeom>
                <a:avLst/>
                <a:gdLst/>
                <a:ahLst/>
                <a:cxnLst/>
                <a:rect l="l" t="t" r="r" b="b"/>
                <a:pathLst>
                  <a:path w="196972" h="338613" extrusionOk="0">
                    <a:moveTo>
                      <a:pt x="780" y="5239"/>
                    </a:moveTo>
                    <a:cubicBezTo>
                      <a:pt x="19163" y="0"/>
                      <a:pt x="5161" y="4286"/>
                      <a:pt x="19163" y="0"/>
                    </a:cubicBezTo>
                    <a:cubicBezTo>
                      <a:pt x="66788" y="46958"/>
                      <a:pt x="61168" y="127540"/>
                      <a:pt x="72027" y="207073"/>
                    </a:cubicBezTo>
                    <a:cubicBezTo>
                      <a:pt x="98506" y="250984"/>
                      <a:pt x="196709" y="310039"/>
                      <a:pt x="196709" y="310039"/>
                    </a:cubicBezTo>
                    <a:cubicBezTo>
                      <a:pt x="197947" y="318516"/>
                      <a:pt x="194994" y="320992"/>
                      <a:pt x="184326" y="338614"/>
                    </a:cubicBezTo>
                    <a:cubicBezTo>
                      <a:pt x="129661" y="317649"/>
                      <a:pt x="79941" y="285579"/>
                      <a:pt x="38308" y="244411"/>
                    </a:cubicBezTo>
                    <a:cubicBezTo>
                      <a:pt x="35927" y="242221"/>
                      <a:pt x="32498" y="241554"/>
                      <a:pt x="31545" y="238601"/>
                    </a:cubicBezTo>
                    <a:cubicBezTo>
                      <a:pt x="14686" y="187547"/>
                      <a:pt x="-4078" y="42291"/>
                      <a:pt x="780" y="5239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12"/>
              <p:cNvSpPr/>
              <p:nvPr/>
            </p:nvSpPr>
            <p:spPr>
              <a:xfrm>
                <a:off x="5730894" y="3844261"/>
                <a:ext cx="182422" cy="245287"/>
              </a:xfrm>
              <a:custGeom>
                <a:avLst/>
                <a:gdLst/>
                <a:ahLst/>
                <a:cxnLst/>
                <a:rect l="l" t="t" r="r" b="b"/>
                <a:pathLst>
                  <a:path w="228028" h="306609" extrusionOk="0">
                    <a:moveTo>
                      <a:pt x="228028" y="0"/>
                    </a:moveTo>
                    <a:lnTo>
                      <a:pt x="156686" y="244030"/>
                    </a:lnTo>
                    <a:lnTo>
                      <a:pt x="0" y="306610"/>
                    </a:lnTo>
                    <a:lnTo>
                      <a:pt x="57150" y="68866"/>
                    </a:lnTo>
                    <a:lnTo>
                      <a:pt x="228028" y="0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249;p12"/>
              <p:cNvSpPr/>
              <p:nvPr/>
            </p:nvSpPr>
            <p:spPr>
              <a:xfrm>
                <a:off x="5699455" y="3997937"/>
                <a:ext cx="92794" cy="45581"/>
              </a:xfrm>
              <a:custGeom>
                <a:avLst/>
                <a:gdLst/>
                <a:ahLst/>
                <a:cxnLst/>
                <a:rect l="l" t="t" r="r" b="b"/>
                <a:pathLst>
                  <a:path w="115992" h="56976" extrusionOk="0">
                    <a:moveTo>
                      <a:pt x="1604" y="16383"/>
                    </a:moveTo>
                    <a:cubicBezTo>
                      <a:pt x="3890" y="8001"/>
                      <a:pt x="9891" y="10096"/>
                      <a:pt x="16749" y="12192"/>
                    </a:cubicBezTo>
                    <a:cubicBezTo>
                      <a:pt x="24087" y="15173"/>
                      <a:pt x="32154" y="15869"/>
                      <a:pt x="39895" y="14192"/>
                    </a:cubicBezTo>
                    <a:cubicBezTo>
                      <a:pt x="45919" y="11240"/>
                      <a:pt x="51497" y="7458"/>
                      <a:pt x="56468" y="2953"/>
                    </a:cubicBezTo>
                    <a:cubicBezTo>
                      <a:pt x="59631" y="1038"/>
                      <a:pt x="63251" y="19"/>
                      <a:pt x="66946" y="0"/>
                    </a:cubicBezTo>
                    <a:cubicBezTo>
                      <a:pt x="66946" y="2096"/>
                      <a:pt x="63326" y="14478"/>
                      <a:pt x="63326" y="14478"/>
                    </a:cubicBezTo>
                    <a:cubicBezTo>
                      <a:pt x="63326" y="14478"/>
                      <a:pt x="97712" y="14478"/>
                      <a:pt x="101426" y="14478"/>
                    </a:cubicBezTo>
                    <a:cubicBezTo>
                      <a:pt x="104583" y="13907"/>
                      <a:pt x="107609" y="15993"/>
                      <a:pt x="108184" y="19155"/>
                    </a:cubicBezTo>
                    <a:cubicBezTo>
                      <a:pt x="108501" y="20889"/>
                      <a:pt x="108012" y="22670"/>
                      <a:pt x="106856" y="24003"/>
                    </a:cubicBezTo>
                    <a:lnTo>
                      <a:pt x="109237" y="24003"/>
                    </a:lnTo>
                    <a:cubicBezTo>
                      <a:pt x="116190" y="22479"/>
                      <a:pt x="118762" y="33528"/>
                      <a:pt x="112190" y="34862"/>
                    </a:cubicBezTo>
                    <a:lnTo>
                      <a:pt x="106475" y="35719"/>
                    </a:lnTo>
                    <a:cubicBezTo>
                      <a:pt x="111047" y="37529"/>
                      <a:pt x="112190" y="45244"/>
                      <a:pt x="106475" y="46196"/>
                    </a:cubicBezTo>
                    <a:lnTo>
                      <a:pt x="104665" y="46196"/>
                    </a:lnTo>
                    <a:cubicBezTo>
                      <a:pt x="103845" y="46339"/>
                      <a:pt x="103009" y="46339"/>
                      <a:pt x="102188" y="46196"/>
                    </a:cubicBezTo>
                    <a:lnTo>
                      <a:pt x="100188" y="46196"/>
                    </a:lnTo>
                    <a:cubicBezTo>
                      <a:pt x="100896" y="49435"/>
                      <a:pt x="98845" y="52635"/>
                      <a:pt x="95608" y="53340"/>
                    </a:cubicBezTo>
                    <a:cubicBezTo>
                      <a:pt x="95421" y="53378"/>
                      <a:pt x="95233" y="53416"/>
                      <a:pt x="95045" y="53435"/>
                    </a:cubicBezTo>
                    <a:cubicBezTo>
                      <a:pt x="78281" y="55626"/>
                      <a:pt x="53611" y="62294"/>
                      <a:pt x="38466" y="48482"/>
                    </a:cubicBezTo>
                    <a:cubicBezTo>
                      <a:pt x="27950" y="47473"/>
                      <a:pt x="17678" y="44710"/>
                      <a:pt x="8081" y="40291"/>
                    </a:cubicBezTo>
                    <a:cubicBezTo>
                      <a:pt x="-967" y="35719"/>
                      <a:pt x="-1253" y="26289"/>
                      <a:pt x="1604" y="16383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" name="Google Shape;250;p12"/>
              <p:cNvSpPr/>
              <p:nvPr/>
            </p:nvSpPr>
            <p:spPr>
              <a:xfrm>
                <a:off x="5833154" y="3969125"/>
                <a:ext cx="57182" cy="47279"/>
              </a:xfrm>
              <a:custGeom>
                <a:avLst/>
                <a:gdLst/>
                <a:ahLst/>
                <a:cxnLst/>
                <a:rect l="l" t="t" r="r" b="b"/>
                <a:pathLst>
                  <a:path w="71478" h="59099" extrusionOk="0">
                    <a:moveTo>
                      <a:pt x="5636" y="32418"/>
                    </a:moveTo>
                    <a:lnTo>
                      <a:pt x="8018" y="32418"/>
                    </a:lnTo>
                    <a:cubicBezTo>
                      <a:pt x="5440" y="30599"/>
                      <a:pt x="4827" y="27027"/>
                      <a:pt x="6648" y="24455"/>
                    </a:cubicBezTo>
                    <a:cubicBezTo>
                      <a:pt x="7726" y="22922"/>
                      <a:pt x="9482" y="22026"/>
                      <a:pt x="11351" y="22036"/>
                    </a:cubicBezTo>
                    <a:cubicBezTo>
                      <a:pt x="14876" y="22036"/>
                      <a:pt x="50213" y="14606"/>
                      <a:pt x="50213" y="14606"/>
                    </a:cubicBezTo>
                    <a:lnTo>
                      <a:pt x="54500" y="128"/>
                    </a:lnTo>
                    <a:cubicBezTo>
                      <a:pt x="54500" y="-729"/>
                      <a:pt x="60596" y="2986"/>
                      <a:pt x="60786" y="3176"/>
                    </a:cubicBezTo>
                    <a:cubicBezTo>
                      <a:pt x="66872" y="7091"/>
                      <a:pt x="70809" y="13597"/>
                      <a:pt x="71454" y="20798"/>
                    </a:cubicBezTo>
                    <a:cubicBezTo>
                      <a:pt x="71818" y="30903"/>
                      <a:pt x="68152" y="40733"/>
                      <a:pt x="61262" y="48134"/>
                    </a:cubicBezTo>
                    <a:cubicBezTo>
                      <a:pt x="54984" y="54364"/>
                      <a:pt x="46575" y="57974"/>
                      <a:pt x="37736" y="58231"/>
                    </a:cubicBezTo>
                    <a:cubicBezTo>
                      <a:pt x="33449" y="58231"/>
                      <a:pt x="29354" y="58707"/>
                      <a:pt x="25639" y="59088"/>
                    </a:cubicBezTo>
                    <a:cubicBezTo>
                      <a:pt x="22226" y="59298"/>
                      <a:pt x="19289" y="56707"/>
                      <a:pt x="19078" y="53287"/>
                    </a:cubicBezTo>
                    <a:cubicBezTo>
                      <a:pt x="19071" y="53192"/>
                      <a:pt x="19068" y="53087"/>
                      <a:pt x="19067" y="52992"/>
                    </a:cubicBezTo>
                    <a:lnTo>
                      <a:pt x="17924" y="52992"/>
                    </a:lnTo>
                    <a:cubicBezTo>
                      <a:pt x="17115" y="53221"/>
                      <a:pt x="16256" y="53221"/>
                      <a:pt x="15447" y="52992"/>
                    </a:cubicBezTo>
                    <a:lnTo>
                      <a:pt x="13637" y="52992"/>
                    </a:lnTo>
                    <a:cubicBezTo>
                      <a:pt x="7637" y="52992"/>
                      <a:pt x="7160" y="45562"/>
                      <a:pt x="11256" y="42895"/>
                    </a:cubicBezTo>
                    <a:lnTo>
                      <a:pt x="5446" y="42895"/>
                    </a:lnTo>
                    <a:cubicBezTo>
                      <a:pt x="-2174" y="43562"/>
                      <a:pt x="-1507" y="32323"/>
                      <a:pt x="5636" y="32418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" name="Google Shape;251;p12"/>
              <p:cNvSpPr/>
              <p:nvPr/>
            </p:nvSpPr>
            <p:spPr>
              <a:xfrm>
                <a:off x="5709343" y="3692033"/>
                <a:ext cx="56693" cy="82524"/>
              </a:xfrm>
              <a:custGeom>
                <a:avLst/>
                <a:gdLst/>
                <a:ahLst/>
                <a:cxnLst/>
                <a:rect l="l" t="t" r="r" b="b"/>
                <a:pathLst>
                  <a:path w="70866" h="103155" extrusionOk="0">
                    <a:moveTo>
                      <a:pt x="45339" y="103156"/>
                    </a:moveTo>
                    <a:cubicBezTo>
                      <a:pt x="54990" y="102718"/>
                      <a:pt x="64114" y="98631"/>
                      <a:pt x="70866" y="91726"/>
                    </a:cubicBezTo>
                    <a:cubicBezTo>
                      <a:pt x="69533" y="73628"/>
                      <a:pt x="46482" y="5143"/>
                      <a:pt x="0" y="0"/>
                    </a:cubicBezTo>
                    <a:cubicBezTo>
                      <a:pt x="12463" y="8944"/>
                      <a:pt x="22324" y="21041"/>
                      <a:pt x="28575" y="35052"/>
                    </a:cubicBezTo>
                    <a:cubicBezTo>
                      <a:pt x="35880" y="57293"/>
                      <a:pt x="41484" y="80067"/>
                      <a:pt x="45339" y="1031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" name="Google Shape;252;p12"/>
              <p:cNvSpPr/>
              <p:nvPr/>
            </p:nvSpPr>
            <p:spPr>
              <a:xfrm>
                <a:off x="5551668" y="3748041"/>
                <a:ext cx="68780" cy="102654"/>
              </a:xfrm>
              <a:custGeom>
                <a:avLst/>
                <a:gdLst/>
                <a:ahLst/>
                <a:cxnLst/>
                <a:rect l="l" t="t" r="r" b="b"/>
                <a:pathLst>
                  <a:path w="85975" h="128318" extrusionOk="0">
                    <a:moveTo>
                      <a:pt x="6812" y="123589"/>
                    </a:moveTo>
                    <a:cubicBezTo>
                      <a:pt x="6812" y="123589"/>
                      <a:pt x="53008" y="139590"/>
                      <a:pt x="85584" y="112730"/>
                    </a:cubicBezTo>
                    <a:cubicBezTo>
                      <a:pt x="89203" y="106634"/>
                      <a:pt x="66534" y="27957"/>
                      <a:pt x="66534" y="27957"/>
                    </a:cubicBezTo>
                    <a:cubicBezTo>
                      <a:pt x="66534" y="27957"/>
                      <a:pt x="47484" y="-12238"/>
                      <a:pt x="16813" y="3764"/>
                    </a:cubicBezTo>
                    <a:cubicBezTo>
                      <a:pt x="-13857" y="19766"/>
                      <a:pt x="6812" y="123589"/>
                      <a:pt x="6812" y="123589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53" name="Google Shape;253;p12"/>
            <p:cNvSpPr/>
            <p:nvPr/>
          </p:nvSpPr>
          <p:spPr>
            <a:xfrm>
              <a:off x="7297552" y="1119942"/>
              <a:ext cx="135609" cy="266405"/>
            </a:xfrm>
            <a:custGeom>
              <a:avLst/>
              <a:gdLst/>
              <a:ahLst/>
              <a:cxnLst/>
              <a:rect l="l" t="t" r="r" b="b"/>
              <a:pathLst>
                <a:path w="169617" h="333215" extrusionOk="0">
                  <a:moveTo>
                    <a:pt x="97114" y="257806"/>
                  </a:moveTo>
                  <a:cubicBezTo>
                    <a:pt x="82065" y="284512"/>
                    <a:pt x="63834" y="309299"/>
                    <a:pt x="42822" y="331624"/>
                  </a:cubicBezTo>
                  <a:cubicBezTo>
                    <a:pt x="36916" y="338482"/>
                    <a:pt x="-8137" y="321242"/>
                    <a:pt x="1293" y="316384"/>
                  </a:cubicBezTo>
                  <a:cubicBezTo>
                    <a:pt x="10722" y="311527"/>
                    <a:pt x="40250" y="270283"/>
                    <a:pt x="55109" y="242851"/>
                  </a:cubicBezTo>
                  <a:cubicBezTo>
                    <a:pt x="67549" y="210057"/>
                    <a:pt x="78074" y="176568"/>
                    <a:pt x="86637" y="142553"/>
                  </a:cubicBezTo>
                  <a:cubicBezTo>
                    <a:pt x="96162" y="108930"/>
                    <a:pt x="103972" y="59590"/>
                    <a:pt x="110735" y="36349"/>
                  </a:cubicBezTo>
                  <a:cubicBezTo>
                    <a:pt x="114326" y="18843"/>
                    <a:pt x="127870" y="5080"/>
                    <a:pt x="145311" y="1202"/>
                  </a:cubicBezTo>
                  <a:cubicBezTo>
                    <a:pt x="161503" y="-2513"/>
                    <a:pt x="172076" y="1869"/>
                    <a:pt x="169123" y="21586"/>
                  </a:cubicBezTo>
                  <a:cubicBezTo>
                    <a:pt x="163885" y="56066"/>
                    <a:pt x="136929" y="189988"/>
                    <a:pt x="97114" y="25780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Google Shape;254;p12"/>
            <p:cNvSpPr/>
            <p:nvPr/>
          </p:nvSpPr>
          <p:spPr>
            <a:xfrm>
              <a:off x="7309787" y="1745656"/>
              <a:ext cx="93295" cy="72283"/>
            </a:xfrm>
            <a:custGeom>
              <a:avLst/>
              <a:gdLst/>
              <a:ahLst/>
              <a:cxnLst/>
              <a:rect l="l" t="t" r="r" b="b"/>
              <a:pathLst>
                <a:path w="116692" h="90410" extrusionOk="0">
                  <a:moveTo>
                    <a:pt x="107433" y="2"/>
                  </a:moveTo>
                  <a:cubicBezTo>
                    <a:pt x="93527" y="11337"/>
                    <a:pt x="72857" y="955"/>
                    <a:pt x="71810" y="2003"/>
                  </a:cubicBezTo>
                  <a:cubicBezTo>
                    <a:pt x="55417" y="17271"/>
                    <a:pt x="38177" y="31616"/>
                    <a:pt x="20184" y="44960"/>
                  </a:cubicBezTo>
                  <a:cubicBezTo>
                    <a:pt x="11421" y="51818"/>
                    <a:pt x="-2105" y="61057"/>
                    <a:pt x="277" y="74202"/>
                  </a:cubicBezTo>
                  <a:cubicBezTo>
                    <a:pt x="4753" y="97824"/>
                    <a:pt x="42472" y="90585"/>
                    <a:pt x="56665" y="83727"/>
                  </a:cubicBezTo>
                  <a:cubicBezTo>
                    <a:pt x="70857" y="76869"/>
                    <a:pt x="82573" y="64677"/>
                    <a:pt x="96003" y="56200"/>
                  </a:cubicBezTo>
                  <a:cubicBezTo>
                    <a:pt x="105528" y="50199"/>
                    <a:pt x="115053" y="47151"/>
                    <a:pt x="116577" y="34959"/>
                  </a:cubicBezTo>
                  <a:cubicBezTo>
                    <a:pt x="117720" y="27244"/>
                    <a:pt x="110100" y="-284"/>
                    <a:pt x="107433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Google Shape;255;p12"/>
            <p:cNvSpPr/>
            <p:nvPr/>
          </p:nvSpPr>
          <p:spPr>
            <a:xfrm>
              <a:off x="7310617" y="1769417"/>
              <a:ext cx="92899" cy="48456"/>
            </a:xfrm>
            <a:custGeom>
              <a:avLst/>
              <a:gdLst/>
              <a:ahLst/>
              <a:cxnLst/>
              <a:rect l="l" t="t" r="r" b="b"/>
              <a:pathLst>
                <a:path w="116196" h="60608" extrusionOk="0">
                  <a:moveTo>
                    <a:pt x="115919" y="0"/>
                  </a:moveTo>
                  <a:cubicBezTo>
                    <a:pt x="114110" y="11621"/>
                    <a:pt x="104775" y="14764"/>
                    <a:pt x="95250" y="20765"/>
                  </a:cubicBezTo>
                  <a:cubicBezTo>
                    <a:pt x="81534" y="29242"/>
                    <a:pt x="69437" y="41529"/>
                    <a:pt x="55245" y="48673"/>
                  </a:cubicBezTo>
                  <a:cubicBezTo>
                    <a:pt x="41053" y="55817"/>
                    <a:pt x="9239" y="62008"/>
                    <a:pt x="0" y="45149"/>
                  </a:cubicBezTo>
                  <a:cubicBezTo>
                    <a:pt x="5048" y="67913"/>
                    <a:pt x="42101" y="60770"/>
                    <a:pt x="56198" y="53626"/>
                  </a:cubicBezTo>
                  <a:cubicBezTo>
                    <a:pt x="70295" y="46482"/>
                    <a:pt x="82106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272" y="3239"/>
                    <a:pt x="116205" y="160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12"/>
            <p:cNvSpPr/>
            <p:nvPr/>
          </p:nvSpPr>
          <p:spPr>
            <a:xfrm>
              <a:off x="7197828" y="1680648"/>
              <a:ext cx="93274" cy="69610"/>
            </a:xfrm>
            <a:custGeom>
              <a:avLst/>
              <a:gdLst/>
              <a:ahLst/>
              <a:cxnLst/>
              <a:rect l="l" t="t" r="r" b="b"/>
              <a:pathLst>
                <a:path w="116665" h="87067" extrusionOk="0">
                  <a:moveTo>
                    <a:pt x="105833" y="64"/>
                  </a:moveTo>
                  <a:cubicBezTo>
                    <a:pt x="91831" y="11398"/>
                    <a:pt x="67733" y="-984"/>
                    <a:pt x="66305" y="64"/>
                  </a:cubicBezTo>
                  <a:cubicBezTo>
                    <a:pt x="51722" y="14780"/>
                    <a:pt x="36329" y="28677"/>
                    <a:pt x="20204" y="41688"/>
                  </a:cubicBezTo>
                  <a:cubicBezTo>
                    <a:pt x="11440" y="48546"/>
                    <a:pt x="-2180" y="57690"/>
                    <a:pt x="296" y="70930"/>
                  </a:cubicBezTo>
                  <a:cubicBezTo>
                    <a:pt x="4678" y="94456"/>
                    <a:pt x="42492" y="87217"/>
                    <a:pt x="56684" y="80455"/>
                  </a:cubicBezTo>
                  <a:cubicBezTo>
                    <a:pt x="70876" y="73692"/>
                    <a:pt x="82592" y="61405"/>
                    <a:pt x="96022" y="52927"/>
                  </a:cubicBezTo>
                  <a:cubicBezTo>
                    <a:pt x="105547" y="47022"/>
                    <a:pt x="115072" y="43879"/>
                    <a:pt x="116597" y="31782"/>
                  </a:cubicBezTo>
                  <a:cubicBezTo>
                    <a:pt x="117549" y="23495"/>
                    <a:pt x="108310" y="-698"/>
                    <a:pt x="105833" y="6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12"/>
            <p:cNvSpPr/>
            <p:nvPr/>
          </p:nvSpPr>
          <p:spPr>
            <a:xfrm>
              <a:off x="7198064" y="1702707"/>
              <a:ext cx="92850" cy="48456"/>
            </a:xfrm>
            <a:custGeom>
              <a:avLst/>
              <a:gdLst/>
              <a:ahLst/>
              <a:cxnLst/>
              <a:rect l="l" t="t" r="r" b="b"/>
              <a:pathLst>
                <a:path w="116135" h="60608" extrusionOk="0">
                  <a:moveTo>
                    <a:pt x="115919" y="0"/>
                  </a:moveTo>
                  <a:cubicBezTo>
                    <a:pt x="114014" y="11621"/>
                    <a:pt x="104680" y="14764"/>
                    <a:pt x="95155" y="20765"/>
                  </a:cubicBezTo>
                  <a:cubicBezTo>
                    <a:pt x="81439" y="29242"/>
                    <a:pt x="69437" y="41529"/>
                    <a:pt x="55150" y="48673"/>
                  </a:cubicBezTo>
                  <a:cubicBezTo>
                    <a:pt x="40862" y="55817"/>
                    <a:pt x="9239" y="62008"/>
                    <a:pt x="0" y="45149"/>
                  </a:cubicBezTo>
                  <a:cubicBezTo>
                    <a:pt x="4953" y="67913"/>
                    <a:pt x="42101" y="60770"/>
                    <a:pt x="56198" y="53626"/>
                  </a:cubicBezTo>
                  <a:cubicBezTo>
                    <a:pt x="70295" y="46482"/>
                    <a:pt x="82010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177" y="3238"/>
                    <a:pt x="116110" y="161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12"/>
            <p:cNvSpPr/>
            <p:nvPr/>
          </p:nvSpPr>
          <p:spPr>
            <a:xfrm>
              <a:off x="7221254" y="1360384"/>
              <a:ext cx="326700" cy="394943"/>
            </a:xfrm>
            <a:custGeom>
              <a:avLst/>
              <a:gdLst/>
              <a:ahLst/>
              <a:cxnLst/>
              <a:rect l="l" t="t" r="r" b="b"/>
              <a:pathLst>
                <a:path w="408631" h="493987" extrusionOk="0">
                  <a:moveTo>
                    <a:pt x="405429" y="33455"/>
                  </a:moveTo>
                  <a:cubicBezTo>
                    <a:pt x="420955" y="130325"/>
                    <a:pt x="377902" y="166805"/>
                    <a:pt x="321990" y="187094"/>
                  </a:cubicBezTo>
                  <a:cubicBezTo>
                    <a:pt x="281890" y="201857"/>
                    <a:pt x="224264" y="224622"/>
                    <a:pt x="224264" y="224622"/>
                  </a:cubicBezTo>
                  <a:cubicBezTo>
                    <a:pt x="224264" y="224622"/>
                    <a:pt x="225121" y="245863"/>
                    <a:pt x="225502" y="293583"/>
                  </a:cubicBezTo>
                  <a:cubicBezTo>
                    <a:pt x="225978" y="335588"/>
                    <a:pt x="220359" y="489036"/>
                    <a:pt x="220359" y="489036"/>
                  </a:cubicBezTo>
                  <a:cubicBezTo>
                    <a:pt x="206862" y="495799"/>
                    <a:pt x="190936" y="495627"/>
                    <a:pt x="177591" y="488560"/>
                  </a:cubicBezTo>
                  <a:cubicBezTo>
                    <a:pt x="177591" y="488560"/>
                    <a:pt x="155017" y="371021"/>
                    <a:pt x="150255" y="318062"/>
                  </a:cubicBezTo>
                  <a:cubicBezTo>
                    <a:pt x="143778" y="246149"/>
                    <a:pt x="132729" y="199095"/>
                    <a:pt x="136348" y="183665"/>
                  </a:cubicBezTo>
                  <a:cubicBezTo>
                    <a:pt x="139587" y="170044"/>
                    <a:pt x="218168" y="131372"/>
                    <a:pt x="243123" y="110703"/>
                  </a:cubicBezTo>
                  <a:lnTo>
                    <a:pt x="78531" y="165853"/>
                  </a:lnTo>
                  <a:cubicBezTo>
                    <a:pt x="81789" y="183703"/>
                    <a:pt x="83380" y="201810"/>
                    <a:pt x="83294" y="219955"/>
                  </a:cubicBezTo>
                  <a:cubicBezTo>
                    <a:pt x="81770" y="277105"/>
                    <a:pt x="78627" y="400453"/>
                    <a:pt x="78627" y="400453"/>
                  </a:cubicBezTo>
                  <a:cubicBezTo>
                    <a:pt x="78627" y="400453"/>
                    <a:pt x="56053" y="416741"/>
                    <a:pt x="36812" y="400453"/>
                  </a:cubicBezTo>
                  <a:cubicBezTo>
                    <a:pt x="36812" y="400453"/>
                    <a:pt x="-4622" y="156137"/>
                    <a:pt x="427" y="124229"/>
                  </a:cubicBezTo>
                  <a:cubicBezTo>
                    <a:pt x="5189" y="93558"/>
                    <a:pt x="150255" y="30788"/>
                    <a:pt x="175782" y="9167"/>
                  </a:cubicBezTo>
                  <a:cubicBezTo>
                    <a:pt x="184802" y="1843"/>
                    <a:pt x="196499" y="-1308"/>
                    <a:pt x="207976" y="49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12"/>
            <p:cNvSpPr/>
            <p:nvPr/>
          </p:nvSpPr>
          <p:spPr>
            <a:xfrm>
              <a:off x="7417903" y="1095544"/>
              <a:ext cx="102781" cy="99997"/>
            </a:xfrm>
            <a:custGeom>
              <a:avLst/>
              <a:gdLst/>
              <a:ahLst/>
              <a:cxnLst/>
              <a:rect l="l" t="t" r="r" b="b"/>
              <a:pathLst>
                <a:path w="128556" h="125075" extrusionOk="0">
                  <a:moveTo>
                    <a:pt x="102220" y="0"/>
                  </a:moveTo>
                  <a:cubicBezTo>
                    <a:pt x="102220" y="0"/>
                    <a:pt x="99838" y="46196"/>
                    <a:pt x="100886" y="50292"/>
                  </a:cubicBezTo>
                  <a:cubicBezTo>
                    <a:pt x="101934" y="54388"/>
                    <a:pt x="122032" y="67913"/>
                    <a:pt x="127937" y="72676"/>
                  </a:cubicBezTo>
                  <a:cubicBezTo>
                    <a:pt x="133843" y="77438"/>
                    <a:pt x="96029" y="114776"/>
                    <a:pt x="77645" y="123253"/>
                  </a:cubicBezTo>
                  <a:cubicBezTo>
                    <a:pt x="59262" y="131731"/>
                    <a:pt x="1445" y="109442"/>
                    <a:pt x="112" y="80867"/>
                  </a:cubicBezTo>
                  <a:cubicBezTo>
                    <a:pt x="-1222" y="52292"/>
                    <a:pt x="9637" y="28289"/>
                    <a:pt x="19162" y="27051"/>
                  </a:cubicBezTo>
                  <a:cubicBezTo>
                    <a:pt x="28687" y="25813"/>
                    <a:pt x="102220" y="0"/>
                    <a:pt x="10222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60;p12"/>
            <p:cNvSpPr/>
            <p:nvPr/>
          </p:nvSpPr>
          <p:spPr>
            <a:xfrm>
              <a:off x="7381720" y="1109556"/>
              <a:ext cx="166775" cy="325513"/>
            </a:xfrm>
            <a:custGeom>
              <a:avLst/>
              <a:gdLst/>
              <a:ahLst/>
              <a:cxnLst/>
              <a:rect l="l" t="t" r="r" b="b"/>
              <a:pathLst>
                <a:path w="208599" h="407146" extrusionOk="0">
                  <a:moveTo>
                    <a:pt x="152620" y="40673"/>
                  </a:moveTo>
                  <a:cubicBezTo>
                    <a:pt x="152620" y="40673"/>
                    <a:pt x="119187" y="90584"/>
                    <a:pt x="72419" y="95251"/>
                  </a:cubicBezTo>
                  <a:cubicBezTo>
                    <a:pt x="57751" y="80773"/>
                    <a:pt x="56417" y="28576"/>
                    <a:pt x="76801" y="12574"/>
                  </a:cubicBezTo>
                  <a:cubicBezTo>
                    <a:pt x="76801" y="12574"/>
                    <a:pt x="57751" y="-2571"/>
                    <a:pt x="45178" y="382"/>
                  </a:cubicBezTo>
                  <a:cubicBezTo>
                    <a:pt x="31481" y="8783"/>
                    <a:pt x="21327" y="21888"/>
                    <a:pt x="16603" y="37244"/>
                  </a:cubicBezTo>
                  <a:cubicBezTo>
                    <a:pt x="4658" y="71536"/>
                    <a:pt x="-923" y="107721"/>
                    <a:pt x="124" y="144019"/>
                  </a:cubicBezTo>
                  <a:cubicBezTo>
                    <a:pt x="886" y="192977"/>
                    <a:pt x="124" y="316707"/>
                    <a:pt x="124" y="316707"/>
                  </a:cubicBezTo>
                  <a:cubicBezTo>
                    <a:pt x="5620" y="346271"/>
                    <a:pt x="23556" y="372047"/>
                    <a:pt x="49369" y="387478"/>
                  </a:cubicBezTo>
                  <a:cubicBezTo>
                    <a:pt x="83068" y="406490"/>
                    <a:pt x="122740" y="411976"/>
                    <a:pt x="160335" y="402813"/>
                  </a:cubicBezTo>
                  <a:cubicBezTo>
                    <a:pt x="183957" y="397289"/>
                    <a:pt x="192720" y="383763"/>
                    <a:pt x="200911" y="366904"/>
                  </a:cubicBezTo>
                  <a:cubicBezTo>
                    <a:pt x="198816" y="332614"/>
                    <a:pt x="185195" y="262129"/>
                    <a:pt x="190910" y="218790"/>
                  </a:cubicBezTo>
                  <a:cubicBezTo>
                    <a:pt x="196625" y="175451"/>
                    <a:pt x="205769" y="143447"/>
                    <a:pt x="208150" y="108586"/>
                  </a:cubicBezTo>
                  <a:cubicBezTo>
                    <a:pt x="210532" y="73724"/>
                    <a:pt x="203483" y="74391"/>
                    <a:pt x="186052" y="62009"/>
                  </a:cubicBezTo>
                  <a:cubicBezTo>
                    <a:pt x="175442" y="54092"/>
                    <a:pt x="164269" y="46962"/>
                    <a:pt x="152620" y="4067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61;p12"/>
            <p:cNvSpPr/>
            <p:nvPr/>
          </p:nvSpPr>
          <p:spPr>
            <a:xfrm>
              <a:off x="7413797" y="991818"/>
              <a:ext cx="110760" cy="134864"/>
            </a:xfrm>
            <a:custGeom>
              <a:avLst/>
              <a:gdLst/>
              <a:ahLst/>
              <a:cxnLst/>
              <a:rect l="l" t="t" r="r" b="b"/>
              <a:pathLst>
                <a:path w="138537" h="168686" extrusionOk="0">
                  <a:moveTo>
                    <a:pt x="2962" y="60969"/>
                  </a:moveTo>
                  <a:lnTo>
                    <a:pt x="2962" y="60969"/>
                  </a:lnTo>
                  <a:cubicBezTo>
                    <a:pt x="8486" y="25155"/>
                    <a:pt x="34204" y="-1896"/>
                    <a:pt x="71161" y="104"/>
                  </a:cubicBezTo>
                  <a:cubicBezTo>
                    <a:pt x="110299" y="2083"/>
                    <a:pt x="140427" y="35416"/>
                    <a:pt x="138445" y="74557"/>
                  </a:cubicBezTo>
                  <a:cubicBezTo>
                    <a:pt x="137321" y="96813"/>
                    <a:pt x="125806" y="117248"/>
                    <a:pt x="107356" y="129739"/>
                  </a:cubicBezTo>
                  <a:cubicBezTo>
                    <a:pt x="106032" y="135172"/>
                    <a:pt x="104117" y="140443"/>
                    <a:pt x="101641" y="145456"/>
                  </a:cubicBezTo>
                  <a:cubicBezTo>
                    <a:pt x="88592" y="160696"/>
                    <a:pt x="49063" y="170125"/>
                    <a:pt x="37728" y="168506"/>
                  </a:cubicBezTo>
                  <a:cubicBezTo>
                    <a:pt x="23907" y="167251"/>
                    <a:pt x="12249" y="157706"/>
                    <a:pt x="8296" y="144408"/>
                  </a:cubicBezTo>
                  <a:cubicBezTo>
                    <a:pt x="-3610" y="116309"/>
                    <a:pt x="-86" y="78685"/>
                    <a:pt x="2962" y="6096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12"/>
            <p:cNvSpPr/>
            <p:nvPr/>
          </p:nvSpPr>
          <p:spPr>
            <a:xfrm>
              <a:off x="7417935" y="980032"/>
              <a:ext cx="116886" cy="115512"/>
            </a:xfrm>
            <a:custGeom>
              <a:avLst/>
              <a:gdLst/>
              <a:ahLst/>
              <a:cxnLst/>
              <a:rect l="l" t="t" r="r" b="b"/>
              <a:pathLst>
                <a:path w="146199" h="144480" extrusionOk="0">
                  <a:moveTo>
                    <a:pt x="102179" y="144481"/>
                  </a:moveTo>
                  <a:lnTo>
                    <a:pt x="102179" y="144481"/>
                  </a:lnTo>
                  <a:lnTo>
                    <a:pt x="98750" y="113239"/>
                  </a:lnTo>
                  <a:cubicBezTo>
                    <a:pt x="98750" y="113239"/>
                    <a:pt x="124277" y="47135"/>
                    <a:pt x="63984" y="59899"/>
                  </a:cubicBezTo>
                  <a:cubicBezTo>
                    <a:pt x="24169" y="68281"/>
                    <a:pt x="14168" y="71900"/>
                    <a:pt x="2072" y="45135"/>
                  </a:cubicBezTo>
                  <a:cubicBezTo>
                    <a:pt x="-10025" y="18370"/>
                    <a:pt x="32647" y="-5538"/>
                    <a:pt x="83415" y="1129"/>
                  </a:cubicBezTo>
                  <a:cubicBezTo>
                    <a:pt x="119648" y="4934"/>
                    <a:pt x="146928" y="35857"/>
                    <a:pt x="146185" y="72281"/>
                  </a:cubicBezTo>
                  <a:cubicBezTo>
                    <a:pt x="144851" y="91903"/>
                    <a:pt x="139612" y="131717"/>
                    <a:pt x="102179" y="14448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63;p12"/>
            <p:cNvSpPr/>
            <p:nvPr/>
          </p:nvSpPr>
          <p:spPr>
            <a:xfrm>
              <a:off x="7364000" y="1109861"/>
              <a:ext cx="53839" cy="78361"/>
            </a:xfrm>
            <a:custGeom>
              <a:avLst/>
              <a:gdLst/>
              <a:ahLst/>
              <a:cxnLst/>
              <a:rect l="l" t="t" r="r" b="b"/>
              <a:pathLst>
                <a:path w="67341" h="98012" extrusionOk="0">
                  <a:moveTo>
                    <a:pt x="24289" y="98012"/>
                  </a:moveTo>
                  <a:cubicBezTo>
                    <a:pt x="15097" y="97573"/>
                    <a:pt x="6410" y="93657"/>
                    <a:pt x="0" y="87058"/>
                  </a:cubicBezTo>
                  <a:cubicBezTo>
                    <a:pt x="1334" y="70009"/>
                    <a:pt x="23241" y="4858"/>
                    <a:pt x="67342" y="0"/>
                  </a:cubicBezTo>
                  <a:cubicBezTo>
                    <a:pt x="55350" y="8451"/>
                    <a:pt x="45844" y="19962"/>
                    <a:pt x="39814" y="33338"/>
                  </a:cubicBezTo>
                  <a:cubicBezTo>
                    <a:pt x="32994" y="54469"/>
                    <a:pt x="27813" y="76090"/>
                    <a:pt x="24289" y="9801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64;p12"/>
            <p:cNvSpPr/>
            <p:nvPr/>
          </p:nvSpPr>
          <p:spPr>
            <a:xfrm>
              <a:off x="7794459" y="3551002"/>
              <a:ext cx="540508" cy="312148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65;p12"/>
            <p:cNvSpPr/>
            <p:nvPr/>
          </p:nvSpPr>
          <p:spPr>
            <a:xfrm>
              <a:off x="7824798" y="3491907"/>
              <a:ext cx="469764" cy="181297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66;p12"/>
            <p:cNvSpPr/>
            <p:nvPr/>
          </p:nvSpPr>
          <p:spPr>
            <a:xfrm>
              <a:off x="7794490" y="3623727"/>
              <a:ext cx="41046" cy="82625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67;p12"/>
            <p:cNvSpPr/>
            <p:nvPr/>
          </p:nvSpPr>
          <p:spPr>
            <a:xfrm>
              <a:off x="8298847" y="3624184"/>
              <a:ext cx="36096" cy="82168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68;p12"/>
            <p:cNvSpPr/>
            <p:nvPr/>
          </p:nvSpPr>
          <p:spPr>
            <a:xfrm>
              <a:off x="7842237" y="3535238"/>
              <a:ext cx="449908" cy="259679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69;p12"/>
            <p:cNvSpPr/>
            <p:nvPr/>
          </p:nvSpPr>
          <p:spPr>
            <a:xfrm>
              <a:off x="7815050" y="3673683"/>
              <a:ext cx="491482" cy="17632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70;p12"/>
            <p:cNvSpPr/>
            <p:nvPr/>
          </p:nvSpPr>
          <p:spPr>
            <a:xfrm>
              <a:off x="7794490" y="3472184"/>
              <a:ext cx="540453" cy="312196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71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72;p12"/>
            <p:cNvSpPr/>
            <p:nvPr/>
          </p:nvSpPr>
          <p:spPr>
            <a:xfrm>
              <a:off x="7752377" y="3752957"/>
              <a:ext cx="148877" cy="85976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73;p12"/>
            <p:cNvSpPr/>
            <p:nvPr/>
          </p:nvSpPr>
          <p:spPr>
            <a:xfrm>
              <a:off x="7787483" y="3773138"/>
              <a:ext cx="113771" cy="106232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74;p12"/>
            <p:cNvSpPr/>
            <p:nvPr/>
          </p:nvSpPr>
          <p:spPr>
            <a:xfrm>
              <a:off x="7465892" y="3799784"/>
              <a:ext cx="344817" cy="254127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75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76;p12"/>
            <p:cNvSpPr/>
            <p:nvPr/>
          </p:nvSpPr>
          <p:spPr>
            <a:xfrm>
              <a:off x="8113340" y="4275363"/>
              <a:ext cx="345579" cy="199519"/>
            </a:xfrm>
            <a:custGeom>
              <a:avLst/>
              <a:gdLst/>
              <a:ahLst/>
              <a:cxnLst/>
              <a:rect l="l" t="t" r="r" b="b"/>
              <a:pathLst>
                <a:path w="432244" h="249555" extrusionOk="0">
                  <a:moveTo>
                    <a:pt x="432244" y="124778"/>
                  </a:moveTo>
                  <a:cubicBezTo>
                    <a:pt x="432244" y="193690"/>
                    <a:pt x="335483" y="249555"/>
                    <a:pt x="216122" y="249555"/>
                  </a:cubicBezTo>
                  <a:cubicBezTo>
                    <a:pt x="96761" y="249555"/>
                    <a:pt x="0" y="193690"/>
                    <a:pt x="0" y="124778"/>
                  </a:cubicBezTo>
                  <a:cubicBezTo>
                    <a:pt x="0" y="55865"/>
                    <a:pt x="96761" y="0"/>
                    <a:pt x="216122" y="0"/>
                  </a:cubicBezTo>
                  <a:cubicBezTo>
                    <a:pt x="335483" y="0"/>
                    <a:pt x="432244" y="55865"/>
                    <a:pt x="432244" y="12477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12"/>
            <p:cNvSpPr/>
            <p:nvPr/>
          </p:nvSpPr>
          <p:spPr>
            <a:xfrm>
              <a:off x="8345604" y="3658605"/>
              <a:ext cx="79241" cy="172485"/>
            </a:xfrm>
            <a:custGeom>
              <a:avLst/>
              <a:gdLst/>
              <a:ahLst/>
              <a:cxnLst/>
              <a:rect l="l" t="t" r="r" b="b"/>
              <a:pathLst>
                <a:path w="99113" h="215741" extrusionOk="0">
                  <a:moveTo>
                    <a:pt x="77248" y="0"/>
                  </a:moveTo>
                  <a:cubicBezTo>
                    <a:pt x="79534" y="20098"/>
                    <a:pt x="103537" y="106775"/>
                    <a:pt x="98393" y="136398"/>
                  </a:cubicBezTo>
                  <a:cubicBezTo>
                    <a:pt x="93250" y="166021"/>
                    <a:pt x="11335" y="215741"/>
                    <a:pt x="11335" y="215741"/>
                  </a:cubicBezTo>
                  <a:lnTo>
                    <a:pt x="0" y="164973"/>
                  </a:lnTo>
                  <a:lnTo>
                    <a:pt x="45339" y="120491"/>
                  </a:lnTo>
                  <a:lnTo>
                    <a:pt x="33052" y="363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12"/>
            <p:cNvSpPr/>
            <p:nvPr/>
          </p:nvSpPr>
          <p:spPr>
            <a:xfrm>
              <a:off x="8356722" y="3587657"/>
              <a:ext cx="56961" cy="109603"/>
            </a:xfrm>
            <a:custGeom>
              <a:avLst/>
              <a:gdLst/>
              <a:ahLst/>
              <a:cxnLst/>
              <a:rect l="l" t="t" r="r" b="b"/>
              <a:pathLst>
                <a:path w="71246" h="137090" extrusionOk="0">
                  <a:moveTo>
                    <a:pt x="0" y="3302"/>
                  </a:moveTo>
                  <a:cubicBezTo>
                    <a:pt x="16516" y="-4309"/>
                    <a:pt x="36109" y="1625"/>
                    <a:pt x="45625" y="17113"/>
                  </a:cubicBezTo>
                  <a:cubicBezTo>
                    <a:pt x="57626" y="37020"/>
                    <a:pt x="70104" y="105505"/>
                    <a:pt x="71247" y="117125"/>
                  </a:cubicBezTo>
                  <a:cubicBezTo>
                    <a:pt x="71247" y="117125"/>
                    <a:pt x="54388" y="140557"/>
                    <a:pt x="29051" y="1366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12"/>
            <p:cNvSpPr/>
            <p:nvPr/>
          </p:nvSpPr>
          <p:spPr>
            <a:xfrm>
              <a:off x="8165307" y="4346248"/>
              <a:ext cx="122882" cy="68919"/>
            </a:xfrm>
            <a:custGeom>
              <a:avLst/>
              <a:gdLst/>
              <a:ahLst/>
              <a:cxnLst/>
              <a:rect l="l" t="t" r="r" b="b"/>
              <a:pathLst>
                <a:path w="153698" h="86203" extrusionOk="0">
                  <a:moveTo>
                    <a:pt x="145884" y="20876"/>
                  </a:moveTo>
                  <a:cubicBezTo>
                    <a:pt x="128063" y="25743"/>
                    <a:pt x="109051" y="23409"/>
                    <a:pt x="92925" y="14399"/>
                  </a:cubicBezTo>
                  <a:cubicBezTo>
                    <a:pt x="80162" y="14399"/>
                    <a:pt x="10820" y="-14843"/>
                    <a:pt x="1390" y="10017"/>
                  </a:cubicBezTo>
                  <a:cubicBezTo>
                    <a:pt x="-6802" y="31925"/>
                    <a:pt x="23202" y="52118"/>
                    <a:pt x="39490" y="55928"/>
                  </a:cubicBezTo>
                  <a:cubicBezTo>
                    <a:pt x="74542" y="64405"/>
                    <a:pt x="100355" y="81931"/>
                    <a:pt x="114451" y="84503"/>
                  </a:cubicBezTo>
                  <a:cubicBezTo>
                    <a:pt x="124929" y="86694"/>
                    <a:pt x="138455" y="88122"/>
                    <a:pt x="146837" y="79931"/>
                  </a:cubicBezTo>
                  <a:cubicBezTo>
                    <a:pt x="156552" y="70406"/>
                    <a:pt x="155695" y="33830"/>
                    <a:pt x="145884" y="20876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12"/>
            <p:cNvSpPr/>
            <p:nvPr/>
          </p:nvSpPr>
          <p:spPr>
            <a:xfrm>
              <a:off x="8165313" y="4357988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103"/>
                  </a:moveTo>
                  <a:cubicBezTo>
                    <a:pt x="100059" y="61150"/>
                    <a:pt x="74246" y="43720"/>
                    <a:pt x="39195" y="35528"/>
                  </a:cubicBezTo>
                  <a:cubicBezTo>
                    <a:pt x="25764" y="32290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246" y="50006"/>
                    <a:pt x="100059" y="67532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9" y="65161"/>
                    <a:pt x="126882" y="67742"/>
                    <a:pt x="114156" y="6410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12"/>
            <p:cNvSpPr/>
            <p:nvPr/>
          </p:nvSpPr>
          <p:spPr>
            <a:xfrm>
              <a:off x="8255166" y="4305930"/>
              <a:ext cx="122882" cy="68953"/>
            </a:xfrm>
            <a:custGeom>
              <a:avLst/>
              <a:gdLst/>
              <a:ahLst/>
              <a:cxnLst/>
              <a:rect l="l" t="t" r="r" b="b"/>
              <a:pathLst>
                <a:path w="153698" h="86245" extrusionOk="0">
                  <a:moveTo>
                    <a:pt x="145884" y="20822"/>
                  </a:moveTo>
                  <a:cubicBezTo>
                    <a:pt x="128082" y="25766"/>
                    <a:pt x="109041" y="23470"/>
                    <a:pt x="92925" y="14441"/>
                  </a:cubicBezTo>
                  <a:cubicBezTo>
                    <a:pt x="80162" y="14441"/>
                    <a:pt x="10820" y="-14896"/>
                    <a:pt x="1390" y="10059"/>
                  </a:cubicBezTo>
                  <a:cubicBezTo>
                    <a:pt x="-6802" y="31871"/>
                    <a:pt x="23202" y="52064"/>
                    <a:pt x="39490" y="55969"/>
                  </a:cubicBezTo>
                  <a:cubicBezTo>
                    <a:pt x="74446" y="64447"/>
                    <a:pt x="100354" y="81877"/>
                    <a:pt x="114452" y="84544"/>
                  </a:cubicBezTo>
                  <a:cubicBezTo>
                    <a:pt x="124929" y="86735"/>
                    <a:pt x="138454" y="88164"/>
                    <a:pt x="146837" y="79973"/>
                  </a:cubicBezTo>
                  <a:cubicBezTo>
                    <a:pt x="156552" y="70352"/>
                    <a:pt x="155695" y="33776"/>
                    <a:pt x="145884" y="2082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12"/>
            <p:cNvSpPr/>
            <p:nvPr/>
          </p:nvSpPr>
          <p:spPr>
            <a:xfrm>
              <a:off x="8255174" y="4317703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008"/>
                  </a:moveTo>
                  <a:cubicBezTo>
                    <a:pt x="100059" y="61055"/>
                    <a:pt x="74151" y="43624"/>
                    <a:pt x="39195" y="35433"/>
                  </a:cubicBezTo>
                  <a:cubicBezTo>
                    <a:pt x="25764" y="32195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151" y="50006"/>
                    <a:pt x="100059" y="67437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8" y="65170"/>
                    <a:pt x="126862" y="67713"/>
                    <a:pt x="114156" y="64008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83;p12"/>
            <p:cNvSpPr/>
            <p:nvPr/>
          </p:nvSpPr>
          <p:spPr>
            <a:xfrm>
              <a:off x="8198325" y="3858200"/>
              <a:ext cx="179678" cy="507212"/>
            </a:xfrm>
            <a:custGeom>
              <a:avLst/>
              <a:gdLst/>
              <a:ahLst/>
              <a:cxnLst/>
              <a:rect l="l" t="t" r="r" b="b"/>
              <a:pathLst>
                <a:path w="224738" h="634412" extrusionOk="0">
                  <a:moveTo>
                    <a:pt x="218313" y="392525"/>
                  </a:moveTo>
                  <a:cubicBezTo>
                    <a:pt x="215360" y="366693"/>
                    <a:pt x="210036" y="341186"/>
                    <a:pt x="202406" y="316325"/>
                  </a:cubicBezTo>
                  <a:cubicBezTo>
                    <a:pt x="202406" y="316325"/>
                    <a:pt x="207169" y="250793"/>
                    <a:pt x="209550" y="188690"/>
                  </a:cubicBezTo>
                  <a:cubicBezTo>
                    <a:pt x="212217" y="118205"/>
                    <a:pt x="236696" y="56197"/>
                    <a:pt x="217361" y="0"/>
                  </a:cubicBezTo>
                  <a:lnTo>
                    <a:pt x="0" y="48292"/>
                  </a:lnTo>
                  <a:cubicBezTo>
                    <a:pt x="0" y="48292"/>
                    <a:pt x="13145" y="329279"/>
                    <a:pt x="16002" y="363283"/>
                  </a:cubicBezTo>
                  <a:cubicBezTo>
                    <a:pt x="17536" y="389744"/>
                    <a:pt x="20717" y="416080"/>
                    <a:pt x="25527" y="442150"/>
                  </a:cubicBezTo>
                  <a:cubicBezTo>
                    <a:pt x="35052" y="496729"/>
                    <a:pt x="51530" y="626459"/>
                    <a:pt x="51530" y="626459"/>
                  </a:cubicBezTo>
                  <a:cubicBezTo>
                    <a:pt x="68075" y="634374"/>
                    <a:pt x="86801" y="636461"/>
                    <a:pt x="104680" y="632365"/>
                  </a:cubicBezTo>
                  <a:cubicBezTo>
                    <a:pt x="104680" y="632365"/>
                    <a:pt x="103061" y="468344"/>
                    <a:pt x="101537" y="429006"/>
                  </a:cubicBezTo>
                  <a:cubicBezTo>
                    <a:pt x="99727" y="381381"/>
                    <a:pt x="98298" y="384715"/>
                    <a:pt x="98298" y="384715"/>
                  </a:cubicBezTo>
                  <a:lnTo>
                    <a:pt x="105537" y="265176"/>
                  </a:lnTo>
                  <a:lnTo>
                    <a:pt x="110204" y="205740"/>
                  </a:lnTo>
                  <a:cubicBezTo>
                    <a:pt x="110204" y="205740"/>
                    <a:pt x="116205" y="249364"/>
                    <a:pt x="119729" y="288322"/>
                  </a:cubicBezTo>
                  <a:cubicBezTo>
                    <a:pt x="123158" y="322326"/>
                    <a:pt x="131350" y="353092"/>
                    <a:pt x="140494" y="416338"/>
                  </a:cubicBezTo>
                  <a:cubicBezTo>
                    <a:pt x="148495" y="471202"/>
                    <a:pt x="161354" y="581501"/>
                    <a:pt x="161354" y="581501"/>
                  </a:cubicBezTo>
                  <a:cubicBezTo>
                    <a:pt x="184404" y="594836"/>
                    <a:pt x="215551" y="583787"/>
                    <a:pt x="215551" y="583787"/>
                  </a:cubicBezTo>
                  <a:cubicBezTo>
                    <a:pt x="215551" y="583787"/>
                    <a:pt x="224790" y="440150"/>
                    <a:pt x="218313" y="39252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84;p12"/>
            <p:cNvSpPr/>
            <p:nvPr/>
          </p:nvSpPr>
          <p:spPr>
            <a:xfrm>
              <a:off x="8224549" y="3442293"/>
              <a:ext cx="130417" cy="208730"/>
            </a:xfrm>
            <a:custGeom>
              <a:avLst/>
              <a:gdLst/>
              <a:ahLst/>
              <a:cxnLst/>
              <a:rect l="l" t="t" r="r" b="b"/>
              <a:pathLst>
                <a:path w="163123" h="261076" extrusionOk="0">
                  <a:moveTo>
                    <a:pt x="153890" y="186263"/>
                  </a:moveTo>
                  <a:cubicBezTo>
                    <a:pt x="137316" y="187120"/>
                    <a:pt x="125315" y="191406"/>
                    <a:pt x="122934" y="186263"/>
                  </a:cubicBezTo>
                  <a:cubicBezTo>
                    <a:pt x="121190" y="177738"/>
                    <a:pt x="119914" y="169117"/>
                    <a:pt x="119124" y="160450"/>
                  </a:cubicBezTo>
                  <a:cubicBezTo>
                    <a:pt x="121028" y="155592"/>
                    <a:pt x="122743" y="150449"/>
                    <a:pt x="122743" y="150449"/>
                  </a:cubicBezTo>
                  <a:cubicBezTo>
                    <a:pt x="143508" y="137685"/>
                    <a:pt x="150080" y="115206"/>
                    <a:pt x="152842" y="89012"/>
                  </a:cubicBezTo>
                  <a:cubicBezTo>
                    <a:pt x="157509" y="44245"/>
                    <a:pt x="133316" y="5097"/>
                    <a:pt x="88548" y="430"/>
                  </a:cubicBezTo>
                  <a:cubicBezTo>
                    <a:pt x="46543" y="-3952"/>
                    <a:pt x="15587" y="25671"/>
                    <a:pt x="7300" y="66248"/>
                  </a:cubicBezTo>
                  <a:cubicBezTo>
                    <a:pt x="2918" y="86250"/>
                    <a:pt x="-5940" y="124064"/>
                    <a:pt x="5967" y="157021"/>
                  </a:cubicBezTo>
                  <a:cubicBezTo>
                    <a:pt x="12729" y="175499"/>
                    <a:pt x="21302" y="190073"/>
                    <a:pt x="29969" y="192930"/>
                  </a:cubicBezTo>
                  <a:cubicBezTo>
                    <a:pt x="38294" y="192740"/>
                    <a:pt x="46600" y="192006"/>
                    <a:pt x="54830" y="190739"/>
                  </a:cubicBezTo>
                  <a:lnTo>
                    <a:pt x="54830" y="190739"/>
                  </a:lnTo>
                  <a:cubicBezTo>
                    <a:pt x="54830" y="190739"/>
                    <a:pt x="57020" y="203122"/>
                    <a:pt x="58544" y="211123"/>
                  </a:cubicBezTo>
                  <a:cubicBezTo>
                    <a:pt x="60068" y="219124"/>
                    <a:pt x="59497" y="223315"/>
                    <a:pt x="43590" y="233030"/>
                  </a:cubicBezTo>
                  <a:cubicBezTo>
                    <a:pt x="27684" y="242746"/>
                    <a:pt x="67593" y="262939"/>
                    <a:pt x="93692" y="260939"/>
                  </a:cubicBezTo>
                  <a:cubicBezTo>
                    <a:pt x="119790" y="258938"/>
                    <a:pt x="149032" y="243222"/>
                    <a:pt x="157128" y="226458"/>
                  </a:cubicBezTo>
                  <a:cubicBezTo>
                    <a:pt x="165986" y="207884"/>
                    <a:pt x="165129" y="185786"/>
                    <a:pt x="153890" y="18626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12"/>
            <p:cNvSpPr/>
            <p:nvPr/>
          </p:nvSpPr>
          <p:spPr>
            <a:xfrm>
              <a:off x="8197056" y="3589895"/>
              <a:ext cx="200560" cy="332104"/>
            </a:xfrm>
            <a:custGeom>
              <a:avLst/>
              <a:gdLst/>
              <a:ahLst/>
              <a:cxnLst/>
              <a:rect l="l" t="t" r="r" b="b"/>
              <a:pathLst>
                <a:path w="250857" h="415389" extrusionOk="0">
                  <a:moveTo>
                    <a:pt x="164275" y="4121"/>
                  </a:moveTo>
                  <a:cubicBezTo>
                    <a:pt x="168847" y="15551"/>
                    <a:pt x="157131" y="29553"/>
                    <a:pt x="126175" y="39364"/>
                  </a:cubicBezTo>
                  <a:cubicBezTo>
                    <a:pt x="95218" y="49174"/>
                    <a:pt x="92266" y="36506"/>
                    <a:pt x="92266" y="36506"/>
                  </a:cubicBezTo>
                  <a:cubicBezTo>
                    <a:pt x="71558" y="45793"/>
                    <a:pt x="51375" y="56194"/>
                    <a:pt x="31782" y="67653"/>
                  </a:cubicBezTo>
                  <a:cubicBezTo>
                    <a:pt x="12732" y="80702"/>
                    <a:pt x="4921" y="118516"/>
                    <a:pt x="2350" y="181953"/>
                  </a:cubicBezTo>
                  <a:cubicBezTo>
                    <a:pt x="-508" y="255676"/>
                    <a:pt x="-794" y="365119"/>
                    <a:pt x="1683" y="383978"/>
                  </a:cubicBezTo>
                  <a:cubicBezTo>
                    <a:pt x="1683" y="383978"/>
                    <a:pt x="36544" y="418745"/>
                    <a:pt x="81217" y="415125"/>
                  </a:cubicBezTo>
                  <a:cubicBezTo>
                    <a:pt x="125889" y="411506"/>
                    <a:pt x="200946" y="371977"/>
                    <a:pt x="219139" y="341401"/>
                  </a:cubicBezTo>
                  <a:cubicBezTo>
                    <a:pt x="218662" y="276727"/>
                    <a:pt x="211042" y="266249"/>
                    <a:pt x="221520" y="229006"/>
                  </a:cubicBezTo>
                  <a:cubicBezTo>
                    <a:pt x="245523" y="143281"/>
                    <a:pt x="258096" y="108801"/>
                    <a:pt x="246475" y="52127"/>
                  </a:cubicBezTo>
                  <a:cubicBezTo>
                    <a:pt x="236950" y="5359"/>
                    <a:pt x="223425" y="-451"/>
                    <a:pt x="204946" y="25"/>
                  </a:cubicBezTo>
                  <a:cubicBezTo>
                    <a:pt x="191326" y="683"/>
                    <a:pt x="177752" y="2045"/>
                    <a:pt x="164275" y="412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12"/>
            <p:cNvSpPr/>
            <p:nvPr/>
          </p:nvSpPr>
          <p:spPr>
            <a:xfrm>
              <a:off x="8000839" y="3631642"/>
              <a:ext cx="254644" cy="198374"/>
            </a:xfrm>
            <a:custGeom>
              <a:avLst/>
              <a:gdLst/>
              <a:ahLst/>
              <a:cxnLst/>
              <a:rect l="l" t="t" r="r" b="b"/>
              <a:pathLst>
                <a:path w="318504" h="248122" extrusionOk="0">
                  <a:moveTo>
                    <a:pt x="177479" y="190982"/>
                  </a:moveTo>
                  <a:cubicBezTo>
                    <a:pt x="214150" y="200507"/>
                    <a:pt x="222723" y="177171"/>
                    <a:pt x="227580" y="158026"/>
                  </a:cubicBezTo>
                  <a:cubicBezTo>
                    <a:pt x="239201" y="111734"/>
                    <a:pt x="245487" y="69920"/>
                    <a:pt x="254155" y="43726"/>
                  </a:cubicBezTo>
                  <a:cubicBezTo>
                    <a:pt x="264442" y="12674"/>
                    <a:pt x="275110" y="7721"/>
                    <a:pt x="290255" y="1721"/>
                  </a:cubicBezTo>
                  <a:cubicBezTo>
                    <a:pt x="307876" y="-5423"/>
                    <a:pt x="323116" y="9531"/>
                    <a:pt x="317210" y="49346"/>
                  </a:cubicBezTo>
                  <a:cubicBezTo>
                    <a:pt x="310010" y="95104"/>
                    <a:pt x="298789" y="140138"/>
                    <a:pt x="283683" y="183934"/>
                  </a:cubicBezTo>
                  <a:cubicBezTo>
                    <a:pt x="279110" y="198412"/>
                    <a:pt x="268919" y="224034"/>
                    <a:pt x="253583" y="236417"/>
                  </a:cubicBezTo>
                  <a:cubicBezTo>
                    <a:pt x="234533" y="251656"/>
                    <a:pt x="205958" y="250990"/>
                    <a:pt x="163096" y="240322"/>
                  </a:cubicBezTo>
                  <a:cubicBezTo>
                    <a:pt x="144808" y="235750"/>
                    <a:pt x="124996" y="224796"/>
                    <a:pt x="89849" y="208604"/>
                  </a:cubicBezTo>
                  <a:cubicBezTo>
                    <a:pt x="80324" y="204222"/>
                    <a:pt x="73275" y="201364"/>
                    <a:pt x="55368" y="192983"/>
                  </a:cubicBezTo>
                  <a:cubicBezTo>
                    <a:pt x="37423" y="184886"/>
                    <a:pt x="21678" y="172599"/>
                    <a:pt x="9458" y="157169"/>
                  </a:cubicBezTo>
                  <a:cubicBezTo>
                    <a:pt x="-67" y="143548"/>
                    <a:pt x="-1115" y="137166"/>
                    <a:pt x="790" y="134118"/>
                  </a:cubicBezTo>
                  <a:cubicBezTo>
                    <a:pt x="2695" y="131070"/>
                    <a:pt x="7458" y="131070"/>
                    <a:pt x="12410" y="136785"/>
                  </a:cubicBezTo>
                  <a:cubicBezTo>
                    <a:pt x="19697" y="146405"/>
                    <a:pt x="28632" y="154664"/>
                    <a:pt x="38795" y="161169"/>
                  </a:cubicBezTo>
                  <a:cubicBezTo>
                    <a:pt x="38795" y="161169"/>
                    <a:pt x="27174" y="149168"/>
                    <a:pt x="20983" y="141452"/>
                  </a:cubicBezTo>
                  <a:cubicBezTo>
                    <a:pt x="15363" y="134547"/>
                    <a:pt x="10686" y="126927"/>
                    <a:pt x="7076" y="118783"/>
                  </a:cubicBezTo>
                  <a:cubicBezTo>
                    <a:pt x="3743" y="110877"/>
                    <a:pt x="10601" y="99733"/>
                    <a:pt x="15744" y="105734"/>
                  </a:cubicBezTo>
                  <a:cubicBezTo>
                    <a:pt x="20888" y="111734"/>
                    <a:pt x="23459" y="117164"/>
                    <a:pt x="32889" y="128498"/>
                  </a:cubicBezTo>
                  <a:cubicBezTo>
                    <a:pt x="37880" y="134547"/>
                    <a:pt x="43567" y="139985"/>
                    <a:pt x="49844" y="144691"/>
                  </a:cubicBezTo>
                  <a:cubicBezTo>
                    <a:pt x="43977" y="136738"/>
                    <a:pt x="38757" y="128327"/>
                    <a:pt x="34223" y="119545"/>
                  </a:cubicBezTo>
                  <a:cubicBezTo>
                    <a:pt x="30213" y="112649"/>
                    <a:pt x="28232" y="104753"/>
                    <a:pt x="28508" y="96780"/>
                  </a:cubicBezTo>
                  <a:cubicBezTo>
                    <a:pt x="28508" y="92684"/>
                    <a:pt x="34699" y="87731"/>
                    <a:pt x="40128" y="95637"/>
                  </a:cubicBezTo>
                  <a:cubicBezTo>
                    <a:pt x="45510" y="106372"/>
                    <a:pt x="52130" y="116440"/>
                    <a:pt x="59845" y="125641"/>
                  </a:cubicBezTo>
                  <a:cubicBezTo>
                    <a:pt x="68227" y="134309"/>
                    <a:pt x="75275" y="139357"/>
                    <a:pt x="75466" y="136880"/>
                  </a:cubicBezTo>
                  <a:cubicBezTo>
                    <a:pt x="75657" y="134404"/>
                    <a:pt x="70418" y="129737"/>
                    <a:pt x="67465" y="119640"/>
                  </a:cubicBezTo>
                  <a:cubicBezTo>
                    <a:pt x="64512" y="109544"/>
                    <a:pt x="67465" y="98876"/>
                    <a:pt x="73085" y="97637"/>
                  </a:cubicBezTo>
                  <a:cubicBezTo>
                    <a:pt x="78705" y="96399"/>
                    <a:pt x="77561" y="96780"/>
                    <a:pt x="82038" y="106305"/>
                  </a:cubicBezTo>
                  <a:cubicBezTo>
                    <a:pt x="88230" y="116002"/>
                    <a:pt x="93792" y="126089"/>
                    <a:pt x="98707" y="136499"/>
                  </a:cubicBezTo>
                  <a:cubicBezTo>
                    <a:pt x="101536" y="146263"/>
                    <a:pt x="106699" y="155187"/>
                    <a:pt x="113757" y="162503"/>
                  </a:cubicBezTo>
                  <a:cubicBezTo>
                    <a:pt x="122805" y="171647"/>
                    <a:pt x="142713" y="182219"/>
                    <a:pt x="177479" y="19098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87;p12"/>
            <p:cNvSpPr/>
            <p:nvPr/>
          </p:nvSpPr>
          <p:spPr>
            <a:xfrm>
              <a:off x="8187055" y="3627341"/>
              <a:ext cx="77484" cy="113419"/>
            </a:xfrm>
            <a:custGeom>
              <a:avLst/>
              <a:gdLst/>
              <a:ahLst/>
              <a:cxnLst/>
              <a:rect l="l" t="t" r="r" b="b"/>
              <a:pathLst>
                <a:path w="96916" h="141862" extrusionOk="0">
                  <a:moveTo>
                    <a:pt x="70866" y="624"/>
                  </a:moveTo>
                  <a:cubicBezTo>
                    <a:pt x="46387" y="-2900"/>
                    <a:pt x="29146" y="8053"/>
                    <a:pt x="18288" y="45105"/>
                  </a:cubicBezTo>
                  <a:cubicBezTo>
                    <a:pt x="7429" y="82158"/>
                    <a:pt x="0" y="112638"/>
                    <a:pt x="0" y="112638"/>
                  </a:cubicBezTo>
                  <a:cubicBezTo>
                    <a:pt x="9677" y="126611"/>
                    <a:pt x="24336" y="136355"/>
                    <a:pt x="40957" y="139879"/>
                  </a:cubicBezTo>
                  <a:cubicBezTo>
                    <a:pt x="70199" y="146928"/>
                    <a:pt x="80772" y="132926"/>
                    <a:pt x="80772" y="132926"/>
                  </a:cubicBezTo>
                  <a:cubicBezTo>
                    <a:pt x="80772" y="132926"/>
                    <a:pt x="88868" y="94064"/>
                    <a:pt x="93916" y="67680"/>
                  </a:cubicBezTo>
                  <a:cubicBezTo>
                    <a:pt x="98965" y="41295"/>
                    <a:pt x="101155" y="5101"/>
                    <a:pt x="70866" y="6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12"/>
            <p:cNvSpPr/>
            <p:nvPr/>
          </p:nvSpPr>
          <p:spPr>
            <a:xfrm>
              <a:off x="8224358" y="3433131"/>
              <a:ext cx="126435" cy="139356"/>
            </a:xfrm>
            <a:custGeom>
              <a:avLst/>
              <a:gdLst/>
              <a:ahLst/>
              <a:cxnLst/>
              <a:rect l="l" t="t" r="r" b="b"/>
              <a:pathLst>
                <a:path w="158142" h="174304" extrusionOk="0">
                  <a:moveTo>
                    <a:pt x="8872" y="71897"/>
                  </a:moveTo>
                  <a:cubicBezTo>
                    <a:pt x="8872" y="71897"/>
                    <a:pt x="-29704" y="13223"/>
                    <a:pt x="54021" y="1221"/>
                  </a:cubicBezTo>
                  <a:cubicBezTo>
                    <a:pt x="114409" y="-7446"/>
                    <a:pt x="153176" y="31416"/>
                    <a:pt x="157653" y="73516"/>
                  </a:cubicBezTo>
                  <a:cubicBezTo>
                    <a:pt x="161939" y="113712"/>
                    <a:pt x="137174" y="155527"/>
                    <a:pt x="119553" y="172100"/>
                  </a:cubicBezTo>
                  <a:cubicBezTo>
                    <a:pt x="101960" y="176519"/>
                    <a:pt x="83358" y="174243"/>
                    <a:pt x="67356" y="165718"/>
                  </a:cubicBezTo>
                  <a:cubicBezTo>
                    <a:pt x="66403" y="154793"/>
                    <a:pt x="66022" y="143820"/>
                    <a:pt x="66213" y="132857"/>
                  </a:cubicBezTo>
                  <a:cubicBezTo>
                    <a:pt x="66213" y="132857"/>
                    <a:pt x="95359" y="70849"/>
                    <a:pt x="8872" y="71897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89" name="Google Shape;289;p12"/>
            <p:cNvGrpSpPr/>
            <p:nvPr/>
          </p:nvGrpSpPr>
          <p:grpSpPr>
            <a:xfrm>
              <a:off x="6544681" y="927100"/>
              <a:ext cx="264550" cy="200503"/>
              <a:chOff x="6621095" y="1452181"/>
              <a:chExt cx="330894" cy="250785"/>
            </a:xfrm>
          </p:grpSpPr>
          <p:sp>
            <p:nvSpPr>
              <p:cNvPr id="290" name="Google Shape;290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" name="Google Shape;291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" name="Google Shape;292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293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" name="Google Shape;294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95" name="Google Shape;295;p12"/>
            <p:cNvGrpSpPr/>
            <p:nvPr/>
          </p:nvGrpSpPr>
          <p:grpSpPr>
            <a:xfrm>
              <a:off x="7210360" y="1314224"/>
              <a:ext cx="264550" cy="200503"/>
              <a:chOff x="6621095" y="1452181"/>
              <a:chExt cx="330894" cy="250785"/>
            </a:xfrm>
          </p:grpSpPr>
          <p:sp>
            <p:nvSpPr>
              <p:cNvPr id="296" name="Google Shape;296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297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298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299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300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01" name="Google Shape;301;p12"/>
            <p:cNvSpPr/>
            <p:nvPr/>
          </p:nvSpPr>
          <p:spPr>
            <a:xfrm>
              <a:off x="7451033" y="1163186"/>
              <a:ext cx="126280" cy="353110"/>
            </a:xfrm>
            <a:custGeom>
              <a:avLst/>
              <a:gdLst/>
              <a:ahLst/>
              <a:cxnLst/>
              <a:rect l="l" t="t" r="r" b="b"/>
              <a:pathLst>
                <a:path w="157949" h="441664" extrusionOk="0">
                  <a:moveTo>
                    <a:pt x="12203" y="371070"/>
                  </a:moveTo>
                  <a:cubicBezTo>
                    <a:pt x="20680" y="365574"/>
                    <a:pt x="29462" y="360555"/>
                    <a:pt x="38492" y="356021"/>
                  </a:cubicBezTo>
                  <a:cubicBezTo>
                    <a:pt x="46960" y="353439"/>
                    <a:pt x="54656" y="348791"/>
                    <a:pt x="60876" y="342495"/>
                  </a:cubicBezTo>
                  <a:cubicBezTo>
                    <a:pt x="69162" y="334399"/>
                    <a:pt x="82593" y="304395"/>
                    <a:pt x="92118" y="274391"/>
                  </a:cubicBezTo>
                  <a:cubicBezTo>
                    <a:pt x="101785" y="240846"/>
                    <a:pt x="105624" y="205889"/>
                    <a:pt x="103452" y="171045"/>
                  </a:cubicBezTo>
                  <a:cubicBezTo>
                    <a:pt x="99357" y="129516"/>
                    <a:pt x="84402" y="71318"/>
                    <a:pt x="80593" y="47220"/>
                  </a:cubicBezTo>
                  <a:cubicBezTo>
                    <a:pt x="76782" y="23122"/>
                    <a:pt x="84498" y="13692"/>
                    <a:pt x="95642" y="4929"/>
                  </a:cubicBezTo>
                  <a:cubicBezTo>
                    <a:pt x="108691" y="-5453"/>
                    <a:pt x="126789" y="-881"/>
                    <a:pt x="136409" y="32647"/>
                  </a:cubicBezTo>
                  <a:cubicBezTo>
                    <a:pt x="148810" y="79078"/>
                    <a:pt x="156030" y="126740"/>
                    <a:pt x="157935" y="174760"/>
                  </a:cubicBezTo>
                  <a:cubicBezTo>
                    <a:pt x="158269" y="210341"/>
                    <a:pt x="152773" y="245736"/>
                    <a:pt x="141648" y="279535"/>
                  </a:cubicBezTo>
                  <a:cubicBezTo>
                    <a:pt x="131656" y="308501"/>
                    <a:pt x="118226" y="336161"/>
                    <a:pt x="101643" y="361926"/>
                  </a:cubicBezTo>
                  <a:cubicBezTo>
                    <a:pt x="97071" y="369737"/>
                    <a:pt x="95547" y="376595"/>
                    <a:pt x="88498" y="392406"/>
                  </a:cubicBezTo>
                  <a:cubicBezTo>
                    <a:pt x="81745" y="408237"/>
                    <a:pt x="71258" y="422191"/>
                    <a:pt x="57923" y="433078"/>
                  </a:cubicBezTo>
                  <a:cubicBezTo>
                    <a:pt x="46112" y="441555"/>
                    <a:pt x="40587" y="442603"/>
                    <a:pt x="37825" y="441079"/>
                  </a:cubicBezTo>
                  <a:cubicBezTo>
                    <a:pt x="35063" y="439555"/>
                    <a:pt x="35063" y="435364"/>
                    <a:pt x="40016" y="430887"/>
                  </a:cubicBezTo>
                  <a:cubicBezTo>
                    <a:pt x="48341" y="424391"/>
                    <a:pt x="55437" y="416457"/>
                    <a:pt x="60971" y="407456"/>
                  </a:cubicBezTo>
                  <a:cubicBezTo>
                    <a:pt x="60971" y="407456"/>
                    <a:pt x="50684" y="417743"/>
                    <a:pt x="44017" y="423362"/>
                  </a:cubicBezTo>
                  <a:cubicBezTo>
                    <a:pt x="38044" y="428354"/>
                    <a:pt x="31443" y="432545"/>
                    <a:pt x="24395" y="435840"/>
                  </a:cubicBezTo>
                  <a:cubicBezTo>
                    <a:pt x="17537" y="438888"/>
                    <a:pt x="8012" y="433078"/>
                    <a:pt x="12870" y="428411"/>
                  </a:cubicBezTo>
                  <a:cubicBezTo>
                    <a:pt x="17727" y="423743"/>
                    <a:pt x="22395" y="421553"/>
                    <a:pt x="32491" y="413076"/>
                  </a:cubicBezTo>
                  <a:cubicBezTo>
                    <a:pt x="37701" y="408580"/>
                    <a:pt x="42369" y="403503"/>
                    <a:pt x="46398" y="397931"/>
                  </a:cubicBezTo>
                  <a:cubicBezTo>
                    <a:pt x="39521" y="403208"/>
                    <a:pt x="32225" y="407922"/>
                    <a:pt x="24585" y="412028"/>
                  </a:cubicBezTo>
                  <a:cubicBezTo>
                    <a:pt x="18632" y="415685"/>
                    <a:pt x="11755" y="417533"/>
                    <a:pt x="4773" y="417362"/>
                  </a:cubicBezTo>
                  <a:cubicBezTo>
                    <a:pt x="1154" y="417362"/>
                    <a:pt x="-3228" y="412218"/>
                    <a:pt x="3535" y="407265"/>
                  </a:cubicBezTo>
                  <a:cubicBezTo>
                    <a:pt x="12879" y="402417"/>
                    <a:pt x="21604" y="396473"/>
                    <a:pt x="29538" y="389549"/>
                  </a:cubicBezTo>
                  <a:cubicBezTo>
                    <a:pt x="37063" y="382119"/>
                    <a:pt x="41254" y="375833"/>
                    <a:pt x="39063" y="375642"/>
                  </a:cubicBezTo>
                  <a:cubicBezTo>
                    <a:pt x="36873" y="375452"/>
                    <a:pt x="32872" y="380214"/>
                    <a:pt x="24109" y="382976"/>
                  </a:cubicBezTo>
                  <a:cubicBezTo>
                    <a:pt x="15346" y="385739"/>
                    <a:pt x="5917" y="382976"/>
                    <a:pt x="5059" y="378404"/>
                  </a:cubicBezTo>
                  <a:cubicBezTo>
                    <a:pt x="4202" y="373832"/>
                    <a:pt x="4011" y="375261"/>
                    <a:pt x="12203" y="37107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302;p12"/>
            <p:cNvSpPr/>
            <p:nvPr/>
          </p:nvSpPr>
          <p:spPr>
            <a:xfrm>
              <a:off x="7509451" y="1160411"/>
              <a:ext cx="72725" cy="98625"/>
            </a:xfrm>
            <a:custGeom>
              <a:avLst/>
              <a:gdLst/>
              <a:ahLst/>
              <a:cxnLst/>
              <a:rect l="l" t="t" r="r" b="b"/>
              <a:pathLst>
                <a:path w="90963" h="123358" extrusionOk="0">
                  <a:moveTo>
                    <a:pt x="90964" y="98317"/>
                  </a:moveTo>
                  <a:cubicBezTo>
                    <a:pt x="90964" y="98317"/>
                    <a:pt x="58007" y="131083"/>
                    <a:pt x="19050" y="121653"/>
                  </a:cubicBezTo>
                  <a:cubicBezTo>
                    <a:pt x="13525" y="117843"/>
                    <a:pt x="0" y="41358"/>
                    <a:pt x="0" y="41358"/>
                  </a:cubicBezTo>
                  <a:cubicBezTo>
                    <a:pt x="0" y="41358"/>
                    <a:pt x="0" y="-1029"/>
                    <a:pt x="32480" y="19"/>
                  </a:cubicBezTo>
                  <a:cubicBezTo>
                    <a:pt x="64961" y="1067"/>
                    <a:pt x="90964" y="98317"/>
                    <a:pt x="90964" y="9831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303" name="Google Shape;303;p12"/>
            <p:cNvGrpSpPr/>
            <p:nvPr/>
          </p:nvGrpSpPr>
          <p:grpSpPr>
            <a:xfrm flipH="1">
              <a:off x="8183210" y="2407472"/>
              <a:ext cx="780360" cy="1195999"/>
              <a:chOff x="3975528" y="3303922"/>
              <a:chExt cx="780360" cy="1195999"/>
            </a:xfrm>
          </p:grpSpPr>
          <p:sp>
            <p:nvSpPr>
              <p:cNvPr id="304" name="Google Shape;304;p12"/>
              <p:cNvSpPr/>
              <p:nvPr/>
            </p:nvSpPr>
            <p:spPr>
              <a:xfrm>
                <a:off x="4158598" y="4226660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689" y="206407"/>
                    </a:moveTo>
                    <a:lnTo>
                      <a:pt x="0" y="103251"/>
                    </a:lnTo>
                    <a:lnTo>
                      <a:pt x="178689" y="0"/>
                    </a:lnTo>
                    <a:lnTo>
                      <a:pt x="357473" y="103251"/>
                    </a:lnTo>
                    <a:lnTo>
                      <a:pt x="178689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" name="Google Shape;305;p12"/>
              <p:cNvSpPr/>
              <p:nvPr/>
            </p:nvSpPr>
            <p:spPr>
              <a:xfrm>
                <a:off x="4385076" y="4094459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" name="Google Shape;306;p12"/>
              <p:cNvSpPr/>
              <p:nvPr/>
            </p:nvSpPr>
            <p:spPr>
              <a:xfrm>
                <a:off x="4469909" y="3303922"/>
                <a:ext cx="285978" cy="165049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311" extrusionOk="0">
                    <a:moveTo>
                      <a:pt x="178784" y="206312"/>
                    </a:moveTo>
                    <a:lnTo>
                      <a:pt x="0" y="103156"/>
                    </a:lnTo>
                    <a:lnTo>
                      <a:pt x="178784" y="0"/>
                    </a:lnTo>
                    <a:lnTo>
                      <a:pt x="357473" y="103156"/>
                    </a:lnTo>
                    <a:lnTo>
                      <a:pt x="178784" y="20631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" name="Google Shape;307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308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9" name="Google Shape;309;p12"/>
              <p:cNvSpPr/>
              <p:nvPr/>
            </p:nvSpPr>
            <p:spPr>
              <a:xfrm>
                <a:off x="4612847" y="3386395"/>
                <a:ext cx="142951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1032319" extrusionOk="0">
                    <a:moveTo>
                      <a:pt x="178689" y="929068"/>
                    </a:moveTo>
                    <a:lnTo>
                      <a:pt x="0" y="103232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929068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310;p12"/>
              <p:cNvSpPr/>
              <p:nvPr/>
            </p:nvSpPr>
            <p:spPr>
              <a:xfrm>
                <a:off x="4255541" y="3675088"/>
                <a:ext cx="285978" cy="165201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501" extrusionOk="0">
                    <a:moveTo>
                      <a:pt x="178784" y="206502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50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311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312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313;p12"/>
              <p:cNvSpPr/>
              <p:nvPr/>
            </p:nvSpPr>
            <p:spPr>
              <a:xfrm>
                <a:off x="4398478" y="3757637"/>
                <a:ext cx="142950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688" h="721899" extrusionOk="0">
                    <a:moveTo>
                      <a:pt x="178689" y="618744"/>
                    </a:moveTo>
                    <a:lnTo>
                      <a:pt x="0" y="72190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61874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314;p12"/>
              <p:cNvSpPr/>
              <p:nvPr/>
            </p:nvSpPr>
            <p:spPr>
              <a:xfrm>
                <a:off x="3975528" y="43347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315;p12"/>
              <p:cNvSpPr/>
              <p:nvPr/>
            </p:nvSpPr>
            <p:spPr>
              <a:xfrm>
                <a:off x="4027311" y="40671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156"/>
                    </a:lnTo>
                    <a:lnTo>
                      <a:pt x="178689" y="0"/>
                    </a:lnTo>
                    <a:lnTo>
                      <a:pt x="357473" y="103156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316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317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318;p12"/>
              <p:cNvSpPr/>
              <p:nvPr/>
            </p:nvSpPr>
            <p:spPr>
              <a:xfrm>
                <a:off x="4170249" y="4149670"/>
                <a:ext cx="142951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399097" extrusionOk="0">
                    <a:moveTo>
                      <a:pt x="178689" y="295846"/>
                    </a:moveTo>
                    <a:lnTo>
                      <a:pt x="0" y="399098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295846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" name="Google Shape;319;p12"/>
              <p:cNvSpPr/>
              <p:nvPr/>
            </p:nvSpPr>
            <p:spPr>
              <a:xfrm>
                <a:off x="4359514" y="3443605"/>
                <a:ext cx="123401" cy="242674"/>
              </a:xfrm>
              <a:custGeom>
                <a:avLst/>
                <a:gdLst/>
                <a:ahLst/>
                <a:cxnLst/>
                <a:rect l="l" t="t" r="r" b="b"/>
                <a:pathLst>
                  <a:path w="154251" h="303342" extrusionOk="0">
                    <a:moveTo>
                      <a:pt x="65595" y="234575"/>
                    </a:moveTo>
                    <a:cubicBezTo>
                      <a:pt x="79310" y="258921"/>
                      <a:pt x="95907" y="281534"/>
                      <a:pt x="115030" y="301917"/>
                    </a:cubicBezTo>
                    <a:cubicBezTo>
                      <a:pt x="120364" y="308108"/>
                      <a:pt x="161512" y="292392"/>
                      <a:pt x="153130" y="288010"/>
                    </a:cubicBezTo>
                    <a:cubicBezTo>
                      <a:pt x="144747" y="283629"/>
                      <a:pt x="117601" y="246005"/>
                      <a:pt x="104171" y="221335"/>
                    </a:cubicBezTo>
                    <a:cubicBezTo>
                      <a:pt x="92896" y="191398"/>
                      <a:pt x="83356" y="160833"/>
                      <a:pt x="75596" y="129800"/>
                    </a:cubicBezTo>
                    <a:cubicBezTo>
                      <a:pt x="67119" y="99225"/>
                      <a:pt x="59880" y="54267"/>
                      <a:pt x="53689" y="33121"/>
                    </a:cubicBezTo>
                    <a:cubicBezTo>
                      <a:pt x="50377" y="17186"/>
                      <a:pt x="38044" y="4670"/>
                      <a:pt x="22161" y="1117"/>
                    </a:cubicBezTo>
                    <a:cubicBezTo>
                      <a:pt x="7397" y="-2312"/>
                      <a:pt x="-2223" y="1689"/>
                      <a:pt x="444" y="19596"/>
                    </a:cubicBezTo>
                    <a:cubicBezTo>
                      <a:pt x="4730" y="50743"/>
                      <a:pt x="29305" y="172853"/>
                      <a:pt x="65595" y="234575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12"/>
              <p:cNvSpPr/>
              <p:nvPr/>
            </p:nvSpPr>
            <p:spPr>
              <a:xfrm>
                <a:off x="4386191" y="4013507"/>
                <a:ext cx="85270" cy="65855"/>
              </a:xfrm>
              <a:custGeom>
                <a:avLst/>
                <a:gdLst/>
                <a:ahLst/>
                <a:cxnLst/>
                <a:rect l="l" t="t" r="r" b="b"/>
                <a:pathLst>
                  <a:path w="106588" h="82319" extrusionOk="0">
                    <a:moveTo>
                      <a:pt x="8606" y="2"/>
                    </a:moveTo>
                    <a:cubicBezTo>
                      <a:pt x="21369" y="10385"/>
                      <a:pt x="40229" y="860"/>
                      <a:pt x="41181" y="1812"/>
                    </a:cubicBezTo>
                    <a:cubicBezTo>
                      <a:pt x="56119" y="15766"/>
                      <a:pt x="71828" y="28863"/>
                      <a:pt x="88235" y="41055"/>
                    </a:cubicBezTo>
                    <a:cubicBezTo>
                      <a:pt x="96141" y="47246"/>
                      <a:pt x="108523" y="55628"/>
                      <a:pt x="106332" y="67630"/>
                    </a:cubicBezTo>
                    <a:cubicBezTo>
                      <a:pt x="102332" y="89156"/>
                      <a:pt x="68232" y="82489"/>
                      <a:pt x="54897" y="75917"/>
                    </a:cubicBezTo>
                    <a:cubicBezTo>
                      <a:pt x="41562" y="69344"/>
                      <a:pt x="31371" y="58486"/>
                      <a:pt x="19083" y="50866"/>
                    </a:cubicBezTo>
                    <a:cubicBezTo>
                      <a:pt x="10320" y="45437"/>
                      <a:pt x="1653" y="42579"/>
                      <a:pt x="33" y="31816"/>
                    </a:cubicBezTo>
                    <a:cubicBezTo>
                      <a:pt x="-538" y="25244"/>
                      <a:pt x="6415" y="-283"/>
                      <a:pt x="8606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1" name="Google Shape;321;p12"/>
              <p:cNvSpPr/>
              <p:nvPr/>
            </p:nvSpPr>
            <p:spPr>
              <a:xfrm>
                <a:off x="4386358" y="4035136"/>
                <a:ext cx="84898" cy="44294"/>
              </a:xfrm>
              <a:custGeom>
                <a:avLst/>
                <a:gdLst/>
                <a:ahLst/>
                <a:cxnLst/>
                <a:rect l="l" t="t" r="r" b="b"/>
                <a:pathLst>
                  <a:path w="106123" h="55368" extrusionOk="0">
                    <a:moveTo>
                      <a:pt x="301" y="0"/>
                    </a:moveTo>
                    <a:cubicBezTo>
                      <a:pt x="1920" y="10668"/>
                      <a:pt x="10492" y="13525"/>
                      <a:pt x="19351" y="19050"/>
                    </a:cubicBezTo>
                    <a:cubicBezTo>
                      <a:pt x="31828" y="26765"/>
                      <a:pt x="42782" y="38100"/>
                      <a:pt x="55831" y="44577"/>
                    </a:cubicBezTo>
                    <a:cubicBezTo>
                      <a:pt x="68881" y="51054"/>
                      <a:pt x="97646" y="56674"/>
                      <a:pt x="106123" y="41338"/>
                    </a:cubicBezTo>
                    <a:cubicBezTo>
                      <a:pt x="101551" y="62008"/>
                      <a:pt x="68023" y="55531"/>
                      <a:pt x="54879" y="48958"/>
                    </a:cubicBezTo>
                    <a:cubicBezTo>
                      <a:pt x="41734" y="42386"/>
                      <a:pt x="31352" y="31528"/>
                      <a:pt x="19065" y="23908"/>
                    </a:cubicBezTo>
                    <a:cubicBezTo>
                      <a:pt x="10302" y="18479"/>
                      <a:pt x="1634" y="15621"/>
                      <a:pt x="15" y="4858"/>
                    </a:cubicBezTo>
                    <a:cubicBezTo>
                      <a:pt x="-40" y="3229"/>
                      <a:pt x="56" y="1610"/>
                      <a:pt x="30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2" name="Google Shape;322;p12"/>
              <p:cNvSpPr/>
              <p:nvPr/>
            </p:nvSpPr>
            <p:spPr>
              <a:xfrm>
                <a:off x="4488338" y="3953912"/>
                <a:ext cx="85261" cy="63613"/>
              </a:xfrm>
              <a:custGeom>
                <a:avLst/>
                <a:gdLst/>
                <a:ahLst/>
                <a:cxnLst/>
                <a:rect l="l" t="t" r="r" b="b"/>
                <a:pathLst>
                  <a:path w="106576" h="79516" extrusionOk="0">
                    <a:moveTo>
                      <a:pt x="10192" y="58"/>
                    </a:moveTo>
                    <a:cubicBezTo>
                      <a:pt x="22955" y="10440"/>
                      <a:pt x="45244" y="-895"/>
                      <a:pt x="46196" y="58"/>
                    </a:cubicBezTo>
                    <a:cubicBezTo>
                      <a:pt x="59433" y="13574"/>
                      <a:pt x="73460" y="26299"/>
                      <a:pt x="88202" y="38158"/>
                    </a:cubicBezTo>
                    <a:cubicBezTo>
                      <a:pt x="96202" y="44444"/>
                      <a:pt x="108585" y="52826"/>
                      <a:pt x="106299" y="64828"/>
                    </a:cubicBezTo>
                    <a:cubicBezTo>
                      <a:pt x="102298" y="86354"/>
                      <a:pt x="68199" y="79687"/>
                      <a:pt x="54959" y="73114"/>
                    </a:cubicBezTo>
                    <a:cubicBezTo>
                      <a:pt x="41719" y="66542"/>
                      <a:pt x="31337" y="55684"/>
                      <a:pt x="19050" y="48064"/>
                    </a:cubicBezTo>
                    <a:cubicBezTo>
                      <a:pt x="10287" y="42634"/>
                      <a:pt x="1715" y="39777"/>
                      <a:pt x="0" y="29014"/>
                    </a:cubicBezTo>
                    <a:cubicBezTo>
                      <a:pt x="721" y="18622"/>
                      <a:pt x="4243" y="8611"/>
                      <a:pt x="10192" y="58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3" name="Google Shape;323;p12"/>
              <p:cNvSpPr/>
              <p:nvPr/>
            </p:nvSpPr>
            <p:spPr>
              <a:xfrm>
                <a:off x="4488682" y="3974367"/>
                <a:ext cx="84923" cy="44256"/>
              </a:xfrm>
              <a:custGeom>
                <a:avLst/>
                <a:gdLst/>
                <a:ahLst/>
                <a:cxnLst/>
                <a:rect l="l" t="t" r="r" b="b"/>
                <a:pathLst>
                  <a:path w="106154" h="55320" extrusionOk="0">
                    <a:moveTo>
                      <a:pt x="331" y="0"/>
                    </a:moveTo>
                    <a:cubicBezTo>
                      <a:pt x="1951" y="10573"/>
                      <a:pt x="10523" y="13525"/>
                      <a:pt x="19381" y="19050"/>
                    </a:cubicBezTo>
                    <a:cubicBezTo>
                      <a:pt x="31859" y="26765"/>
                      <a:pt x="42813" y="38100"/>
                      <a:pt x="55767" y="44482"/>
                    </a:cubicBezTo>
                    <a:cubicBezTo>
                      <a:pt x="68721" y="50863"/>
                      <a:pt x="97677" y="56578"/>
                      <a:pt x="106154" y="41243"/>
                    </a:cubicBezTo>
                    <a:cubicBezTo>
                      <a:pt x="101582" y="62008"/>
                      <a:pt x="68054" y="55435"/>
                      <a:pt x="54910" y="48958"/>
                    </a:cubicBezTo>
                    <a:cubicBezTo>
                      <a:pt x="41765" y="42481"/>
                      <a:pt x="31383" y="31528"/>
                      <a:pt x="19096" y="23908"/>
                    </a:cubicBezTo>
                    <a:cubicBezTo>
                      <a:pt x="10333" y="18478"/>
                      <a:pt x="1665" y="15621"/>
                      <a:pt x="46" y="4858"/>
                    </a:cubicBezTo>
                    <a:cubicBezTo>
                      <a:pt x="-67" y="3229"/>
                      <a:pt x="28" y="1600"/>
                      <a:pt x="33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4" name="Google Shape;324;p12"/>
              <p:cNvSpPr/>
              <p:nvPr/>
            </p:nvSpPr>
            <p:spPr>
              <a:xfrm>
                <a:off x="4254514" y="3662153"/>
                <a:ext cx="298029" cy="360530"/>
              </a:xfrm>
              <a:custGeom>
                <a:avLst/>
                <a:gdLst/>
                <a:ahLst/>
                <a:cxnLst/>
                <a:rect l="l" t="t" r="r" b="b"/>
                <a:pathLst>
                  <a:path w="372536" h="450662" extrusionOk="0">
                    <a:moveTo>
                      <a:pt x="2903" y="30848"/>
                    </a:moveTo>
                    <a:cubicBezTo>
                      <a:pt x="-11194" y="119145"/>
                      <a:pt x="27954" y="152006"/>
                      <a:pt x="79103" y="170865"/>
                    </a:cubicBezTo>
                    <a:cubicBezTo>
                      <a:pt x="115679" y="184296"/>
                      <a:pt x="168162" y="205060"/>
                      <a:pt x="168162" y="205060"/>
                    </a:cubicBezTo>
                    <a:cubicBezTo>
                      <a:pt x="168162" y="205060"/>
                      <a:pt x="167400" y="224110"/>
                      <a:pt x="167019" y="267925"/>
                    </a:cubicBezTo>
                    <a:cubicBezTo>
                      <a:pt x="167019" y="306025"/>
                      <a:pt x="171686" y="445947"/>
                      <a:pt x="171686" y="445947"/>
                    </a:cubicBezTo>
                    <a:cubicBezTo>
                      <a:pt x="183944" y="452234"/>
                      <a:pt x="198481" y="452234"/>
                      <a:pt x="210739" y="445947"/>
                    </a:cubicBezTo>
                    <a:cubicBezTo>
                      <a:pt x="210739" y="445947"/>
                      <a:pt x="231313" y="338886"/>
                      <a:pt x="235694" y="290595"/>
                    </a:cubicBezTo>
                    <a:cubicBezTo>
                      <a:pt x="241600" y="225063"/>
                      <a:pt x="251601" y="182200"/>
                      <a:pt x="248267" y="168103"/>
                    </a:cubicBezTo>
                    <a:cubicBezTo>
                      <a:pt x="245314" y="155721"/>
                      <a:pt x="173782" y="120478"/>
                      <a:pt x="151017" y="101428"/>
                    </a:cubicBezTo>
                    <a:lnTo>
                      <a:pt x="301036" y="151720"/>
                    </a:lnTo>
                    <a:cubicBezTo>
                      <a:pt x="298036" y="167932"/>
                      <a:pt x="296538" y="184381"/>
                      <a:pt x="296559" y="200869"/>
                    </a:cubicBezTo>
                    <a:cubicBezTo>
                      <a:pt x="297892" y="252780"/>
                      <a:pt x="300845" y="365271"/>
                      <a:pt x="300845" y="365271"/>
                    </a:cubicBezTo>
                    <a:cubicBezTo>
                      <a:pt x="300845" y="365271"/>
                      <a:pt x="321419" y="380130"/>
                      <a:pt x="338945" y="365271"/>
                    </a:cubicBezTo>
                    <a:cubicBezTo>
                      <a:pt x="338945" y="365271"/>
                      <a:pt x="377045" y="142576"/>
                      <a:pt x="372092" y="113144"/>
                    </a:cubicBezTo>
                    <a:cubicBezTo>
                      <a:pt x="367711" y="85140"/>
                      <a:pt x="235599" y="27990"/>
                      <a:pt x="212263" y="8369"/>
                    </a:cubicBezTo>
                    <a:cubicBezTo>
                      <a:pt x="204058" y="1673"/>
                      <a:pt x="193384" y="-1204"/>
                      <a:pt x="182926" y="463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5" name="Google Shape;325;p12"/>
              <p:cNvSpPr/>
              <p:nvPr/>
            </p:nvSpPr>
            <p:spPr>
              <a:xfrm>
                <a:off x="4279346" y="3421120"/>
                <a:ext cx="93728" cy="91216"/>
              </a:xfrm>
              <a:custGeom>
                <a:avLst/>
                <a:gdLst/>
                <a:ahLst/>
                <a:cxnLst/>
                <a:rect l="l" t="t" r="r" b="b"/>
                <a:pathLst>
                  <a:path w="117160" h="114020" extrusionOk="0">
                    <a:moveTo>
                      <a:pt x="24041" y="0"/>
                    </a:moveTo>
                    <a:cubicBezTo>
                      <a:pt x="24041" y="0"/>
                      <a:pt x="26232" y="42101"/>
                      <a:pt x="25279" y="45815"/>
                    </a:cubicBezTo>
                    <a:cubicBezTo>
                      <a:pt x="24327" y="49530"/>
                      <a:pt x="6229" y="61817"/>
                      <a:pt x="609" y="66294"/>
                    </a:cubicBezTo>
                    <a:cubicBezTo>
                      <a:pt x="-5010" y="70771"/>
                      <a:pt x="29661" y="104394"/>
                      <a:pt x="46425" y="112300"/>
                    </a:cubicBezTo>
                    <a:cubicBezTo>
                      <a:pt x="63189" y="120205"/>
                      <a:pt x="116148" y="99727"/>
                      <a:pt x="117100" y="74200"/>
                    </a:cubicBezTo>
                    <a:cubicBezTo>
                      <a:pt x="118053" y="48673"/>
                      <a:pt x="107575" y="26575"/>
                      <a:pt x="99860" y="25146"/>
                    </a:cubicBezTo>
                    <a:cubicBezTo>
                      <a:pt x="92145" y="23717"/>
                      <a:pt x="24041" y="0"/>
                      <a:pt x="24041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6" name="Google Shape;326;p12"/>
              <p:cNvSpPr/>
              <p:nvPr/>
            </p:nvSpPr>
            <p:spPr>
              <a:xfrm>
                <a:off x="4254597" y="3433943"/>
                <a:ext cx="151659" cy="296670"/>
              </a:xfrm>
              <a:custGeom>
                <a:avLst/>
                <a:gdLst/>
                <a:ahLst/>
                <a:cxnLst/>
                <a:rect l="l" t="t" r="r" b="b"/>
                <a:pathLst>
                  <a:path w="189574" h="370837" extrusionOk="0">
                    <a:moveTo>
                      <a:pt x="50329" y="37015"/>
                    </a:moveTo>
                    <a:cubicBezTo>
                      <a:pt x="50329" y="37015"/>
                      <a:pt x="80809" y="82450"/>
                      <a:pt x="123386" y="86736"/>
                    </a:cubicBezTo>
                    <a:cubicBezTo>
                      <a:pt x="136816" y="73496"/>
                      <a:pt x="137959" y="26442"/>
                      <a:pt x="119385" y="11393"/>
                    </a:cubicBezTo>
                    <a:cubicBezTo>
                      <a:pt x="119385" y="11393"/>
                      <a:pt x="136530" y="-2323"/>
                      <a:pt x="147960" y="344"/>
                    </a:cubicBezTo>
                    <a:cubicBezTo>
                      <a:pt x="160529" y="7926"/>
                      <a:pt x="169882" y="19861"/>
                      <a:pt x="174249" y="33872"/>
                    </a:cubicBezTo>
                    <a:cubicBezTo>
                      <a:pt x="185150" y="65076"/>
                      <a:pt x="190313" y="97985"/>
                      <a:pt x="189489" y="131027"/>
                    </a:cubicBezTo>
                    <a:cubicBezTo>
                      <a:pt x="188727" y="175604"/>
                      <a:pt x="189489" y="288380"/>
                      <a:pt x="189489" y="288380"/>
                    </a:cubicBezTo>
                    <a:cubicBezTo>
                      <a:pt x="184440" y="315326"/>
                      <a:pt x="168114" y="338824"/>
                      <a:pt x="144626" y="352960"/>
                    </a:cubicBezTo>
                    <a:cubicBezTo>
                      <a:pt x="113965" y="370266"/>
                      <a:pt x="77860" y="375239"/>
                      <a:pt x="43661" y="366866"/>
                    </a:cubicBezTo>
                    <a:cubicBezTo>
                      <a:pt x="26445" y="363208"/>
                      <a:pt x="12392" y="350816"/>
                      <a:pt x="6609" y="334195"/>
                    </a:cubicBezTo>
                    <a:cubicBezTo>
                      <a:pt x="8609" y="302858"/>
                      <a:pt x="20992" y="238945"/>
                      <a:pt x="16134" y="199226"/>
                    </a:cubicBezTo>
                    <a:cubicBezTo>
                      <a:pt x="11276" y="159507"/>
                      <a:pt x="2609" y="130551"/>
                      <a:pt x="418" y="98832"/>
                    </a:cubicBezTo>
                    <a:cubicBezTo>
                      <a:pt x="-1773" y="67114"/>
                      <a:pt x="4609" y="67686"/>
                      <a:pt x="20611" y="56351"/>
                    </a:cubicBezTo>
                    <a:cubicBezTo>
                      <a:pt x="30053" y="49217"/>
                      <a:pt x="39984" y="42759"/>
                      <a:pt x="50329" y="3701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7" name="Google Shape;327;p12"/>
              <p:cNvSpPr/>
              <p:nvPr/>
            </p:nvSpPr>
            <p:spPr>
              <a:xfrm>
                <a:off x="4275867" y="3326707"/>
                <a:ext cx="101092" cy="122957"/>
              </a:xfrm>
              <a:custGeom>
                <a:avLst/>
                <a:gdLst/>
                <a:ahLst/>
                <a:cxnLst/>
                <a:rect l="l" t="t" r="r" b="b"/>
                <a:pathLst>
                  <a:path w="126365" h="153696" extrusionOk="0">
                    <a:moveTo>
                      <a:pt x="123547" y="55607"/>
                    </a:moveTo>
                    <a:lnTo>
                      <a:pt x="123547" y="55607"/>
                    </a:lnTo>
                    <a:cubicBezTo>
                      <a:pt x="118499" y="22936"/>
                      <a:pt x="94972" y="-1543"/>
                      <a:pt x="61349" y="76"/>
                    </a:cubicBezTo>
                    <a:cubicBezTo>
                      <a:pt x="25578" y="2019"/>
                      <a:pt x="-1846" y="32594"/>
                      <a:pt x="97" y="68361"/>
                    </a:cubicBezTo>
                    <a:cubicBezTo>
                      <a:pt x="99" y="68399"/>
                      <a:pt x="101" y="68427"/>
                      <a:pt x="103" y="68465"/>
                    </a:cubicBezTo>
                    <a:cubicBezTo>
                      <a:pt x="1271" y="88611"/>
                      <a:pt x="11858" y="107032"/>
                      <a:pt x="28678" y="118186"/>
                    </a:cubicBezTo>
                    <a:cubicBezTo>
                      <a:pt x="29839" y="123139"/>
                      <a:pt x="31598" y="127940"/>
                      <a:pt x="33917" y="132473"/>
                    </a:cubicBezTo>
                    <a:cubicBezTo>
                      <a:pt x="45728" y="146380"/>
                      <a:pt x="81542" y="155048"/>
                      <a:pt x="92114" y="153524"/>
                    </a:cubicBezTo>
                    <a:cubicBezTo>
                      <a:pt x="104686" y="152400"/>
                      <a:pt x="115295" y="143713"/>
                      <a:pt x="118880" y="131616"/>
                    </a:cubicBezTo>
                    <a:cubicBezTo>
                      <a:pt x="129833" y="105899"/>
                      <a:pt x="126309" y="71609"/>
                      <a:pt x="123547" y="5560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8" name="Google Shape;328;p12"/>
              <p:cNvSpPr/>
              <p:nvPr/>
            </p:nvSpPr>
            <p:spPr>
              <a:xfrm>
                <a:off x="4266495" y="3315741"/>
                <a:ext cx="106605" cy="105444"/>
              </a:xfrm>
              <a:custGeom>
                <a:avLst/>
                <a:gdLst/>
                <a:ahLst/>
                <a:cxnLst/>
                <a:rect l="l" t="t" r="r" b="b"/>
                <a:pathLst>
                  <a:path w="133256" h="131805" extrusionOk="0">
                    <a:moveTo>
                      <a:pt x="40114" y="131806"/>
                    </a:moveTo>
                    <a:lnTo>
                      <a:pt x="40114" y="131806"/>
                    </a:lnTo>
                    <a:lnTo>
                      <a:pt x="43162" y="103231"/>
                    </a:lnTo>
                    <a:cubicBezTo>
                      <a:pt x="43162" y="103231"/>
                      <a:pt x="19921" y="43033"/>
                      <a:pt x="74880" y="54653"/>
                    </a:cubicBezTo>
                    <a:cubicBezTo>
                      <a:pt x="111170" y="62273"/>
                      <a:pt x="120314" y="65512"/>
                      <a:pt x="131363" y="41223"/>
                    </a:cubicBezTo>
                    <a:cubicBezTo>
                      <a:pt x="142412" y="16934"/>
                      <a:pt x="103455" y="-5068"/>
                      <a:pt x="57164" y="1028"/>
                    </a:cubicBezTo>
                    <a:cubicBezTo>
                      <a:pt x="24162" y="4533"/>
                      <a:pt x="-666" y="32717"/>
                      <a:pt x="14" y="65893"/>
                    </a:cubicBezTo>
                    <a:cubicBezTo>
                      <a:pt x="1252" y="83895"/>
                      <a:pt x="6014" y="120185"/>
                      <a:pt x="40114" y="131806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9" name="Google Shape;329;p12"/>
              <p:cNvSpPr/>
              <p:nvPr/>
            </p:nvSpPr>
            <p:spPr>
              <a:xfrm>
                <a:off x="4373043" y="3434522"/>
                <a:ext cx="49149" cy="71094"/>
              </a:xfrm>
              <a:custGeom>
                <a:avLst/>
                <a:gdLst/>
                <a:ahLst/>
                <a:cxnLst/>
                <a:rect l="l" t="t" r="r" b="b"/>
                <a:pathLst>
                  <a:path w="61436" h="88868" extrusionOk="0">
                    <a:moveTo>
                      <a:pt x="39243" y="88868"/>
                    </a:moveTo>
                    <a:cubicBezTo>
                      <a:pt x="47575" y="88601"/>
                      <a:pt x="55499" y="85192"/>
                      <a:pt x="61436" y="79343"/>
                    </a:cubicBezTo>
                    <a:cubicBezTo>
                      <a:pt x="60198" y="63722"/>
                      <a:pt x="40196" y="4381"/>
                      <a:pt x="0" y="0"/>
                    </a:cubicBezTo>
                    <a:cubicBezTo>
                      <a:pt x="10976" y="7630"/>
                      <a:pt x="19668" y="18098"/>
                      <a:pt x="25146" y="30290"/>
                    </a:cubicBezTo>
                    <a:cubicBezTo>
                      <a:pt x="31347" y="49425"/>
                      <a:pt x="36060" y="69009"/>
                      <a:pt x="39243" y="8886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330" name="Google Shape;330;p12"/>
              <p:cNvGrpSpPr/>
              <p:nvPr/>
            </p:nvGrpSpPr>
            <p:grpSpPr>
              <a:xfrm flipH="1">
                <a:off x="4321768" y="3621401"/>
                <a:ext cx="239005" cy="181217"/>
                <a:chOff x="6621095" y="1452181"/>
                <a:chExt cx="330894" cy="250785"/>
              </a:xfrm>
            </p:grpSpPr>
            <p:sp>
              <p:nvSpPr>
                <p:cNvPr id="331" name="Google Shape;331;p12"/>
                <p:cNvSpPr/>
                <p:nvPr/>
              </p:nvSpPr>
              <p:spPr>
                <a:xfrm>
                  <a:off x="6648789" y="1521520"/>
                  <a:ext cx="303199" cy="174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199" h="174500" extrusionOk="0">
                      <a:moveTo>
                        <a:pt x="0" y="63249"/>
                      </a:moveTo>
                      <a:lnTo>
                        <a:pt x="107878" y="860"/>
                      </a:lnTo>
                      <a:cubicBezTo>
                        <a:pt x="109779" y="-287"/>
                        <a:pt x="112155" y="-287"/>
                        <a:pt x="114056" y="860"/>
                      </a:cubicBezTo>
                      <a:lnTo>
                        <a:pt x="303200" y="110302"/>
                      </a:lnTo>
                      <a:lnTo>
                        <a:pt x="192280" y="17450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2" name="Google Shape;332;p12"/>
                <p:cNvSpPr/>
                <p:nvPr/>
              </p:nvSpPr>
              <p:spPr>
                <a:xfrm>
                  <a:off x="6790409" y="1564671"/>
                  <a:ext cx="79173" cy="458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173" h="45815" extrusionOk="0">
                      <a:moveTo>
                        <a:pt x="79174" y="29242"/>
                      </a:moveTo>
                      <a:lnTo>
                        <a:pt x="50660" y="45815"/>
                      </a:lnTo>
                      <a:lnTo>
                        <a:pt x="0" y="16478"/>
                      </a:lnTo>
                      <a:lnTo>
                        <a:pt x="28514" y="0"/>
                      </a:lnTo>
                      <a:lnTo>
                        <a:pt x="79174" y="29242"/>
                      </a:lnTo>
                      <a:close/>
                    </a:path>
                  </a:pathLst>
                </a:custGeom>
                <a:solidFill>
                  <a:srgbClr val="000000">
                    <a:alpha val="14900"/>
                  </a:srgbClr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3" name="Google Shape;333;p12"/>
                <p:cNvSpPr/>
                <p:nvPr/>
              </p:nvSpPr>
              <p:spPr>
                <a:xfrm>
                  <a:off x="6648780" y="1584674"/>
                  <a:ext cx="303209" cy="118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209" h="118292" extrusionOk="0">
                      <a:moveTo>
                        <a:pt x="303209" y="47149"/>
                      </a:moveTo>
                      <a:lnTo>
                        <a:pt x="303209" y="49721"/>
                      </a:lnTo>
                      <a:cubicBezTo>
                        <a:pt x="303237" y="53440"/>
                        <a:pt x="301279" y="56892"/>
                        <a:pt x="298076" y="58769"/>
                      </a:cubicBezTo>
                      <a:lnTo>
                        <a:pt x="197517" y="116872"/>
                      </a:lnTo>
                      <a:cubicBezTo>
                        <a:pt x="194323" y="118766"/>
                        <a:pt x="190350" y="118766"/>
                        <a:pt x="187157" y="116872"/>
                      </a:cubicBezTo>
                      <a:lnTo>
                        <a:pt x="5237" y="12097"/>
                      </a:lnTo>
                      <a:cubicBezTo>
                        <a:pt x="1863" y="10147"/>
                        <a:pt x="-153" y="6475"/>
                        <a:pt x="9" y="2572"/>
                      </a:cubicBezTo>
                      <a:lnTo>
                        <a:pt x="9" y="0"/>
                      </a:lnTo>
                      <a:lnTo>
                        <a:pt x="192289" y="111252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4" name="Google Shape;334;p12"/>
                <p:cNvSpPr/>
                <p:nvPr/>
              </p:nvSpPr>
              <p:spPr>
                <a:xfrm>
                  <a:off x="6621095" y="1454086"/>
                  <a:ext cx="217122" cy="2443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7122" h="244320" extrusionOk="0">
                      <a:moveTo>
                        <a:pt x="217123" y="243459"/>
                      </a:moveTo>
                      <a:cubicBezTo>
                        <a:pt x="213644" y="244834"/>
                        <a:pt x="209728" y="244552"/>
                        <a:pt x="206478" y="242697"/>
                      </a:cubicBezTo>
                      <a:lnTo>
                        <a:pt x="25888" y="137922"/>
                      </a:lnTo>
                      <a:cubicBezTo>
                        <a:pt x="22695" y="136081"/>
                        <a:pt x="20499" y="132899"/>
                        <a:pt x="19900" y="129254"/>
                      </a:cubicBezTo>
                      <a:lnTo>
                        <a:pt x="36" y="10763"/>
                      </a:lnTo>
                      <a:cubicBezTo>
                        <a:pt x="-12" y="10097"/>
                        <a:pt x="-12" y="9429"/>
                        <a:pt x="36" y="8763"/>
                      </a:cubicBezTo>
                      <a:cubicBezTo>
                        <a:pt x="26" y="5457"/>
                        <a:pt x="1366" y="2291"/>
                        <a:pt x="3743" y="0"/>
                      </a:cubicBezTo>
                      <a:lnTo>
                        <a:pt x="191935" y="108871"/>
                      </a:lnTo>
                      <a:cubicBezTo>
                        <a:pt x="194226" y="110281"/>
                        <a:pt x="195813" y="112601"/>
                        <a:pt x="196307" y="115252"/>
                      </a:cubicBez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5" name="Google Shape;335;p12"/>
                <p:cNvSpPr/>
                <p:nvPr/>
              </p:nvSpPr>
              <p:spPr>
                <a:xfrm>
                  <a:off x="6624647" y="1452181"/>
                  <a:ext cx="216421" cy="245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421" h="245364" extrusionOk="0">
                      <a:moveTo>
                        <a:pt x="216422" y="243840"/>
                      </a:moveTo>
                      <a:lnTo>
                        <a:pt x="215186" y="244602"/>
                      </a:lnTo>
                      <a:lnTo>
                        <a:pt x="213570" y="245364"/>
                      </a:lnTo>
                      <a:lnTo>
                        <a:pt x="192090" y="117157"/>
                      </a:lnTo>
                      <a:cubicBezTo>
                        <a:pt x="191596" y="114506"/>
                        <a:pt x="190008" y="112186"/>
                        <a:pt x="187718" y="110776"/>
                      </a:cubicBezTo>
                      <a:lnTo>
                        <a:pt x="0" y="1905"/>
                      </a:lnTo>
                      <a:cubicBezTo>
                        <a:pt x="694" y="1117"/>
                        <a:pt x="1530" y="471"/>
                        <a:pt x="2471" y="0"/>
                      </a:cubicBezTo>
                      <a:lnTo>
                        <a:pt x="191044" y="109061"/>
                      </a:lnTo>
                      <a:cubicBezTo>
                        <a:pt x="193373" y="110453"/>
                        <a:pt x="194998" y="112774"/>
                        <a:pt x="195512" y="115443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336" name="Google Shape;336;p12"/>
              <p:cNvSpPr/>
              <p:nvPr/>
            </p:nvSpPr>
            <p:spPr>
              <a:xfrm>
                <a:off x="4228115" y="3483465"/>
                <a:ext cx="114539" cy="321870"/>
              </a:xfrm>
              <a:custGeom>
                <a:avLst/>
                <a:gdLst/>
                <a:ahLst/>
                <a:cxnLst/>
                <a:rect l="l" t="t" r="r" b="b"/>
                <a:pathLst>
                  <a:path w="143174" h="402337" extrusionOk="0">
                    <a:moveTo>
                      <a:pt x="132316" y="337406"/>
                    </a:moveTo>
                    <a:cubicBezTo>
                      <a:pt x="124650" y="332329"/>
                      <a:pt x="116664" y="327748"/>
                      <a:pt x="108408" y="323690"/>
                    </a:cubicBezTo>
                    <a:cubicBezTo>
                      <a:pt x="100708" y="321280"/>
                      <a:pt x="93712" y="317032"/>
                      <a:pt x="88025" y="311307"/>
                    </a:cubicBezTo>
                    <a:cubicBezTo>
                      <a:pt x="80500" y="303973"/>
                      <a:pt x="68308" y="276255"/>
                      <a:pt x="59450" y="249204"/>
                    </a:cubicBezTo>
                    <a:cubicBezTo>
                      <a:pt x="50616" y="218763"/>
                      <a:pt x="47136" y="187016"/>
                      <a:pt x="49163" y="155383"/>
                    </a:cubicBezTo>
                    <a:cubicBezTo>
                      <a:pt x="52877" y="117283"/>
                      <a:pt x="66498" y="64419"/>
                      <a:pt x="69927" y="42607"/>
                    </a:cubicBezTo>
                    <a:cubicBezTo>
                      <a:pt x="73356" y="20795"/>
                      <a:pt x="66403" y="12127"/>
                      <a:pt x="56211" y="4507"/>
                    </a:cubicBezTo>
                    <a:cubicBezTo>
                      <a:pt x="44305" y="-5018"/>
                      <a:pt x="27636" y="-732"/>
                      <a:pt x="19064" y="29844"/>
                    </a:cubicBezTo>
                    <a:cubicBezTo>
                      <a:pt x="7948" y="72154"/>
                      <a:pt x="1559" y="115569"/>
                      <a:pt x="14" y="159288"/>
                    </a:cubicBezTo>
                    <a:cubicBezTo>
                      <a:pt x="-297" y="191635"/>
                      <a:pt x="4690" y="223811"/>
                      <a:pt x="14777" y="254538"/>
                    </a:cubicBezTo>
                    <a:cubicBezTo>
                      <a:pt x="23864" y="280970"/>
                      <a:pt x="36113" y="306202"/>
                      <a:pt x="51258" y="329691"/>
                    </a:cubicBezTo>
                    <a:cubicBezTo>
                      <a:pt x="55449" y="336739"/>
                      <a:pt x="56783" y="342930"/>
                      <a:pt x="63164" y="357313"/>
                    </a:cubicBezTo>
                    <a:cubicBezTo>
                      <a:pt x="69329" y="371772"/>
                      <a:pt x="78905" y="384517"/>
                      <a:pt x="91073" y="394461"/>
                    </a:cubicBezTo>
                    <a:cubicBezTo>
                      <a:pt x="101836" y="402176"/>
                      <a:pt x="106884" y="403224"/>
                      <a:pt x="109361" y="401795"/>
                    </a:cubicBezTo>
                    <a:cubicBezTo>
                      <a:pt x="111837" y="400366"/>
                      <a:pt x="111837" y="396461"/>
                      <a:pt x="107360" y="392270"/>
                    </a:cubicBezTo>
                    <a:cubicBezTo>
                      <a:pt x="99783" y="386317"/>
                      <a:pt x="93331" y="379059"/>
                      <a:pt x="88310" y="370839"/>
                    </a:cubicBezTo>
                    <a:cubicBezTo>
                      <a:pt x="88310" y="370839"/>
                      <a:pt x="97835" y="380364"/>
                      <a:pt x="103836" y="385412"/>
                    </a:cubicBezTo>
                    <a:cubicBezTo>
                      <a:pt x="109247" y="389955"/>
                      <a:pt x="115237" y="393775"/>
                      <a:pt x="121648" y="396747"/>
                    </a:cubicBezTo>
                    <a:cubicBezTo>
                      <a:pt x="127934" y="399509"/>
                      <a:pt x="136602" y="394175"/>
                      <a:pt x="132125" y="389984"/>
                    </a:cubicBezTo>
                    <a:cubicBezTo>
                      <a:pt x="127649" y="385793"/>
                      <a:pt x="123172" y="383697"/>
                      <a:pt x="114314" y="375982"/>
                    </a:cubicBezTo>
                    <a:cubicBezTo>
                      <a:pt x="109302" y="372067"/>
                      <a:pt x="104818" y="367524"/>
                      <a:pt x="100979" y="362457"/>
                    </a:cubicBezTo>
                    <a:cubicBezTo>
                      <a:pt x="107247" y="367238"/>
                      <a:pt x="113870" y="371534"/>
                      <a:pt x="120791" y="375315"/>
                    </a:cubicBezTo>
                    <a:cubicBezTo>
                      <a:pt x="126215" y="378592"/>
                      <a:pt x="132455" y="380278"/>
                      <a:pt x="138793" y="380173"/>
                    </a:cubicBezTo>
                    <a:cubicBezTo>
                      <a:pt x="142127" y="380173"/>
                      <a:pt x="146127" y="375411"/>
                      <a:pt x="139936" y="370648"/>
                    </a:cubicBezTo>
                    <a:cubicBezTo>
                      <a:pt x="131572" y="366295"/>
                      <a:pt x="123741" y="360990"/>
                      <a:pt x="116600" y="354837"/>
                    </a:cubicBezTo>
                    <a:cubicBezTo>
                      <a:pt x="109742" y="347979"/>
                      <a:pt x="105932" y="342264"/>
                      <a:pt x="107837" y="342168"/>
                    </a:cubicBezTo>
                    <a:cubicBezTo>
                      <a:pt x="109742" y="342073"/>
                      <a:pt x="113456" y="346264"/>
                      <a:pt x="121457" y="348836"/>
                    </a:cubicBezTo>
                    <a:cubicBezTo>
                      <a:pt x="129458" y="351408"/>
                      <a:pt x="138031" y="348836"/>
                      <a:pt x="139079" y="344645"/>
                    </a:cubicBezTo>
                    <a:cubicBezTo>
                      <a:pt x="140126" y="340454"/>
                      <a:pt x="139841" y="341121"/>
                      <a:pt x="132316" y="337406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7" name="Google Shape;337;p12"/>
              <p:cNvSpPr/>
              <p:nvPr/>
            </p:nvSpPr>
            <p:spPr>
              <a:xfrm>
                <a:off x="4223328" y="3479828"/>
                <a:ext cx="66218" cy="90245"/>
              </a:xfrm>
              <a:custGeom>
                <a:avLst/>
                <a:gdLst/>
                <a:ahLst/>
                <a:cxnLst/>
                <a:rect l="l" t="t" r="r" b="b"/>
                <a:pathLst>
                  <a:path w="82772" h="112806" extrusionOk="0">
                    <a:moveTo>
                      <a:pt x="0" y="90018"/>
                    </a:moveTo>
                    <a:cubicBezTo>
                      <a:pt x="0" y="90018"/>
                      <a:pt x="30004" y="119831"/>
                      <a:pt x="65532" y="111258"/>
                    </a:cubicBezTo>
                    <a:cubicBezTo>
                      <a:pt x="70580" y="107829"/>
                      <a:pt x="82772" y="38106"/>
                      <a:pt x="82772" y="38106"/>
                    </a:cubicBezTo>
                    <a:cubicBezTo>
                      <a:pt x="82772" y="38106"/>
                      <a:pt x="82772" y="-565"/>
                      <a:pt x="53149" y="6"/>
                    </a:cubicBezTo>
                    <a:cubicBezTo>
                      <a:pt x="23527" y="578"/>
                      <a:pt x="0" y="90018"/>
                      <a:pt x="0" y="9001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8" name="Google Shape;338;p12"/>
          <p:cNvSpPr txBox="1">
            <a:spLocks noGrp="1"/>
          </p:cNvSpPr>
          <p:nvPr>
            <p:ph type="ctrTitle"/>
          </p:nvPr>
        </p:nvSpPr>
        <p:spPr>
          <a:xfrm>
            <a:off x="1076325" y="1863600"/>
            <a:ext cx="4962600" cy="14163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Science </a:t>
            </a:r>
            <a:br>
              <a:rPr lang="en" dirty="0"/>
            </a:br>
            <a:r>
              <a:rPr lang="en" dirty="0"/>
              <a:t>Jobs Market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7B6CABC-B453-4F0C-8CA0-3505D81BCBC5}"/>
              </a:ext>
            </a:extLst>
          </p:cNvPr>
          <p:cNvSpPr txBox="1"/>
          <p:nvPr/>
        </p:nvSpPr>
        <p:spPr>
          <a:xfrm>
            <a:off x="1076325" y="3327342"/>
            <a:ext cx="36908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100" dirty="0"/>
              <a:t>United States, Canada, United Kingdom, Australia</a:t>
            </a:r>
            <a:endParaRPr lang="en-CA" dirty="0"/>
          </a:p>
        </p:txBody>
      </p:sp>
      <p:sp>
        <p:nvSpPr>
          <p:cNvPr id="339" name="TextBox 338">
            <a:extLst>
              <a:ext uri="{FF2B5EF4-FFF2-40B4-BE49-F238E27FC236}">
                <a16:creationId xmlns:a16="http://schemas.microsoft.com/office/drawing/2014/main" id="{1A88F0E3-E073-41A5-B7B0-C0DD2E266F66}"/>
              </a:ext>
            </a:extLst>
          </p:cNvPr>
          <p:cNvSpPr txBox="1"/>
          <p:nvPr/>
        </p:nvSpPr>
        <p:spPr>
          <a:xfrm>
            <a:off x="1076325" y="3608395"/>
            <a:ext cx="36908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800" i="1" dirty="0"/>
              <a:t>Presenters: May Ang, Kelvin Deng, </a:t>
            </a:r>
            <a:r>
              <a:rPr lang="en-CA" sz="800" i="1" dirty="0" err="1"/>
              <a:t>Yijing</a:t>
            </a:r>
            <a:r>
              <a:rPr lang="en-CA" sz="800" i="1" dirty="0"/>
              <a:t> </a:t>
            </a:r>
            <a:r>
              <a:rPr lang="en-CA" sz="800" i="1" dirty="0" err="1"/>
              <a:t>Su</a:t>
            </a:r>
            <a:r>
              <a:rPr lang="en-CA" sz="800" i="1" dirty="0"/>
              <a:t>, Thao Hoang</a:t>
            </a:r>
          </a:p>
          <a:p>
            <a:r>
              <a:rPr lang="en-CA" sz="800" i="1" dirty="0"/>
              <a:t>Date: Feb 18, 2021</a:t>
            </a:r>
            <a:endParaRPr lang="en-CA" sz="1000" i="1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Load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0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74E0F9A-7FDE-4059-9CB1-9CD7A969DBF0}"/>
              </a:ext>
            </a:extLst>
          </p:cNvPr>
          <p:cNvSpPr txBox="1">
            <a:spLocks/>
          </p:cNvSpPr>
          <p:nvPr/>
        </p:nvSpPr>
        <p:spPr>
          <a:xfrm>
            <a:off x="457199" y="1351801"/>
            <a:ext cx="2151889" cy="14157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latin typeface="Barlow Light" panose="020B0604020202020204" charset="0"/>
              </a:rPr>
              <a:t>Relational database: Elephant SQL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ERD</a:t>
            </a:r>
          </a:p>
          <a:p>
            <a:endParaRPr lang="en-CA" dirty="0">
              <a:latin typeface="Barlow Light" panose="020B0604020202020204" charset="0"/>
            </a:endParaRPr>
          </a:p>
        </p:txBody>
      </p:sp>
      <p:pic>
        <p:nvPicPr>
          <p:cNvPr id="4098" name="Picture 2" descr="Image result for elephant sql logo">
            <a:extLst>
              <a:ext uri="{FF2B5EF4-FFF2-40B4-BE49-F238E27FC236}">
                <a16:creationId xmlns:a16="http://schemas.microsoft.com/office/drawing/2014/main" id="{C50BF038-1D52-4F70-AE6A-26BAD6B054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701" y="3235090"/>
            <a:ext cx="1974883" cy="1533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5BC5FDD6-8BB8-4930-B127-7AB3E8154E04}"/>
              </a:ext>
            </a:extLst>
          </p:cNvPr>
          <p:cNvGrpSpPr/>
          <p:nvPr/>
        </p:nvGrpSpPr>
        <p:grpSpPr>
          <a:xfrm>
            <a:off x="2962656" y="184946"/>
            <a:ext cx="5992923" cy="4716238"/>
            <a:chOff x="2962656" y="184946"/>
            <a:chExt cx="5992923" cy="4716238"/>
          </a:xfrm>
        </p:grpSpPr>
        <p:pic>
          <p:nvPicPr>
            <p:cNvPr id="7" name="图片 4">
              <a:extLst>
                <a:ext uri="{FF2B5EF4-FFF2-40B4-BE49-F238E27FC236}">
                  <a16:creationId xmlns:a16="http://schemas.microsoft.com/office/drawing/2014/main" id="{CCCD3D14-9E36-4F15-8AC2-EBD730ADF68F}"/>
                </a:ext>
              </a:extLst>
            </p:cNvPr>
            <p:cNvPicPr/>
            <p:nvPr/>
          </p:nvPicPr>
          <p:blipFill>
            <a:blip r:embed="rId4"/>
            <a:stretch>
              <a:fillRect/>
            </a:stretch>
          </p:blipFill>
          <p:spPr>
            <a:xfrm>
              <a:off x="2962656" y="184946"/>
              <a:ext cx="5992923" cy="4716238"/>
            </a:xfrm>
            <a:prstGeom prst="rect">
              <a:avLst/>
            </a:prstGeom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197AE2F-DC91-45A6-9487-A9F73593EDE9}"/>
                </a:ext>
              </a:extLst>
            </p:cNvPr>
            <p:cNvSpPr/>
            <p:nvPr/>
          </p:nvSpPr>
          <p:spPr>
            <a:xfrm>
              <a:off x="7169285" y="242316"/>
              <a:ext cx="1245141" cy="17597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</p:spTree>
    <p:extLst>
      <p:ext uri="{BB962C8B-B14F-4D97-AF65-F5344CB8AC3E}">
        <p14:creationId xmlns:p14="http://schemas.microsoft.com/office/powerpoint/2010/main" val="10926140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" name="Google Shape;1006;p21"/>
          <p:cNvSpPr txBox="1">
            <a:spLocks noGrp="1"/>
          </p:cNvSpPr>
          <p:nvPr>
            <p:ph type="title"/>
          </p:nvPr>
        </p:nvSpPr>
        <p:spPr>
          <a:xfrm>
            <a:off x="457200" y="681800"/>
            <a:ext cx="36672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dirty="0"/>
              <a:t>The loaded</a:t>
            </a:r>
            <a:br>
              <a:rPr lang="en" sz="2000" dirty="0"/>
            </a:br>
            <a:r>
              <a:rPr lang="en" sz="2000" dirty="0"/>
              <a:t>database</a:t>
            </a:r>
            <a:endParaRPr sz="2000" dirty="0"/>
          </a:p>
        </p:txBody>
      </p:sp>
      <p:sp>
        <p:nvSpPr>
          <p:cNvPr id="1009" name="Google Shape;1009;p2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1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8A2F9D-7EF0-47C9-8717-57997AC2B4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78606" y="1531407"/>
            <a:ext cx="2232946" cy="2640900"/>
          </a:xfrm>
        </p:spPr>
        <p:txBody>
          <a:bodyPr/>
          <a:lstStyle/>
          <a:p>
            <a:r>
              <a:rPr lang="en-CA" sz="1600" dirty="0"/>
              <a:t>Six relational tables in the Elephant SQL Database</a:t>
            </a:r>
          </a:p>
          <a:p>
            <a:endParaRPr lang="en-CA" sz="1600" dirty="0"/>
          </a:p>
          <a:p>
            <a:r>
              <a:rPr lang="en-CA" sz="1600" dirty="0"/>
              <a:t>Each with unique key for merging purposes during querying process</a:t>
            </a:r>
          </a:p>
        </p:txBody>
      </p:sp>
      <p:pic>
        <p:nvPicPr>
          <p:cNvPr id="8" name="Picture 7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4166A587-82EE-4D7E-999F-D497863AAE1C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88" b="3193"/>
          <a:stretch/>
        </p:blipFill>
        <p:spPr>
          <a:xfrm>
            <a:off x="2628900" y="153681"/>
            <a:ext cx="6515100" cy="4825574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49" y="2031025"/>
            <a:ext cx="4991137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shboard Creation Proces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133780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querying from database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Charts crea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shboard design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3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2228;p37">
            <a:extLst>
              <a:ext uri="{FF2B5EF4-FFF2-40B4-BE49-F238E27FC236}">
                <a16:creationId xmlns:a16="http://schemas.microsoft.com/office/drawing/2014/main" id="{6037C167-166C-4129-87AE-A5D45DBF7C44}"/>
              </a:ext>
            </a:extLst>
          </p:cNvPr>
          <p:cNvGrpSpPr/>
          <p:nvPr/>
        </p:nvGrpSpPr>
        <p:grpSpPr>
          <a:xfrm>
            <a:off x="6067508" y="1247530"/>
            <a:ext cx="2781112" cy="2885291"/>
            <a:chOff x="2012475" y="393272"/>
            <a:chExt cx="4440240" cy="4609126"/>
          </a:xfrm>
        </p:grpSpPr>
        <p:sp>
          <p:nvSpPr>
            <p:cNvPr id="112" name="Google Shape;2229;p37">
              <a:extLst>
                <a:ext uri="{FF2B5EF4-FFF2-40B4-BE49-F238E27FC236}">
                  <a16:creationId xmlns:a16="http://schemas.microsoft.com/office/drawing/2014/main" id="{B1B80B97-A2ED-4BA0-BA1F-3D18DB683235}"/>
                </a:ext>
              </a:extLst>
            </p:cNvPr>
            <p:cNvSpPr/>
            <p:nvPr/>
          </p:nvSpPr>
          <p:spPr>
            <a:xfrm>
              <a:off x="4172687" y="3422228"/>
              <a:ext cx="1096154" cy="631831"/>
            </a:xfrm>
            <a:custGeom>
              <a:avLst/>
              <a:gdLst/>
              <a:ahLst/>
              <a:cxnLst/>
              <a:rect l="l" t="t" r="r" b="b"/>
              <a:pathLst>
                <a:path w="1096154" h="631831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137" y="0"/>
                  </a:lnTo>
                  <a:lnTo>
                    <a:pt x="1096154" y="402457"/>
                  </a:lnTo>
                  <a:lnTo>
                    <a:pt x="737223" y="609484"/>
                  </a:lnTo>
                  <a:cubicBezTo>
                    <a:pt x="691155" y="636479"/>
                    <a:pt x="621386" y="639331"/>
                    <a:pt x="581029" y="61632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2230;p37">
              <a:extLst>
                <a:ext uri="{FF2B5EF4-FFF2-40B4-BE49-F238E27FC236}">
                  <a16:creationId xmlns:a16="http://schemas.microsoft.com/office/drawing/2014/main" id="{E03BADCE-7294-4FA8-A744-33DFFE4C6B3D}"/>
                </a:ext>
              </a:extLst>
            </p:cNvPr>
            <p:cNvSpPr/>
            <p:nvPr/>
          </p:nvSpPr>
          <p:spPr>
            <a:xfrm>
              <a:off x="4213521" y="3398464"/>
              <a:ext cx="1096058" cy="631866"/>
            </a:xfrm>
            <a:custGeom>
              <a:avLst/>
              <a:gdLst/>
              <a:ahLst/>
              <a:cxnLst/>
              <a:rect l="l" t="t" r="r" b="b"/>
              <a:pathLst>
                <a:path w="1096058" h="631866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864"/>
                  </a:lnTo>
                  <a:cubicBezTo>
                    <a:pt x="690774" y="636479"/>
                    <a:pt x="621005" y="639331"/>
                    <a:pt x="581029" y="616328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2231;p37">
              <a:extLst>
                <a:ext uri="{FF2B5EF4-FFF2-40B4-BE49-F238E27FC236}">
                  <a16:creationId xmlns:a16="http://schemas.microsoft.com/office/drawing/2014/main" id="{CDBE5135-81F0-43DF-88A5-6DEA0D98FDC0}"/>
                </a:ext>
              </a:extLst>
            </p:cNvPr>
            <p:cNvSpPr/>
            <p:nvPr/>
          </p:nvSpPr>
          <p:spPr>
            <a:xfrm>
              <a:off x="5277122" y="3780200"/>
              <a:ext cx="32266" cy="21196"/>
            </a:xfrm>
            <a:custGeom>
              <a:avLst/>
              <a:gdLst/>
              <a:ahLst/>
              <a:cxnLst/>
              <a:rect l="l" t="t" r="r" b="b"/>
              <a:pathLst>
                <a:path w="32266" h="21196" extrusionOk="0">
                  <a:moveTo>
                    <a:pt x="32267" y="21197"/>
                  </a:moveTo>
                  <a:lnTo>
                    <a:pt x="32267" y="0"/>
                  </a:lnTo>
                  <a:lnTo>
                    <a:pt x="0" y="18630"/>
                  </a:lnTo>
                  <a:lnTo>
                    <a:pt x="32267" y="2119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2232;p37">
              <a:extLst>
                <a:ext uri="{FF2B5EF4-FFF2-40B4-BE49-F238E27FC236}">
                  <a16:creationId xmlns:a16="http://schemas.microsoft.com/office/drawing/2014/main" id="{658B3257-7874-42BD-AAAB-2DC196AAC97C}"/>
                </a:ext>
              </a:extLst>
            </p:cNvPr>
            <p:cNvSpPr/>
            <p:nvPr/>
          </p:nvSpPr>
          <p:spPr>
            <a:xfrm>
              <a:off x="4213559" y="3635813"/>
              <a:ext cx="33123" cy="21387"/>
            </a:xfrm>
            <a:custGeom>
              <a:avLst/>
              <a:gdLst/>
              <a:ahLst/>
              <a:cxnLst/>
              <a:rect l="l" t="t" r="r" b="b"/>
              <a:pathLst>
                <a:path w="33123" h="21387" extrusionOk="0">
                  <a:moveTo>
                    <a:pt x="0" y="21387"/>
                  </a:moveTo>
                  <a:lnTo>
                    <a:pt x="0" y="0"/>
                  </a:lnTo>
                  <a:lnTo>
                    <a:pt x="33123" y="13688"/>
                  </a:lnTo>
                  <a:lnTo>
                    <a:pt x="0" y="2138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2233;p37">
              <a:extLst>
                <a:ext uri="{FF2B5EF4-FFF2-40B4-BE49-F238E27FC236}">
                  <a16:creationId xmlns:a16="http://schemas.microsoft.com/office/drawing/2014/main" id="{26EB7DCD-024B-485D-A610-99BFA3EAAD8D}"/>
                </a:ext>
              </a:extLst>
            </p:cNvPr>
            <p:cNvSpPr/>
            <p:nvPr/>
          </p:nvSpPr>
          <p:spPr>
            <a:xfrm>
              <a:off x="4213521" y="3377363"/>
              <a:ext cx="1096058" cy="631809"/>
            </a:xfrm>
            <a:custGeom>
              <a:avLst/>
              <a:gdLst/>
              <a:ahLst/>
              <a:cxnLst/>
              <a:rect l="l" t="t" r="r" b="b"/>
              <a:pathLst>
                <a:path w="1096058" h="631809" extrusionOk="0">
                  <a:moveTo>
                    <a:pt x="581029" y="616232"/>
                  </a:moveTo>
                  <a:lnTo>
                    <a:pt x="26975" y="296853"/>
                  </a:lnTo>
                  <a:cubicBezTo>
                    <a:pt x="-13002" y="273754"/>
                    <a:pt x="-7957" y="233547"/>
                    <a:pt x="38206" y="206932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769"/>
                  </a:lnTo>
                  <a:cubicBezTo>
                    <a:pt x="690774" y="636384"/>
                    <a:pt x="621005" y="639331"/>
                    <a:pt x="581029" y="616232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2234;p37">
              <a:extLst>
                <a:ext uri="{FF2B5EF4-FFF2-40B4-BE49-F238E27FC236}">
                  <a16:creationId xmlns:a16="http://schemas.microsoft.com/office/drawing/2014/main" id="{317019B4-3499-4914-BD66-E59CD3A0CCCD}"/>
                </a:ext>
              </a:extLst>
            </p:cNvPr>
            <p:cNvSpPr/>
            <p:nvPr/>
          </p:nvSpPr>
          <p:spPr>
            <a:xfrm>
              <a:off x="4526041" y="3091821"/>
              <a:ext cx="783348" cy="688378"/>
            </a:xfrm>
            <a:custGeom>
              <a:avLst/>
              <a:gdLst/>
              <a:ahLst/>
              <a:cxnLst/>
              <a:rect l="l" t="t" r="r" b="b"/>
              <a:pathLst>
                <a:path w="783348" h="688378" extrusionOk="0">
                  <a:moveTo>
                    <a:pt x="86521" y="286492"/>
                  </a:moveTo>
                  <a:lnTo>
                    <a:pt x="0" y="0"/>
                  </a:lnTo>
                  <a:lnTo>
                    <a:pt x="706346" y="404548"/>
                  </a:lnTo>
                  <a:lnTo>
                    <a:pt x="783348" y="688378"/>
                  </a:lnTo>
                  <a:lnTo>
                    <a:pt x="86521" y="286492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2235;p37">
              <a:extLst>
                <a:ext uri="{FF2B5EF4-FFF2-40B4-BE49-F238E27FC236}">
                  <a16:creationId xmlns:a16="http://schemas.microsoft.com/office/drawing/2014/main" id="{8B546D36-1017-4F40-AB79-C4707D9F543A}"/>
                </a:ext>
              </a:extLst>
            </p:cNvPr>
            <p:cNvSpPr/>
            <p:nvPr/>
          </p:nvSpPr>
          <p:spPr>
            <a:xfrm>
              <a:off x="5278931" y="3755961"/>
              <a:ext cx="30363" cy="36025"/>
            </a:xfrm>
            <a:custGeom>
              <a:avLst/>
              <a:gdLst/>
              <a:ahLst/>
              <a:cxnLst/>
              <a:rect l="l" t="t" r="r" b="b"/>
              <a:pathLst>
                <a:path w="30363" h="36025" extrusionOk="0">
                  <a:moveTo>
                    <a:pt x="9899" y="36025"/>
                  </a:moveTo>
                  <a:lnTo>
                    <a:pt x="30363" y="242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2236;p37">
              <a:extLst>
                <a:ext uri="{FF2B5EF4-FFF2-40B4-BE49-F238E27FC236}">
                  <a16:creationId xmlns:a16="http://schemas.microsoft.com/office/drawing/2014/main" id="{920F296C-C931-40A7-87D5-4DD5F0D25CC7}"/>
                </a:ext>
              </a:extLst>
            </p:cNvPr>
            <p:cNvSpPr/>
            <p:nvPr/>
          </p:nvSpPr>
          <p:spPr>
            <a:xfrm>
              <a:off x="4503768" y="3102562"/>
              <a:ext cx="785061" cy="689423"/>
            </a:xfrm>
            <a:custGeom>
              <a:avLst/>
              <a:gdLst/>
              <a:ahLst/>
              <a:cxnLst/>
              <a:rect l="l" t="t" r="r" b="b"/>
              <a:pathLst>
                <a:path w="785061" h="689423" extrusionOk="0">
                  <a:moveTo>
                    <a:pt x="86425" y="286492"/>
                  </a:moveTo>
                  <a:lnTo>
                    <a:pt x="0" y="0"/>
                  </a:lnTo>
                  <a:lnTo>
                    <a:pt x="706346" y="404643"/>
                  </a:lnTo>
                  <a:lnTo>
                    <a:pt x="785061" y="689424"/>
                  </a:lnTo>
                  <a:lnTo>
                    <a:pt x="86425" y="28649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2237;p37">
              <a:extLst>
                <a:ext uri="{FF2B5EF4-FFF2-40B4-BE49-F238E27FC236}">
                  <a16:creationId xmlns:a16="http://schemas.microsoft.com/office/drawing/2014/main" id="{5959ABFB-3578-4154-9E67-47BC2C48CBED}"/>
                </a:ext>
              </a:extLst>
            </p:cNvPr>
            <p:cNvSpPr/>
            <p:nvPr/>
          </p:nvSpPr>
          <p:spPr>
            <a:xfrm>
              <a:off x="3580122" y="393272"/>
              <a:ext cx="2872593" cy="3889928"/>
            </a:xfrm>
            <a:custGeom>
              <a:avLst/>
              <a:gdLst/>
              <a:ahLst/>
              <a:cxnLst/>
              <a:rect l="l" t="t" r="r" b="b"/>
              <a:pathLst>
                <a:path w="2872593" h="3889928" extrusionOk="0">
                  <a:moveTo>
                    <a:pt x="2803111" y="3881586"/>
                  </a:moveTo>
                  <a:lnTo>
                    <a:pt x="69483" y="2305217"/>
                  </a:lnTo>
                  <a:cubicBezTo>
                    <a:pt x="31410" y="2283165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483" y="8342"/>
                  </a:cubicBezTo>
                  <a:lnTo>
                    <a:pt x="2803111" y="1584711"/>
                  </a:lnTo>
                  <a:cubicBezTo>
                    <a:pt x="2841183" y="1606763"/>
                    <a:pt x="2872593" y="1666077"/>
                    <a:pt x="2872593" y="1717121"/>
                  </a:cubicBezTo>
                  <a:lnTo>
                    <a:pt x="2872593" y="3829212"/>
                  </a:lnTo>
                  <a:cubicBezTo>
                    <a:pt x="2872593" y="3880256"/>
                    <a:pt x="2841469" y="3903734"/>
                    <a:pt x="2803111" y="3881586"/>
                  </a:cubicBez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2238;p37">
              <a:extLst>
                <a:ext uri="{FF2B5EF4-FFF2-40B4-BE49-F238E27FC236}">
                  <a16:creationId xmlns:a16="http://schemas.microsoft.com/office/drawing/2014/main" id="{ACBBBE1B-0054-490C-9E2B-8C1A1C63205B}"/>
                </a:ext>
              </a:extLst>
            </p:cNvPr>
            <p:cNvSpPr/>
            <p:nvPr/>
          </p:nvSpPr>
          <p:spPr>
            <a:xfrm>
              <a:off x="6397319" y="4189501"/>
              <a:ext cx="30267" cy="107125"/>
            </a:xfrm>
            <a:custGeom>
              <a:avLst/>
              <a:gdLst/>
              <a:ahLst/>
              <a:cxnLst/>
              <a:rect l="l" t="t" r="r" b="b"/>
              <a:pathLst>
                <a:path w="30267" h="107125" extrusionOk="0">
                  <a:moveTo>
                    <a:pt x="0" y="107125"/>
                  </a:moveTo>
                  <a:lnTo>
                    <a:pt x="30268" y="89731"/>
                  </a:lnTo>
                  <a:lnTo>
                    <a:pt x="17228" y="0"/>
                  </a:lnTo>
                  <a:lnTo>
                    <a:pt x="0" y="107125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2239;p37">
              <a:extLst>
                <a:ext uri="{FF2B5EF4-FFF2-40B4-BE49-F238E27FC236}">
                  <a16:creationId xmlns:a16="http://schemas.microsoft.com/office/drawing/2014/main" id="{8A931E80-D237-48D3-956F-82E9C4FFA823}"/>
                </a:ext>
              </a:extLst>
            </p:cNvPr>
            <p:cNvSpPr/>
            <p:nvPr/>
          </p:nvSpPr>
          <p:spPr>
            <a:xfrm>
              <a:off x="3574887" y="397432"/>
              <a:ext cx="72623" cy="31086"/>
            </a:xfrm>
            <a:custGeom>
              <a:avLst/>
              <a:gdLst/>
              <a:ahLst/>
              <a:cxnLst/>
              <a:rect l="l" t="t" r="r" b="b"/>
              <a:pathLst>
                <a:path w="72623" h="31086" extrusionOk="0">
                  <a:moveTo>
                    <a:pt x="0" y="17110"/>
                  </a:moveTo>
                  <a:lnTo>
                    <a:pt x="29792" y="0"/>
                  </a:lnTo>
                  <a:lnTo>
                    <a:pt x="72624" y="24334"/>
                  </a:lnTo>
                  <a:cubicBezTo>
                    <a:pt x="72624" y="24334"/>
                    <a:pt x="27032" y="31273"/>
                    <a:pt x="25890" y="31083"/>
                  </a:cubicBezTo>
                  <a:cubicBezTo>
                    <a:pt x="24747" y="30892"/>
                    <a:pt x="0" y="17110"/>
                    <a:pt x="0" y="171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2240;p37">
              <a:extLst>
                <a:ext uri="{FF2B5EF4-FFF2-40B4-BE49-F238E27FC236}">
                  <a16:creationId xmlns:a16="http://schemas.microsoft.com/office/drawing/2014/main" id="{C91AAAD9-E219-4D89-AB6E-16D68FCBAC11}"/>
                </a:ext>
              </a:extLst>
            </p:cNvPr>
            <p:cNvSpPr/>
            <p:nvPr/>
          </p:nvSpPr>
          <p:spPr>
            <a:xfrm>
              <a:off x="3554709" y="407720"/>
              <a:ext cx="2872878" cy="3889928"/>
            </a:xfrm>
            <a:custGeom>
              <a:avLst/>
              <a:gdLst/>
              <a:ahLst/>
              <a:cxnLst/>
              <a:rect l="l" t="t" r="r" b="b"/>
              <a:pathLst>
                <a:path w="2872878" h="3889928" extrusionOk="0">
                  <a:moveTo>
                    <a:pt x="2803491" y="3881587"/>
                  </a:moveTo>
                  <a:lnTo>
                    <a:pt x="69388" y="2304837"/>
                  </a:lnTo>
                  <a:cubicBezTo>
                    <a:pt x="31315" y="2282785"/>
                    <a:pt x="0" y="2223471"/>
                    <a:pt x="0" y="2172332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388" y="8342"/>
                  </a:cubicBezTo>
                  <a:lnTo>
                    <a:pt x="2803491" y="1584711"/>
                  </a:lnTo>
                  <a:cubicBezTo>
                    <a:pt x="2841564" y="1606763"/>
                    <a:pt x="2872879" y="1666077"/>
                    <a:pt x="2872879" y="1717216"/>
                  </a:cubicBezTo>
                  <a:lnTo>
                    <a:pt x="2872879" y="3829212"/>
                  </a:lnTo>
                  <a:cubicBezTo>
                    <a:pt x="2872879" y="3880256"/>
                    <a:pt x="2841850" y="3903734"/>
                    <a:pt x="2803491" y="3881587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2241;p37">
              <a:extLst>
                <a:ext uri="{FF2B5EF4-FFF2-40B4-BE49-F238E27FC236}">
                  <a16:creationId xmlns:a16="http://schemas.microsoft.com/office/drawing/2014/main" id="{A2C6FCC3-EDF0-4396-AD21-7B307B33F080}"/>
                </a:ext>
              </a:extLst>
            </p:cNvPr>
            <p:cNvSpPr/>
            <p:nvPr/>
          </p:nvSpPr>
          <p:spPr>
            <a:xfrm>
              <a:off x="3549854" y="410477"/>
              <a:ext cx="2872973" cy="3889886"/>
            </a:xfrm>
            <a:custGeom>
              <a:avLst/>
              <a:gdLst/>
              <a:ahLst/>
              <a:cxnLst/>
              <a:rect l="l" t="t" r="r" b="b"/>
              <a:pathLst>
                <a:path w="2872973" h="3889886" extrusionOk="0">
                  <a:moveTo>
                    <a:pt x="2803491" y="3881587"/>
                  </a:moveTo>
                  <a:lnTo>
                    <a:pt x="69483" y="2305217"/>
                  </a:lnTo>
                  <a:cubicBezTo>
                    <a:pt x="31410" y="2283070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4" y="-13806"/>
                    <a:pt x="69483" y="8342"/>
                  </a:cubicBezTo>
                  <a:lnTo>
                    <a:pt x="2803491" y="1584711"/>
                  </a:lnTo>
                  <a:cubicBezTo>
                    <a:pt x="2841564" y="1606764"/>
                    <a:pt x="2872974" y="1666077"/>
                    <a:pt x="2872974" y="1717121"/>
                  </a:cubicBezTo>
                  <a:lnTo>
                    <a:pt x="2872974" y="3829212"/>
                  </a:lnTo>
                  <a:cubicBezTo>
                    <a:pt x="2872974" y="3879971"/>
                    <a:pt x="2841849" y="3903734"/>
                    <a:pt x="2803491" y="3881587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2242;p37">
              <a:extLst>
                <a:ext uri="{FF2B5EF4-FFF2-40B4-BE49-F238E27FC236}">
                  <a16:creationId xmlns:a16="http://schemas.microsoft.com/office/drawing/2014/main" id="{C19CB2CC-FE45-4676-82C1-6B2A7EF1CFB7}"/>
                </a:ext>
              </a:extLst>
            </p:cNvPr>
            <p:cNvSpPr/>
            <p:nvPr/>
          </p:nvSpPr>
          <p:spPr>
            <a:xfrm>
              <a:off x="3584596" y="456003"/>
              <a:ext cx="2802063" cy="3707642"/>
            </a:xfrm>
            <a:custGeom>
              <a:avLst/>
              <a:gdLst/>
              <a:ahLst/>
              <a:cxnLst/>
              <a:rect l="l" t="t" r="r" b="b"/>
              <a:pathLst>
                <a:path w="2802063" h="3707642" extrusionOk="0">
                  <a:moveTo>
                    <a:pt x="2800636" y="3707643"/>
                  </a:moveTo>
                  <a:lnTo>
                    <a:pt x="0" y="2092872"/>
                  </a:lnTo>
                  <a:lnTo>
                    <a:pt x="1428" y="23650"/>
                  </a:lnTo>
                  <a:cubicBezTo>
                    <a:pt x="1428" y="2453"/>
                    <a:pt x="16371" y="-6102"/>
                    <a:pt x="34742" y="4639"/>
                  </a:cubicBezTo>
                  <a:lnTo>
                    <a:pt x="2768750" y="1580818"/>
                  </a:lnTo>
                  <a:cubicBezTo>
                    <a:pt x="2788395" y="1593631"/>
                    <a:pt x="2800769" y="1615018"/>
                    <a:pt x="2802063" y="16384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2243;p37">
              <a:extLst>
                <a:ext uri="{FF2B5EF4-FFF2-40B4-BE49-F238E27FC236}">
                  <a16:creationId xmlns:a16="http://schemas.microsoft.com/office/drawing/2014/main" id="{A8F07537-2097-47C6-B217-D8D4FD5ECC5E}"/>
                </a:ext>
              </a:extLst>
            </p:cNvPr>
            <p:cNvSpPr/>
            <p:nvPr/>
          </p:nvSpPr>
          <p:spPr>
            <a:xfrm>
              <a:off x="3711283" y="669187"/>
              <a:ext cx="283071" cy="477189"/>
            </a:xfrm>
            <a:custGeom>
              <a:avLst/>
              <a:gdLst/>
              <a:ahLst/>
              <a:cxnLst/>
              <a:rect l="l" t="t" r="r" b="b"/>
              <a:pathLst>
                <a:path w="283071" h="477189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7"/>
                    <a:pt x="181" y="312023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572"/>
                  </a:lnTo>
                  <a:cubicBezTo>
                    <a:pt x="277551" y="154933"/>
                    <a:pt x="282919" y="165172"/>
                    <a:pt x="283071" y="176138"/>
                  </a:cubicBezTo>
                  <a:lnTo>
                    <a:pt x="283071" y="464531"/>
                  </a:lnTo>
                  <a:cubicBezTo>
                    <a:pt x="283071" y="474986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2244;p37">
              <a:extLst>
                <a:ext uri="{FF2B5EF4-FFF2-40B4-BE49-F238E27FC236}">
                  <a16:creationId xmlns:a16="http://schemas.microsoft.com/office/drawing/2014/main" id="{E849ED61-07C5-4EA4-879E-6C3AF5F860A9}"/>
                </a:ext>
              </a:extLst>
            </p:cNvPr>
            <p:cNvSpPr/>
            <p:nvPr/>
          </p:nvSpPr>
          <p:spPr>
            <a:xfrm>
              <a:off x="4063456" y="872696"/>
              <a:ext cx="283832" cy="477419"/>
            </a:xfrm>
            <a:custGeom>
              <a:avLst/>
              <a:gdLst/>
              <a:ahLst/>
              <a:cxnLst/>
              <a:rect l="l" t="t" r="r" b="b"/>
              <a:pathLst>
                <a:path w="283832" h="477419" extrusionOk="0">
                  <a:moveTo>
                    <a:pt x="269365" y="475462"/>
                  </a:moveTo>
                  <a:lnTo>
                    <a:pt x="14468" y="328509"/>
                  </a:lnTo>
                  <a:cubicBezTo>
                    <a:pt x="5540" y="322087"/>
                    <a:pt x="181" y="311833"/>
                    <a:pt x="0" y="30084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572"/>
                  </a:lnTo>
                  <a:cubicBezTo>
                    <a:pt x="278217" y="154931"/>
                    <a:pt x="283709" y="165305"/>
                    <a:pt x="283833" y="176423"/>
                  </a:cubicBezTo>
                  <a:lnTo>
                    <a:pt x="283833" y="464531"/>
                  </a:lnTo>
                  <a:cubicBezTo>
                    <a:pt x="283833" y="475177"/>
                    <a:pt x="277360" y="480595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2245;p37">
              <a:extLst>
                <a:ext uri="{FF2B5EF4-FFF2-40B4-BE49-F238E27FC236}">
                  <a16:creationId xmlns:a16="http://schemas.microsoft.com/office/drawing/2014/main" id="{395659EB-49AF-4CDF-9249-1AA738B8A2D6}"/>
                </a:ext>
              </a:extLst>
            </p:cNvPr>
            <p:cNvSpPr/>
            <p:nvPr/>
          </p:nvSpPr>
          <p:spPr>
            <a:xfrm>
              <a:off x="4408015" y="1071223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993"/>
                  </a:lnTo>
                  <a:cubicBezTo>
                    <a:pt x="278503" y="155354"/>
                    <a:pt x="283871" y="165592"/>
                    <a:pt x="284023" y="176559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2246;p37">
              <a:extLst>
                <a:ext uri="{FF2B5EF4-FFF2-40B4-BE49-F238E27FC236}">
                  <a16:creationId xmlns:a16="http://schemas.microsoft.com/office/drawing/2014/main" id="{CF19550E-D147-47E1-8B25-A6A44F769C11}"/>
                </a:ext>
              </a:extLst>
            </p:cNvPr>
            <p:cNvSpPr/>
            <p:nvPr/>
          </p:nvSpPr>
          <p:spPr>
            <a:xfrm>
              <a:off x="3711283" y="1076206"/>
              <a:ext cx="283071" cy="477216"/>
            </a:xfrm>
            <a:custGeom>
              <a:avLst/>
              <a:gdLst/>
              <a:ahLst/>
              <a:cxnLst/>
              <a:rect l="l" t="t" r="r" b="b"/>
              <a:pathLst>
                <a:path w="283071" h="477216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477"/>
                  </a:lnTo>
                  <a:cubicBezTo>
                    <a:pt x="277532" y="154899"/>
                    <a:pt x="282891" y="165154"/>
                    <a:pt x="283071" y="176138"/>
                  </a:cubicBezTo>
                  <a:lnTo>
                    <a:pt x="283071" y="464531"/>
                  </a:lnTo>
                  <a:cubicBezTo>
                    <a:pt x="283071" y="475177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2247;p37">
              <a:extLst>
                <a:ext uri="{FF2B5EF4-FFF2-40B4-BE49-F238E27FC236}">
                  <a16:creationId xmlns:a16="http://schemas.microsoft.com/office/drawing/2014/main" id="{CD1BCD5B-6892-4E27-9FAB-667140D90B71}"/>
                </a:ext>
              </a:extLst>
            </p:cNvPr>
            <p:cNvSpPr/>
            <p:nvPr/>
          </p:nvSpPr>
          <p:spPr>
            <a:xfrm>
              <a:off x="4063456" y="1279716"/>
              <a:ext cx="283556" cy="477216"/>
            </a:xfrm>
            <a:custGeom>
              <a:avLst/>
              <a:gdLst/>
              <a:ahLst/>
              <a:cxnLst/>
              <a:rect l="l" t="t" r="r" b="b"/>
              <a:pathLst>
                <a:path w="283556" h="477216" extrusionOk="0">
                  <a:moveTo>
                    <a:pt x="269365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477"/>
                  </a:lnTo>
                  <a:cubicBezTo>
                    <a:pt x="278008" y="154903"/>
                    <a:pt x="283366" y="165150"/>
                    <a:pt x="283547" y="176138"/>
                  </a:cubicBezTo>
                  <a:lnTo>
                    <a:pt x="283547" y="464531"/>
                  </a:lnTo>
                  <a:cubicBezTo>
                    <a:pt x="283833" y="475177"/>
                    <a:pt x="277360" y="480119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2248;p37">
              <a:extLst>
                <a:ext uri="{FF2B5EF4-FFF2-40B4-BE49-F238E27FC236}">
                  <a16:creationId xmlns:a16="http://schemas.microsoft.com/office/drawing/2014/main" id="{B0C18CC1-1A3B-4E3D-9B16-F0A8FAAC8359}"/>
                </a:ext>
              </a:extLst>
            </p:cNvPr>
            <p:cNvSpPr/>
            <p:nvPr/>
          </p:nvSpPr>
          <p:spPr>
            <a:xfrm>
              <a:off x="4098484" y="1260570"/>
              <a:ext cx="283570" cy="477216"/>
            </a:xfrm>
            <a:custGeom>
              <a:avLst/>
              <a:gdLst/>
              <a:ahLst/>
              <a:cxnLst/>
              <a:rect l="l" t="t" r="r" b="b"/>
              <a:pathLst>
                <a:path w="283570" h="477216" extrusionOk="0">
                  <a:moveTo>
                    <a:pt x="269079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079" y="148518"/>
                  </a:lnTo>
                  <a:cubicBezTo>
                    <a:pt x="278008" y="154943"/>
                    <a:pt x="283366" y="165190"/>
                    <a:pt x="283547" y="176178"/>
                  </a:cubicBezTo>
                  <a:lnTo>
                    <a:pt x="283547" y="464571"/>
                  </a:lnTo>
                  <a:cubicBezTo>
                    <a:pt x="284023" y="475217"/>
                    <a:pt x="277075" y="480065"/>
                    <a:pt x="269079" y="4755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2249;p37">
              <a:extLst>
                <a:ext uri="{FF2B5EF4-FFF2-40B4-BE49-F238E27FC236}">
                  <a16:creationId xmlns:a16="http://schemas.microsoft.com/office/drawing/2014/main" id="{1D337DE0-564F-4BDB-AD14-5DFBC80819C7}"/>
                </a:ext>
              </a:extLst>
            </p:cNvPr>
            <p:cNvSpPr/>
            <p:nvPr/>
          </p:nvSpPr>
          <p:spPr>
            <a:xfrm>
              <a:off x="4408015" y="1478241"/>
              <a:ext cx="284023" cy="477161"/>
            </a:xfrm>
            <a:custGeom>
              <a:avLst/>
              <a:gdLst/>
              <a:ahLst/>
              <a:cxnLst/>
              <a:rect l="l" t="t" r="r" b="b"/>
              <a:pathLst>
                <a:path w="284023" h="477161" extrusionOk="0">
                  <a:moveTo>
                    <a:pt x="269556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556" y="148519"/>
                  </a:lnTo>
                  <a:cubicBezTo>
                    <a:pt x="278503" y="154878"/>
                    <a:pt x="283871" y="165116"/>
                    <a:pt x="284023" y="176085"/>
                  </a:cubicBezTo>
                  <a:lnTo>
                    <a:pt x="284023" y="464382"/>
                  </a:lnTo>
                  <a:cubicBezTo>
                    <a:pt x="283547" y="475124"/>
                    <a:pt x="277075" y="480066"/>
                    <a:pt x="269556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2250;p37">
              <a:extLst>
                <a:ext uri="{FF2B5EF4-FFF2-40B4-BE49-F238E27FC236}">
                  <a16:creationId xmlns:a16="http://schemas.microsoft.com/office/drawing/2014/main" id="{EFABBAFB-14DA-4D1C-8FEE-F1266CB636D1}"/>
                </a:ext>
              </a:extLst>
            </p:cNvPr>
            <p:cNvSpPr/>
            <p:nvPr/>
          </p:nvSpPr>
          <p:spPr>
            <a:xfrm>
              <a:off x="3711283" y="1491834"/>
              <a:ext cx="283071" cy="477165"/>
            </a:xfrm>
            <a:custGeom>
              <a:avLst/>
              <a:gdLst/>
              <a:ahLst/>
              <a:cxnLst/>
              <a:rect l="l" t="t" r="r" b="b"/>
              <a:pathLst>
                <a:path w="283071" h="477165" extrusionOk="0">
                  <a:moveTo>
                    <a:pt x="268604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8604" y="148519"/>
                  </a:lnTo>
                  <a:cubicBezTo>
                    <a:pt x="277551" y="154878"/>
                    <a:pt x="282919" y="165116"/>
                    <a:pt x="283071" y="176085"/>
                  </a:cubicBezTo>
                  <a:lnTo>
                    <a:pt x="283071" y="464573"/>
                  </a:lnTo>
                  <a:cubicBezTo>
                    <a:pt x="283071" y="475123"/>
                    <a:pt x="276599" y="480066"/>
                    <a:pt x="268604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2251;p37">
              <a:extLst>
                <a:ext uri="{FF2B5EF4-FFF2-40B4-BE49-F238E27FC236}">
                  <a16:creationId xmlns:a16="http://schemas.microsoft.com/office/drawing/2014/main" id="{D25D8A53-D21C-4FDA-92B2-45396F6744D2}"/>
                </a:ext>
              </a:extLst>
            </p:cNvPr>
            <p:cNvSpPr/>
            <p:nvPr/>
          </p:nvSpPr>
          <p:spPr>
            <a:xfrm>
              <a:off x="3711283" y="1946286"/>
              <a:ext cx="980755" cy="657383"/>
            </a:xfrm>
            <a:custGeom>
              <a:avLst/>
              <a:gdLst/>
              <a:ahLst/>
              <a:cxnLst/>
              <a:rect l="l" t="t" r="r" b="b"/>
              <a:pathLst>
                <a:path w="980755" h="657383" extrusionOk="0">
                  <a:moveTo>
                    <a:pt x="966288" y="655629"/>
                  </a:moveTo>
                  <a:lnTo>
                    <a:pt x="14468" y="106884"/>
                  </a:lnTo>
                  <a:cubicBezTo>
                    <a:pt x="5540" y="100458"/>
                    <a:pt x="181" y="90212"/>
                    <a:pt x="0" y="79224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966288" y="550594"/>
                  </a:lnTo>
                  <a:cubicBezTo>
                    <a:pt x="975235" y="556954"/>
                    <a:pt x="980603" y="567191"/>
                    <a:pt x="980755" y="578160"/>
                  </a:cubicBezTo>
                  <a:lnTo>
                    <a:pt x="980755" y="644698"/>
                  </a:lnTo>
                  <a:cubicBezTo>
                    <a:pt x="980280" y="655344"/>
                    <a:pt x="973807" y="660286"/>
                    <a:pt x="966288" y="65562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2252;p37">
              <a:extLst>
                <a:ext uri="{FF2B5EF4-FFF2-40B4-BE49-F238E27FC236}">
                  <a16:creationId xmlns:a16="http://schemas.microsoft.com/office/drawing/2014/main" id="{A418440D-5D03-44F1-9A1E-2AFD76887092}"/>
                </a:ext>
              </a:extLst>
            </p:cNvPr>
            <p:cNvSpPr/>
            <p:nvPr/>
          </p:nvSpPr>
          <p:spPr>
            <a:xfrm>
              <a:off x="3715090" y="2139055"/>
              <a:ext cx="732044" cy="480371"/>
            </a:xfrm>
            <a:custGeom>
              <a:avLst/>
              <a:gdLst/>
              <a:ahLst/>
              <a:cxnLst/>
              <a:rect l="l" t="t" r="r" b="b"/>
              <a:pathLst>
                <a:path w="732044" h="480371" extrusionOk="0">
                  <a:moveTo>
                    <a:pt x="717577" y="478449"/>
                  </a:moveTo>
                  <a:lnTo>
                    <a:pt x="14468" y="73425"/>
                  </a:lnTo>
                  <a:cubicBezTo>
                    <a:pt x="5521" y="67066"/>
                    <a:pt x="152" y="56829"/>
                    <a:pt x="0" y="45860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717577" y="407064"/>
                  </a:lnTo>
                  <a:cubicBezTo>
                    <a:pt x="726505" y="413489"/>
                    <a:pt x="731864" y="423736"/>
                    <a:pt x="732045" y="434724"/>
                  </a:cubicBezTo>
                  <a:lnTo>
                    <a:pt x="732045" y="467708"/>
                  </a:lnTo>
                  <a:cubicBezTo>
                    <a:pt x="732045" y="478449"/>
                    <a:pt x="725572" y="483392"/>
                    <a:pt x="717577" y="47844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2253;p37">
              <a:extLst>
                <a:ext uri="{FF2B5EF4-FFF2-40B4-BE49-F238E27FC236}">
                  <a16:creationId xmlns:a16="http://schemas.microsoft.com/office/drawing/2014/main" id="{5B2172DA-0E63-4DF4-9B98-92D73E2E0C7F}"/>
                </a:ext>
              </a:extLst>
            </p:cNvPr>
            <p:cNvSpPr/>
            <p:nvPr/>
          </p:nvSpPr>
          <p:spPr>
            <a:xfrm>
              <a:off x="3715090" y="2264376"/>
              <a:ext cx="732044" cy="480312"/>
            </a:xfrm>
            <a:custGeom>
              <a:avLst/>
              <a:gdLst/>
              <a:ahLst/>
              <a:cxnLst/>
              <a:rect l="l" t="t" r="r" b="b"/>
              <a:pathLst>
                <a:path w="732044" h="480312" extrusionOk="0">
                  <a:moveTo>
                    <a:pt x="717577" y="478598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717577" y="407023"/>
                  </a:lnTo>
                  <a:cubicBezTo>
                    <a:pt x="726505" y="413449"/>
                    <a:pt x="731864" y="423696"/>
                    <a:pt x="732045" y="434684"/>
                  </a:cubicBezTo>
                  <a:lnTo>
                    <a:pt x="732045" y="467667"/>
                  </a:lnTo>
                  <a:cubicBezTo>
                    <a:pt x="732045" y="478313"/>
                    <a:pt x="725572" y="483161"/>
                    <a:pt x="717577" y="4785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2254;p37">
              <a:extLst>
                <a:ext uri="{FF2B5EF4-FFF2-40B4-BE49-F238E27FC236}">
                  <a16:creationId xmlns:a16="http://schemas.microsoft.com/office/drawing/2014/main" id="{7466F837-E034-42A0-BA6A-2C644B1985BA}"/>
                </a:ext>
              </a:extLst>
            </p:cNvPr>
            <p:cNvSpPr/>
            <p:nvPr/>
          </p:nvSpPr>
          <p:spPr>
            <a:xfrm>
              <a:off x="3715090" y="2389467"/>
              <a:ext cx="599361" cy="403889"/>
            </a:xfrm>
            <a:custGeom>
              <a:avLst/>
              <a:gdLst/>
              <a:ahLst/>
              <a:cxnLst/>
              <a:rect l="l" t="t" r="r" b="b"/>
              <a:pathLst>
                <a:path w="599361" h="403889" extrusionOk="0">
                  <a:moveTo>
                    <a:pt x="584893" y="402175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584893" y="330600"/>
                  </a:lnTo>
                  <a:cubicBezTo>
                    <a:pt x="593822" y="337026"/>
                    <a:pt x="599180" y="347272"/>
                    <a:pt x="599361" y="358261"/>
                  </a:cubicBezTo>
                  <a:lnTo>
                    <a:pt x="599361" y="391244"/>
                  </a:lnTo>
                  <a:cubicBezTo>
                    <a:pt x="599361" y="401890"/>
                    <a:pt x="592889" y="406738"/>
                    <a:pt x="584893" y="4021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2255;p37">
              <a:extLst>
                <a:ext uri="{FF2B5EF4-FFF2-40B4-BE49-F238E27FC236}">
                  <a16:creationId xmlns:a16="http://schemas.microsoft.com/office/drawing/2014/main" id="{031F4A75-20EE-413A-9DF6-D3869AB421A1}"/>
                </a:ext>
              </a:extLst>
            </p:cNvPr>
            <p:cNvSpPr/>
            <p:nvPr/>
          </p:nvSpPr>
          <p:spPr>
            <a:xfrm>
              <a:off x="4855752" y="2612272"/>
              <a:ext cx="1403078" cy="900663"/>
            </a:xfrm>
            <a:custGeom>
              <a:avLst/>
              <a:gdLst/>
              <a:ahLst/>
              <a:cxnLst/>
              <a:rect l="l" t="t" r="r" b="b"/>
              <a:pathLst>
                <a:path w="1403078" h="900663" extrusionOk="0">
                  <a:moveTo>
                    <a:pt x="1388610" y="898735"/>
                  </a:moveTo>
                  <a:lnTo>
                    <a:pt x="14468" y="106749"/>
                  </a:lnTo>
                  <a:cubicBezTo>
                    <a:pt x="5520" y="100390"/>
                    <a:pt x="152" y="90152"/>
                    <a:pt x="0" y="79183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388610" y="794177"/>
                  </a:lnTo>
                  <a:cubicBezTo>
                    <a:pt x="1397557" y="800536"/>
                    <a:pt x="1402926" y="810773"/>
                    <a:pt x="1403078" y="821742"/>
                  </a:cubicBezTo>
                  <a:lnTo>
                    <a:pt x="1403078" y="888280"/>
                  </a:lnTo>
                  <a:cubicBezTo>
                    <a:pt x="1403078" y="898735"/>
                    <a:pt x="1396606" y="903678"/>
                    <a:pt x="1388610" y="898735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2256;p37">
              <a:extLst>
                <a:ext uri="{FF2B5EF4-FFF2-40B4-BE49-F238E27FC236}">
                  <a16:creationId xmlns:a16="http://schemas.microsoft.com/office/drawing/2014/main" id="{DF62D480-0606-4ACD-963C-666E54F8EC93}"/>
                </a:ext>
              </a:extLst>
            </p:cNvPr>
            <p:cNvSpPr/>
            <p:nvPr/>
          </p:nvSpPr>
          <p:spPr>
            <a:xfrm>
              <a:off x="4860130" y="2805136"/>
              <a:ext cx="1263255" cy="786670"/>
            </a:xfrm>
            <a:custGeom>
              <a:avLst/>
              <a:gdLst/>
              <a:ahLst/>
              <a:cxnLst/>
              <a:rect l="l" t="t" r="r" b="b"/>
              <a:pathLst>
                <a:path w="1263255" h="786670" extrusionOk="0">
                  <a:moveTo>
                    <a:pt x="1248788" y="784956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248788" y="713381"/>
                  </a:lnTo>
                  <a:cubicBezTo>
                    <a:pt x="1257716" y="719807"/>
                    <a:pt x="1263075" y="730053"/>
                    <a:pt x="1263256" y="741042"/>
                  </a:cubicBezTo>
                  <a:lnTo>
                    <a:pt x="1263256" y="774025"/>
                  </a:lnTo>
                  <a:cubicBezTo>
                    <a:pt x="1263256" y="784671"/>
                    <a:pt x="1256783" y="78951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2257;p37">
              <a:extLst>
                <a:ext uri="{FF2B5EF4-FFF2-40B4-BE49-F238E27FC236}">
                  <a16:creationId xmlns:a16="http://schemas.microsoft.com/office/drawing/2014/main" id="{7BFA5453-AF7D-44EE-A8B3-4AE280F34CC5}"/>
                </a:ext>
              </a:extLst>
            </p:cNvPr>
            <p:cNvSpPr/>
            <p:nvPr/>
          </p:nvSpPr>
          <p:spPr>
            <a:xfrm>
              <a:off x="4860130" y="2930227"/>
              <a:ext cx="1263255" cy="786839"/>
            </a:xfrm>
            <a:custGeom>
              <a:avLst/>
              <a:gdLst/>
              <a:ahLst/>
              <a:cxnLst/>
              <a:rect l="l" t="t" r="r" b="b"/>
              <a:pathLst>
                <a:path w="1263255" h="786839" extrusionOk="0">
                  <a:moveTo>
                    <a:pt x="1248788" y="784956"/>
                  </a:moveTo>
                  <a:lnTo>
                    <a:pt x="14468" y="73290"/>
                  </a:lnTo>
                  <a:cubicBezTo>
                    <a:pt x="5540" y="66864"/>
                    <a:pt x="181" y="56617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4"/>
                  </a:cubicBezTo>
                  <a:lnTo>
                    <a:pt x="1248788" y="713856"/>
                  </a:lnTo>
                  <a:cubicBezTo>
                    <a:pt x="1257735" y="720215"/>
                    <a:pt x="1263104" y="730453"/>
                    <a:pt x="1263256" y="741422"/>
                  </a:cubicBezTo>
                  <a:lnTo>
                    <a:pt x="1263256" y="774405"/>
                  </a:lnTo>
                  <a:cubicBezTo>
                    <a:pt x="1263256" y="784671"/>
                    <a:pt x="1256783" y="78989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2258;p37">
              <a:extLst>
                <a:ext uri="{FF2B5EF4-FFF2-40B4-BE49-F238E27FC236}">
                  <a16:creationId xmlns:a16="http://schemas.microsoft.com/office/drawing/2014/main" id="{8076186D-EDAD-497E-9B84-1ACAA56BFC2E}"/>
                </a:ext>
              </a:extLst>
            </p:cNvPr>
            <p:cNvSpPr/>
            <p:nvPr/>
          </p:nvSpPr>
          <p:spPr>
            <a:xfrm>
              <a:off x="4860130" y="3055222"/>
              <a:ext cx="1034438" cy="654829"/>
            </a:xfrm>
            <a:custGeom>
              <a:avLst/>
              <a:gdLst/>
              <a:ahLst/>
              <a:cxnLst/>
              <a:rect l="l" t="t" r="r" b="b"/>
              <a:pathLst>
                <a:path w="1034438" h="654829" extrusionOk="0">
                  <a:moveTo>
                    <a:pt x="1019971" y="653117"/>
                  </a:moveTo>
                  <a:lnTo>
                    <a:pt x="14468" y="73290"/>
                  </a:lnTo>
                  <a:cubicBezTo>
                    <a:pt x="5540" y="66864"/>
                    <a:pt x="181" y="56618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019971" y="581542"/>
                  </a:lnTo>
                  <a:cubicBezTo>
                    <a:pt x="1028880" y="587929"/>
                    <a:pt x="1034248" y="598157"/>
                    <a:pt x="1034438" y="609107"/>
                  </a:cubicBezTo>
                  <a:lnTo>
                    <a:pt x="1034438" y="642091"/>
                  </a:lnTo>
                  <a:cubicBezTo>
                    <a:pt x="1034438" y="652832"/>
                    <a:pt x="1027871" y="657679"/>
                    <a:pt x="1019971" y="65311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2259;p37">
              <a:extLst>
                <a:ext uri="{FF2B5EF4-FFF2-40B4-BE49-F238E27FC236}">
                  <a16:creationId xmlns:a16="http://schemas.microsoft.com/office/drawing/2014/main" id="{A89DF904-8CC6-442A-B5CD-AC7E3B2B6D6D}"/>
                </a:ext>
              </a:extLst>
            </p:cNvPr>
            <p:cNvSpPr/>
            <p:nvPr/>
          </p:nvSpPr>
          <p:spPr>
            <a:xfrm>
              <a:off x="4063456" y="1695343"/>
              <a:ext cx="283556" cy="477207"/>
            </a:xfrm>
            <a:custGeom>
              <a:avLst/>
              <a:gdLst/>
              <a:ahLst/>
              <a:cxnLst/>
              <a:rect l="l" t="t" r="r" b="b"/>
              <a:pathLst>
                <a:path w="283556" h="477207" extrusionOk="0">
                  <a:moveTo>
                    <a:pt x="269365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080" y="148519"/>
                  </a:lnTo>
                  <a:cubicBezTo>
                    <a:pt x="278027" y="154878"/>
                    <a:pt x="283395" y="165116"/>
                    <a:pt x="283547" y="176085"/>
                  </a:cubicBezTo>
                  <a:lnTo>
                    <a:pt x="283547" y="464573"/>
                  </a:lnTo>
                  <a:cubicBezTo>
                    <a:pt x="283833" y="475409"/>
                    <a:pt x="277360" y="480066"/>
                    <a:pt x="269365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2260;p37">
              <a:extLst>
                <a:ext uri="{FF2B5EF4-FFF2-40B4-BE49-F238E27FC236}">
                  <a16:creationId xmlns:a16="http://schemas.microsoft.com/office/drawing/2014/main" id="{E81F8E62-8DE8-4F75-9DC7-66F9BCDFD0B6}"/>
                </a:ext>
              </a:extLst>
            </p:cNvPr>
            <p:cNvSpPr/>
            <p:nvPr/>
          </p:nvSpPr>
          <p:spPr>
            <a:xfrm>
              <a:off x="4408015" y="1893817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518"/>
                  </a:lnTo>
                  <a:cubicBezTo>
                    <a:pt x="278484" y="154943"/>
                    <a:pt x="283842" y="165190"/>
                    <a:pt x="284023" y="176178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2261;p37">
              <a:extLst>
                <a:ext uri="{FF2B5EF4-FFF2-40B4-BE49-F238E27FC236}">
                  <a16:creationId xmlns:a16="http://schemas.microsoft.com/office/drawing/2014/main" id="{DC8CD451-17EF-4959-9487-2E8403CA3DF0}"/>
                </a:ext>
              </a:extLst>
            </p:cNvPr>
            <p:cNvSpPr/>
            <p:nvPr/>
          </p:nvSpPr>
          <p:spPr>
            <a:xfrm>
              <a:off x="4855752" y="1988490"/>
              <a:ext cx="1403078" cy="1286379"/>
            </a:xfrm>
            <a:custGeom>
              <a:avLst/>
              <a:gdLst/>
              <a:ahLst/>
              <a:cxnLst/>
              <a:rect l="l" t="t" r="r" b="b"/>
              <a:pathLst>
                <a:path w="1403078" h="1286379" extrusionOk="0">
                  <a:moveTo>
                    <a:pt x="1388610" y="1284884"/>
                  </a:moveTo>
                  <a:lnTo>
                    <a:pt x="14468" y="492137"/>
                  </a:lnTo>
                  <a:cubicBezTo>
                    <a:pt x="5520" y="485777"/>
                    <a:pt x="152" y="475540"/>
                    <a:pt x="0" y="464571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1388610" y="794027"/>
                  </a:lnTo>
                  <a:cubicBezTo>
                    <a:pt x="1397539" y="800452"/>
                    <a:pt x="1402897" y="810699"/>
                    <a:pt x="1403078" y="821687"/>
                  </a:cubicBezTo>
                  <a:lnTo>
                    <a:pt x="1403078" y="1273572"/>
                  </a:lnTo>
                  <a:cubicBezTo>
                    <a:pt x="1403078" y="1284218"/>
                    <a:pt x="1396606" y="1289066"/>
                    <a:pt x="1388610" y="12848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2262;p37">
              <a:extLst>
                <a:ext uri="{FF2B5EF4-FFF2-40B4-BE49-F238E27FC236}">
                  <a16:creationId xmlns:a16="http://schemas.microsoft.com/office/drawing/2014/main" id="{76A3D4CB-7CBF-4AAA-B251-F71BEEE47C6B}"/>
                </a:ext>
              </a:extLst>
            </p:cNvPr>
            <p:cNvSpPr/>
            <p:nvPr/>
          </p:nvSpPr>
          <p:spPr>
            <a:xfrm>
              <a:off x="4846614" y="1414848"/>
              <a:ext cx="423274" cy="545612"/>
            </a:xfrm>
            <a:custGeom>
              <a:avLst/>
              <a:gdLst/>
              <a:ahLst/>
              <a:cxnLst/>
              <a:rect l="l" t="t" r="r" b="b"/>
              <a:pathLst>
                <a:path w="423274" h="545612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cubicBezTo>
                    <a:pt x="328187" y="95947"/>
                    <a:pt x="423274" y="260295"/>
                    <a:pt x="423274" y="394795"/>
                  </a:cubicBezTo>
                  <a:cubicBezTo>
                    <a:pt x="423274" y="529296"/>
                    <a:pt x="328283" y="584142"/>
                    <a:pt x="211685" y="516844"/>
                  </a:cubicBezTo>
                  <a:close/>
                  <a:moveTo>
                    <a:pt x="211685" y="99274"/>
                  </a:move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cubicBezTo>
                    <a:pt x="362167" y="263811"/>
                    <a:pt x="294493" y="147561"/>
                    <a:pt x="211685" y="9927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2263;p37">
              <a:extLst>
                <a:ext uri="{FF2B5EF4-FFF2-40B4-BE49-F238E27FC236}">
                  <a16:creationId xmlns:a16="http://schemas.microsoft.com/office/drawing/2014/main" id="{438D8FDC-5D15-4D55-A7A6-2480A759566C}"/>
                </a:ext>
              </a:extLst>
            </p:cNvPr>
            <p:cNvSpPr/>
            <p:nvPr/>
          </p:nvSpPr>
          <p:spPr>
            <a:xfrm>
              <a:off x="4846614" y="1414848"/>
              <a:ext cx="423274" cy="545629"/>
            </a:xfrm>
            <a:custGeom>
              <a:avLst/>
              <a:gdLst/>
              <a:ahLst/>
              <a:cxnLst/>
              <a:rect l="l" t="t" r="r" b="b"/>
              <a:pathLst>
                <a:path w="423274" h="545629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lnTo>
                    <a:pt x="211685" y="99274"/>
                  </a:ln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lnTo>
                    <a:pt x="423274" y="394795"/>
                  </a:lnTo>
                  <a:cubicBezTo>
                    <a:pt x="423179" y="529391"/>
                    <a:pt x="328283" y="584142"/>
                    <a:pt x="211685" y="5168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2264;p37">
              <a:extLst>
                <a:ext uri="{FF2B5EF4-FFF2-40B4-BE49-F238E27FC236}">
                  <a16:creationId xmlns:a16="http://schemas.microsoft.com/office/drawing/2014/main" id="{3062738C-657B-4813-9BF5-A7DFFB8B70AC}"/>
                </a:ext>
              </a:extLst>
            </p:cNvPr>
            <p:cNvSpPr/>
            <p:nvPr/>
          </p:nvSpPr>
          <p:spPr>
            <a:xfrm>
              <a:off x="5340323" y="1699604"/>
              <a:ext cx="423179" cy="545654"/>
            </a:xfrm>
            <a:custGeom>
              <a:avLst/>
              <a:gdLst/>
              <a:ahLst/>
              <a:cxnLst/>
              <a:rect l="l" t="t" r="r" b="b"/>
              <a:pathLst>
                <a:path w="423179" h="545654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cubicBezTo>
                    <a:pt x="327997" y="96066"/>
                    <a:pt x="423179" y="260224"/>
                    <a:pt x="423179" y="394820"/>
                  </a:cubicBezTo>
                  <a:cubicBezTo>
                    <a:pt x="423179" y="529416"/>
                    <a:pt x="328283" y="584167"/>
                    <a:pt x="211589" y="516869"/>
                  </a:cubicBezTo>
                  <a:close/>
                  <a:moveTo>
                    <a:pt x="211589" y="99298"/>
                  </a:move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94588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89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2265;p37">
              <a:extLst>
                <a:ext uri="{FF2B5EF4-FFF2-40B4-BE49-F238E27FC236}">
                  <a16:creationId xmlns:a16="http://schemas.microsoft.com/office/drawing/2014/main" id="{DCE6B8A0-592B-4CEF-AE8B-91F75DB759ED}"/>
                </a:ext>
              </a:extLst>
            </p:cNvPr>
            <p:cNvSpPr/>
            <p:nvPr/>
          </p:nvSpPr>
          <p:spPr>
            <a:xfrm>
              <a:off x="5340323" y="1699604"/>
              <a:ext cx="332185" cy="545952"/>
            </a:xfrm>
            <a:custGeom>
              <a:avLst/>
              <a:gdLst/>
              <a:ahLst/>
              <a:cxnLst/>
              <a:rect l="l" t="t" r="r" b="b"/>
              <a:pathLst>
                <a:path w="332185" h="545952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lnTo>
                    <a:pt x="211589" y="99298"/>
                  </a:ln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42429" y="464114"/>
                    <a:pt x="272030" y="470483"/>
                    <a:pt x="297253" y="465350"/>
                  </a:cubicBezTo>
                  <a:lnTo>
                    <a:pt x="332185" y="543389"/>
                  </a:lnTo>
                  <a:cubicBezTo>
                    <a:pt x="296682" y="550898"/>
                    <a:pt x="254993" y="541868"/>
                    <a:pt x="211589" y="5168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2266;p37">
              <a:extLst>
                <a:ext uri="{FF2B5EF4-FFF2-40B4-BE49-F238E27FC236}">
                  <a16:creationId xmlns:a16="http://schemas.microsoft.com/office/drawing/2014/main" id="{713E5AFF-4BBE-4FA6-98C1-0482EF453272}"/>
                </a:ext>
              </a:extLst>
            </p:cNvPr>
            <p:cNvSpPr/>
            <p:nvPr/>
          </p:nvSpPr>
          <p:spPr>
            <a:xfrm>
              <a:off x="5834032" y="1984194"/>
              <a:ext cx="423559" cy="545654"/>
            </a:xfrm>
            <a:custGeom>
              <a:avLst/>
              <a:gdLst/>
              <a:ahLst/>
              <a:cxnLst/>
              <a:rect l="l" t="t" r="r" b="b"/>
              <a:pathLst>
                <a:path w="423559" h="545654" extrusionOk="0">
                  <a:moveTo>
                    <a:pt x="211590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7"/>
                    <a:pt x="95182" y="-38529"/>
                    <a:pt x="211590" y="28769"/>
                  </a:cubicBezTo>
                  <a:cubicBezTo>
                    <a:pt x="327997" y="96066"/>
                    <a:pt x="423560" y="260224"/>
                    <a:pt x="423560" y="394820"/>
                  </a:cubicBezTo>
                  <a:cubicBezTo>
                    <a:pt x="423560" y="529416"/>
                    <a:pt x="328378" y="584167"/>
                    <a:pt x="211590" y="516869"/>
                  </a:cubicBezTo>
                  <a:close/>
                  <a:moveTo>
                    <a:pt x="211590" y="99298"/>
                  </a:moveTo>
                  <a:cubicBezTo>
                    <a:pt x="128686" y="51772"/>
                    <a:pt x="61107" y="90363"/>
                    <a:pt x="61107" y="186082"/>
                  </a:cubicBezTo>
                  <a:cubicBezTo>
                    <a:pt x="61107" y="281801"/>
                    <a:pt x="128686" y="398432"/>
                    <a:pt x="211590" y="446339"/>
                  </a:cubicBezTo>
                  <a:cubicBezTo>
                    <a:pt x="294493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90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2267;p37">
              <a:extLst>
                <a:ext uri="{FF2B5EF4-FFF2-40B4-BE49-F238E27FC236}">
                  <a16:creationId xmlns:a16="http://schemas.microsoft.com/office/drawing/2014/main" id="{444ED3AB-C475-459A-AC3C-84615ACADE9F}"/>
                </a:ext>
              </a:extLst>
            </p:cNvPr>
            <p:cNvSpPr/>
            <p:nvPr/>
          </p:nvSpPr>
          <p:spPr>
            <a:xfrm>
              <a:off x="5834032" y="1984177"/>
              <a:ext cx="211589" cy="286951"/>
            </a:xfrm>
            <a:custGeom>
              <a:avLst/>
              <a:gdLst/>
              <a:ahLst/>
              <a:cxnLst/>
              <a:rect l="l" t="t" r="r" b="b"/>
              <a:pathLst>
                <a:path w="211589" h="286951" extrusionOk="0">
                  <a:moveTo>
                    <a:pt x="27412" y="286951"/>
                  </a:moveTo>
                  <a:cubicBezTo>
                    <a:pt x="10194" y="243588"/>
                    <a:pt x="904" y="197477"/>
                    <a:pt x="0" y="150835"/>
                  </a:cubicBezTo>
                  <a:cubicBezTo>
                    <a:pt x="0" y="16239"/>
                    <a:pt x="95182" y="-38512"/>
                    <a:pt x="211590" y="28786"/>
                  </a:cubicBezTo>
                  <a:lnTo>
                    <a:pt x="211590" y="99315"/>
                  </a:lnTo>
                  <a:cubicBezTo>
                    <a:pt x="128686" y="51789"/>
                    <a:pt x="61107" y="90380"/>
                    <a:pt x="61107" y="186099"/>
                  </a:cubicBezTo>
                  <a:cubicBezTo>
                    <a:pt x="61830" y="219254"/>
                    <a:pt x="68540" y="252000"/>
                    <a:pt x="80905" y="2827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2268;p37">
              <a:extLst>
                <a:ext uri="{FF2B5EF4-FFF2-40B4-BE49-F238E27FC236}">
                  <a16:creationId xmlns:a16="http://schemas.microsoft.com/office/drawing/2014/main" id="{32CE7E8F-E02F-409D-A1C0-AC90F6D7AFA8}"/>
                </a:ext>
              </a:extLst>
            </p:cNvPr>
            <p:cNvSpPr/>
            <p:nvPr/>
          </p:nvSpPr>
          <p:spPr>
            <a:xfrm>
              <a:off x="5029839" y="4705642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4" y="247900"/>
                    <a:pt x="0" y="192406"/>
                    <a:pt x="0" y="123950"/>
                  </a:cubicBezTo>
                  <a:cubicBezTo>
                    <a:pt x="0" y="55494"/>
                    <a:pt x="96224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2269;p37">
              <a:extLst>
                <a:ext uri="{FF2B5EF4-FFF2-40B4-BE49-F238E27FC236}">
                  <a16:creationId xmlns:a16="http://schemas.microsoft.com/office/drawing/2014/main" id="{AABFC080-9DD1-4782-B15D-5219B3DE1110}"/>
                </a:ext>
              </a:extLst>
            </p:cNvPr>
            <p:cNvSpPr/>
            <p:nvPr/>
          </p:nvSpPr>
          <p:spPr>
            <a:xfrm>
              <a:off x="2757750" y="4754499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2270;p37">
              <a:extLst>
                <a:ext uri="{FF2B5EF4-FFF2-40B4-BE49-F238E27FC236}">
                  <a16:creationId xmlns:a16="http://schemas.microsoft.com/office/drawing/2014/main" id="{0D1501D3-5987-45EE-AD09-E4D6A3428D3B}"/>
                </a:ext>
              </a:extLst>
            </p:cNvPr>
            <p:cNvSpPr/>
            <p:nvPr/>
          </p:nvSpPr>
          <p:spPr>
            <a:xfrm>
              <a:off x="2012475" y="3630110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6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2271;p37">
              <a:extLst>
                <a:ext uri="{FF2B5EF4-FFF2-40B4-BE49-F238E27FC236}">
                  <a16:creationId xmlns:a16="http://schemas.microsoft.com/office/drawing/2014/main" id="{ACF24C5C-A9A3-49E4-86E7-D4050F29CEA8}"/>
                </a:ext>
              </a:extLst>
            </p:cNvPr>
            <p:cNvSpPr/>
            <p:nvPr/>
          </p:nvSpPr>
          <p:spPr>
            <a:xfrm>
              <a:off x="5244274" y="4799933"/>
              <a:ext cx="116580" cy="90224"/>
            </a:xfrm>
            <a:custGeom>
              <a:avLst/>
              <a:gdLst/>
              <a:ahLst/>
              <a:cxnLst/>
              <a:rect l="l" t="t" r="r" b="b"/>
              <a:pathLst>
                <a:path w="116580" h="90224" extrusionOk="0">
                  <a:moveTo>
                    <a:pt x="107376" y="2"/>
                  </a:moveTo>
                  <a:cubicBezTo>
                    <a:pt x="93384" y="11314"/>
                    <a:pt x="72729" y="953"/>
                    <a:pt x="71682" y="1998"/>
                  </a:cubicBezTo>
                  <a:cubicBezTo>
                    <a:pt x="55302" y="17235"/>
                    <a:pt x="38074" y="31550"/>
                    <a:pt x="20094" y="44868"/>
                  </a:cubicBezTo>
                  <a:cubicBezTo>
                    <a:pt x="11432" y="51711"/>
                    <a:pt x="-2179" y="60932"/>
                    <a:pt x="296" y="74049"/>
                  </a:cubicBezTo>
                  <a:cubicBezTo>
                    <a:pt x="4674" y="97622"/>
                    <a:pt x="42366" y="90398"/>
                    <a:pt x="56644" y="83554"/>
                  </a:cubicBezTo>
                  <a:cubicBezTo>
                    <a:pt x="70921" y="76711"/>
                    <a:pt x="82438" y="64544"/>
                    <a:pt x="95954" y="56084"/>
                  </a:cubicBezTo>
                  <a:cubicBezTo>
                    <a:pt x="105472" y="50095"/>
                    <a:pt x="114990" y="47054"/>
                    <a:pt x="116513" y="34887"/>
                  </a:cubicBezTo>
                  <a:cubicBezTo>
                    <a:pt x="117370" y="27187"/>
                    <a:pt x="109850" y="-283"/>
                    <a:pt x="107376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2272;p37">
              <a:extLst>
                <a:ext uri="{FF2B5EF4-FFF2-40B4-BE49-F238E27FC236}">
                  <a16:creationId xmlns:a16="http://schemas.microsoft.com/office/drawing/2014/main" id="{C23A20CB-1401-4E31-B7C5-928A43B6712D}"/>
                </a:ext>
              </a:extLst>
            </p:cNvPr>
            <p:cNvSpPr/>
            <p:nvPr/>
          </p:nvSpPr>
          <p:spPr>
            <a:xfrm>
              <a:off x="5244760" y="4829592"/>
              <a:ext cx="116051" cy="60483"/>
            </a:xfrm>
            <a:custGeom>
              <a:avLst/>
              <a:gdLst/>
              <a:ahLst/>
              <a:cxnLst/>
              <a:rect l="l" t="t" r="r" b="b"/>
              <a:pathLst>
                <a:path w="116051" h="60483" extrusionOk="0">
                  <a:moveTo>
                    <a:pt x="115837" y="0"/>
                  </a:moveTo>
                  <a:cubicBezTo>
                    <a:pt x="113933" y="11597"/>
                    <a:pt x="104605" y="14828"/>
                    <a:pt x="95087" y="20722"/>
                  </a:cubicBezTo>
                  <a:cubicBezTo>
                    <a:pt x="81381" y="29182"/>
                    <a:pt x="69388" y="41443"/>
                    <a:pt x="55110" y="48572"/>
                  </a:cubicBezTo>
                  <a:cubicBezTo>
                    <a:pt x="40833" y="55701"/>
                    <a:pt x="9233" y="61880"/>
                    <a:pt x="0" y="45055"/>
                  </a:cubicBezTo>
                  <a:cubicBezTo>
                    <a:pt x="5045" y="67773"/>
                    <a:pt x="42071" y="60644"/>
                    <a:pt x="56157" y="53515"/>
                  </a:cubicBezTo>
                  <a:cubicBezTo>
                    <a:pt x="70244" y="46386"/>
                    <a:pt x="81952" y="34505"/>
                    <a:pt x="95468" y="26045"/>
                  </a:cubicBezTo>
                  <a:cubicBezTo>
                    <a:pt x="104986" y="20056"/>
                    <a:pt x="114504" y="17015"/>
                    <a:pt x="116027" y="4848"/>
                  </a:cubicBezTo>
                  <a:cubicBezTo>
                    <a:pt x="116093" y="3232"/>
                    <a:pt x="116027" y="1606"/>
                    <a:pt x="11583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2273;p37">
              <a:extLst>
                <a:ext uri="{FF2B5EF4-FFF2-40B4-BE49-F238E27FC236}">
                  <a16:creationId xmlns:a16="http://schemas.microsoft.com/office/drawing/2014/main" id="{825AF024-E16F-40FE-8391-A8433A7DAD13}"/>
                </a:ext>
              </a:extLst>
            </p:cNvPr>
            <p:cNvSpPr/>
            <p:nvPr/>
          </p:nvSpPr>
          <p:spPr>
            <a:xfrm>
              <a:off x="5124630" y="4754816"/>
              <a:ext cx="116569" cy="86887"/>
            </a:xfrm>
            <a:custGeom>
              <a:avLst/>
              <a:gdLst/>
              <a:ahLst/>
              <a:cxnLst/>
              <a:rect l="l" t="t" r="r" b="b"/>
              <a:pathLst>
                <a:path w="116569" h="86887" extrusionOk="0">
                  <a:moveTo>
                    <a:pt x="105663" y="63"/>
                  </a:moveTo>
                  <a:cubicBezTo>
                    <a:pt x="91671" y="11470"/>
                    <a:pt x="67590" y="-982"/>
                    <a:pt x="66162" y="63"/>
                  </a:cubicBezTo>
                  <a:cubicBezTo>
                    <a:pt x="51656" y="14825"/>
                    <a:pt x="36275" y="28693"/>
                    <a:pt x="20094" y="41602"/>
                  </a:cubicBezTo>
                  <a:cubicBezTo>
                    <a:pt x="11432" y="48446"/>
                    <a:pt x="-2179" y="57666"/>
                    <a:pt x="296" y="70783"/>
                  </a:cubicBezTo>
                  <a:cubicBezTo>
                    <a:pt x="4674" y="94261"/>
                    <a:pt x="42367" y="87037"/>
                    <a:pt x="56644" y="80288"/>
                  </a:cubicBezTo>
                  <a:cubicBezTo>
                    <a:pt x="70921" y="73540"/>
                    <a:pt x="82438" y="61278"/>
                    <a:pt x="95954" y="52818"/>
                  </a:cubicBezTo>
                  <a:cubicBezTo>
                    <a:pt x="105472" y="46830"/>
                    <a:pt x="114990" y="43313"/>
                    <a:pt x="116513" y="31621"/>
                  </a:cubicBezTo>
                  <a:cubicBezTo>
                    <a:pt x="117370" y="23922"/>
                    <a:pt x="108137" y="-222"/>
                    <a:pt x="105663" y="6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2274;p37">
              <a:extLst>
                <a:ext uri="{FF2B5EF4-FFF2-40B4-BE49-F238E27FC236}">
                  <a16:creationId xmlns:a16="http://schemas.microsoft.com/office/drawing/2014/main" id="{7FB4D1F4-459F-4F15-A590-F3672E9BA250}"/>
                </a:ext>
              </a:extLst>
            </p:cNvPr>
            <p:cNvSpPr/>
            <p:nvPr/>
          </p:nvSpPr>
          <p:spPr>
            <a:xfrm>
              <a:off x="5124926" y="4782825"/>
              <a:ext cx="116097" cy="60673"/>
            </a:xfrm>
            <a:custGeom>
              <a:avLst/>
              <a:gdLst/>
              <a:ahLst/>
              <a:cxnLst/>
              <a:rect l="l" t="t" r="r" b="b"/>
              <a:pathLst>
                <a:path w="116097" h="60673" extrusionOk="0">
                  <a:moveTo>
                    <a:pt x="115741" y="0"/>
                  </a:moveTo>
                  <a:cubicBezTo>
                    <a:pt x="114218" y="11407"/>
                    <a:pt x="104700" y="14828"/>
                    <a:pt x="95182" y="20912"/>
                  </a:cubicBezTo>
                  <a:cubicBezTo>
                    <a:pt x="81476" y="29372"/>
                    <a:pt x="69388" y="41634"/>
                    <a:pt x="55205" y="48858"/>
                  </a:cubicBezTo>
                  <a:cubicBezTo>
                    <a:pt x="41023" y="56082"/>
                    <a:pt x="9233" y="62070"/>
                    <a:pt x="0" y="45246"/>
                  </a:cubicBezTo>
                  <a:cubicBezTo>
                    <a:pt x="5045" y="67964"/>
                    <a:pt x="42071" y="60835"/>
                    <a:pt x="56157" y="53706"/>
                  </a:cubicBezTo>
                  <a:cubicBezTo>
                    <a:pt x="70244" y="46577"/>
                    <a:pt x="82047" y="34695"/>
                    <a:pt x="95468" y="26235"/>
                  </a:cubicBezTo>
                  <a:cubicBezTo>
                    <a:pt x="104986" y="20246"/>
                    <a:pt x="114504" y="16730"/>
                    <a:pt x="116027" y="5133"/>
                  </a:cubicBezTo>
                  <a:cubicBezTo>
                    <a:pt x="116179" y="3413"/>
                    <a:pt x="116084" y="1692"/>
                    <a:pt x="11574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2275;p37">
              <a:extLst>
                <a:ext uri="{FF2B5EF4-FFF2-40B4-BE49-F238E27FC236}">
                  <a16:creationId xmlns:a16="http://schemas.microsoft.com/office/drawing/2014/main" id="{F1949264-1B5B-4A5E-8DBD-BCAB3E5657F2}"/>
                </a:ext>
              </a:extLst>
            </p:cNvPr>
            <p:cNvSpPr/>
            <p:nvPr/>
          </p:nvSpPr>
          <p:spPr>
            <a:xfrm>
              <a:off x="5154433" y="4234936"/>
              <a:ext cx="200389" cy="574156"/>
            </a:xfrm>
            <a:custGeom>
              <a:avLst/>
              <a:gdLst/>
              <a:ahLst/>
              <a:cxnLst/>
              <a:rect l="l" t="t" r="r" b="b"/>
              <a:pathLst>
                <a:path w="200389" h="574156" extrusionOk="0">
                  <a:moveTo>
                    <a:pt x="197978" y="49713"/>
                  </a:moveTo>
                  <a:cubicBezTo>
                    <a:pt x="197312" y="70815"/>
                    <a:pt x="190745" y="162447"/>
                    <a:pt x="187794" y="211304"/>
                  </a:cubicBezTo>
                  <a:cubicBezTo>
                    <a:pt x="184843" y="260162"/>
                    <a:pt x="184177" y="319285"/>
                    <a:pt x="184177" y="319285"/>
                  </a:cubicBezTo>
                  <a:cubicBezTo>
                    <a:pt x="184177" y="319285"/>
                    <a:pt x="192553" y="354645"/>
                    <a:pt x="197978" y="396183"/>
                  </a:cubicBezTo>
                  <a:cubicBezTo>
                    <a:pt x="203404" y="437722"/>
                    <a:pt x="197978" y="568896"/>
                    <a:pt x="197978" y="568896"/>
                  </a:cubicBezTo>
                  <a:cubicBezTo>
                    <a:pt x="187080" y="575911"/>
                    <a:pt x="173088" y="575911"/>
                    <a:pt x="162190" y="568896"/>
                  </a:cubicBezTo>
                  <a:cubicBezTo>
                    <a:pt x="162190" y="568896"/>
                    <a:pt x="139822" y="464337"/>
                    <a:pt x="129448" y="416810"/>
                  </a:cubicBezTo>
                  <a:cubicBezTo>
                    <a:pt x="119073" y="369283"/>
                    <a:pt x="117359" y="342193"/>
                    <a:pt x="111934" y="312916"/>
                  </a:cubicBezTo>
                  <a:cubicBezTo>
                    <a:pt x="105462" y="277462"/>
                    <a:pt x="91375" y="111973"/>
                    <a:pt x="91375" y="111973"/>
                  </a:cubicBezTo>
                  <a:lnTo>
                    <a:pt x="85759" y="111973"/>
                  </a:lnTo>
                  <a:lnTo>
                    <a:pt x="70815" y="298753"/>
                  </a:lnTo>
                  <a:cubicBezTo>
                    <a:pt x="75479" y="312508"/>
                    <a:pt x="78668" y="326718"/>
                    <a:pt x="80334" y="341147"/>
                  </a:cubicBezTo>
                  <a:cubicBezTo>
                    <a:pt x="84426" y="371660"/>
                    <a:pt x="76050" y="524696"/>
                    <a:pt x="76050" y="524696"/>
                  </a:cubicBezTo>
                  <a:cubicBezTo>
                    <a:pt x="63896" y="531473"/>
                    <a:pt x="48952" y="530846"/>
                    <a:pt x="37406" y="523080"/>
                  </a:cubicBezTo>
                  <a:cubicBezTo>
                    <a:pt x="37406" y="523080"/>
                    <a:pt x="0" y="320331"/>
                    <a:pt x="0" y="289533"/>
                  </a:cubicBezTo>
                  <a:cubicBezTo>
                    <a:pt x="0" y="269097"/>
                    <a:pt x="3522" y="0"/>
                    <a:pt x="352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2276;p37">
              <a:extLst>
                <a:ext uri="{FF2B5EF4-FFF2-40B4-BE49-F238E27FC236}">
                  <a16:creationId xmlns:a16="http://schemas.microsoft.com/office/drawing/2014/main" id="{B5B61DA5-9CE5-497E-BDA8-F9A48E9D34BF}"/>
                </a:ext>
              </a:extLst>
            </p:cNvPr>
            <p:cNvSpPr/>
            <p:nvPr/>
          </p:nvSpPr>
          <p:spPr>
            <a:xfrm>
              <a:off x="5199628" y="3876679"/>
              <a:ext cx="128464" cy="124722"/>
            </a:xfrm>
            <a:custGeom>
              <a:avLst/>
              <a:gdLst/>
              <a:ahLst/>
              <a:cxnLst/>
              <a:rect l="l" t="t" r="r" b="b"/>
              <a:pathLst>
                <a:path w="128464" h="124722" extrusionOk="0">
                  <a:moveTo>
                    <a:pt x="102147" y="0"/>
                  </a:moveTo>
                  <a:cubicBezTo>
                    <a:pt x="102147" y="0"/>
                    <a:pt x="99767" y="46006"/>
                    <a:pt x="100814" y="50093"/>
                  </a:cubicBezTo>
                  <a:cubicBezTo>
                    <a:pt x="101861" y="54181"/>
                    <a:pt x="121945" y="67678"/>
                    <a:pt x="127846" y="72431"/>
                  </a:cubicBezTo>
                  <a:cubicBezTo>
                    <a:pt x="133747" y="77183"/>
                    <a:pt x="95960" y="114445"/>
                    <a:pt x="77590" y="122904"/>
                  </a:cubicBezTo>
                  <a:cubicBezTo>
                    <a:pt x="59220" y="131364"/>
                    <a:pt x="1444" y="109122"/>
                    <a:pt x="112" y="80606"/>
                  </a:cubicBezTo>
                  <a:cubicBezTo>
                    <a:pt x="-1221" y="52089"/>
                    <a:pt x="9630" y="28136"/>
                    <a:pt x="19148" y="26900"/>
                  </a:cubicBezTo>
                  <a:cubicBezTo>
                    <a:pt x="28666" y="25665"/>
                    <a:pt x="102147" y="0"/>
                    <a:pt x="10214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2277;p37">
              <a:extLst>
                <a:ext uri="{FF2B5EF4-FFF2-40B4-BE49-F238E27FC236}">
                  <a16:creationId xmlns:a16="http://schemas.microsoft.com/office/drawing/2014/main" id="{0E8F32E9-5A65-47E7-B0DB-05BDDF2C7A87}"/>
                </a:ext>
              </a:extLst>
            </p:cNvPr>
            <p:cNvSpPr/>
            <p:nvPr/>
          </p:nvSpPr>
          <p:spPr>
            <a:xfrm>
              <a:off x="4996526" y="3906336"/>
              <a:ext cx="182485" cy="357686"/>
            </a:xfrm>
            <a:custGeom>
              <a:avLst/>
              <a:gdLst/>
              <a:ahLst/>
              <a:cxnLst/>
              <a:rect l="l" t="t" r="r" b="b"/>
              <a:pathLst>
                <a:path w="182485" h="357686" extrusionOk="0">
                  <a:moveTo>
                    <a:pt x="179037" y="55702"/>
                  </a:moveTo>
                  <a:cubicBezTo>
                    <a:pt x="176277" y="35455"/>
                    <a:pt x="189697" y="16159"/>
                    <a:pt x="176752" y="0"/>
                  </a:cubicBezTo>
                  <a:cubicBezTo>
                    <a:pt x="131255" y="44485"/>
                    <a:pt x="136966" y="162352"/>
                    <a:pt x="126687" y="237634"/>
                  </a:cubicBezTo>
                  <a:cubicBezTo>
                    <a:pt x="92897" y="272899"/>
                    <a:pt x="25032" y="307594"/>
                    <a:pt x="5901" y="316243"/>
                  </a:cubicBezTo>
                  <a:cubicBezTo>
                    <a:pt x="2379" y="317764"/>
                    <a:pt x="-572" y="319475"/>
                    <a:pt x="95" y="323182"/>
                  </a:cubicBezTo>
                  <a:cubicBezTo>
                    <a:pt x="2665" y="335739"/>
                    <a:pt x="8061" y="347535"/>
                    <a:pt x="15895" y="357687"/>
                  </a:cubicBezTo>
                  <a:cubicBezTo>
                    <a:pt x="60821" y="338676"/>
                    <a:pt x="93183" y="327270"/>
                    <a:pt x="149150" y="274040"/>
                  </a:cubicBezTo>
                  <a:cubicBezTo>
                    <a:pt x="154509" y="268175"/>
                    <a:pt x="159287" y="261806"/>
                    <a:pt x="163427" y="255029"/>
                  </a:cubicBezTo>
                  <a:cubicBezTo>
                    <a:pt x="179608" y="207502"/>
                    <a:pt x="183605" y="90776"/>
                    <a:pt x="179037" y="5570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2278;p37">
              <a:extLst>
                <a:ext uri="{FF2B5EF4-FFF2-40B4-BE49-F238E27FC236}">
                  <a16:creationId xmlns:a16="http://schemas.microsoft.com/office/drawing/2014/main" id="{D46F6FCD-658F-4F44-BD91-515A7066A6C7}"/>
                </a:ext>
              </a:extLst>
            </p:cNvPr>
            <p:cNvSpPr/>
            <p:nvPr/>
          </p:nvSpPr>
          <p:spPr>
            <a:xfrm>
              <a:off x="5154414" y="3894094"/>
              <a:ext cx="208226" cy="419055"/>
            </a:xfrm>
            <a:custGeom>
              <a:avLst/>
              <a:gdLst/>
              <a:ahLst/>
              <a:cxnLst/>
              <a:rect l="l" t="t" r="r" b="b"/>
              <a:pathLst>
                <a:path w="208226" h="419055" extrusionOk="0">
                  <a:moveTo>
                    <a:pt x="152500" y="40568"/>
                  </a:moveTo>
                  <a:cubicBezTo>
                    <a:pt x="152500" y="40568"/>
                    <a:pt x="119091" y="90376"/>
                    <a:pt x="72357" y="95033"/>
                  </a:cubicBezTo>
                  <a:cubicBezTo>
                    <a:pt x="57699" y="80585"/>
                    <a:pt x="56366" y="29066"/>
                    <a:pt x="76736" y="12527"/>
                  </a:cubicBezTo>
                  <a:cubicBezTo>
                    <a:pt x="76736" y="12527"/>
                    <a:pt x="57699" y="-2491"/>
                    <a:pt x="45135" y="360"/>
                  </a:cubicBezTo>
                  <a:cubicBezTo>
                    <a:pt x="31448" y="8744"/>
                    <a:pt x="21301" y="21823"/>
                    <a:pt x="16580" y="37146"/>
                  </a:cubicBezTo>
                  <a:cubicBezTo>
                    <a:pt x="4702" y="71346"/>
                    <a:pt x="-885" y="107419"/>
                    <a:pt x="114" y="143606"/>
                  </a:cubicBezTo>
                  <a:cubicBezTo>
                    <a:pt x="875" y="192463"/>
                    <a:pt x="114" y="341698"/>
                    <a:pt x="114" y="341698"/>
                  </a:cubicBezTo>
                  <a:cubicBezTo>
                    <a:pt x="114" y="341698"/>
                    <a:pt x="6681" y="373256"/>
                    <a:pt x="48942" y="396734"/>
                  </a:cubicBezTo>
                  <a:cubicBezTo>
                    <a:pt x="91203" y="420212"/>
                    <a:pt x="122423" y="422493"/>
                    <a:pt x="151073" y="415745"/>
                  </a:cubicBezTo>
                  <a:cubicBezTo>
                    <a:pt x="174678" y="410231"/>
                    <a:pt x="194190" y="401866"/>
                    <a:pt x="202376" y="384757"/>
                  </a:cubicBezTo>
                  <a:cubicBezTo>
                    <a:pt x="200282" y="350538"/>
                    <a:pt x="184957" y="261187"/>
                    <a:pt x="190668" y="218223"/>
                  </a:cubicBezTo>
                  <a:cubicBezTo>
                    <a:pt x="196379" y="175259"/>
                    <a:pt x="205517" y="143036"/>
                    <a:pt x="207801" y="108246"/>
                  </a:cubicBezTo>
                  <a:cubicBezTo>
                    <a:pt x="210086" y="73456"/>
                    <a:pt x="203233" y="74122"/>
                    <a:pt x="185814" y="61765"/>
                  </a:cubicBezTo>
                  <a:cubicBezTo>
                    <a:pt x="175239" y="53904"/>
                    <a:pt x="164103" y="46813"/>
                    <a:pt x="152500" y="4056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2279;p37">
              <a:extLst>
                <a:ext uri="{FF2B5EF4-FFF2-40B4-BE49-F238E27FC236}">
                  <a16:creationId xmlns:a16="http://schemas.microsoft.com/office/drawing/2014/main" id="{C014659A-CA77-4E3B-A017-F5F8A245C486}"/>
                </a:ext>
              </a:extLst>
            </p:cNvPr>
            <p:cNvSpPr/>
            <p:nvPr/>
          </p:nvSpPr>
          <p:spPr>
            <a:xfrm>
              <a:off x="5194395" y="3747198"/>
              <a:ext cx="138431" cy="168252"/>
            </a:xfrm>
            <a:custGeom>
              <a:avLst/>
              <a:gdLst/>
              <a:ahLst/>
              <a:cxnLst/>
              <a:rect l="l" t="t" r="r" b="b"/>
              <a:pathLst>
                <a:path w="138431" h="168252" extrusionOk="0">
                  <a:moveTo>
                    <a:pt x="3060" y="60853"/>
                  </a:moveTo>
                  <a:lnTo>
                    <a:pt x="3060" y="60853"/>
                  </a:lnTo>
                  <a:cubicBezTo>
                    <a:pt x="8581" y="25112"/>
                    <a:pt x="34375" y="-1978"/>
                    <a:pt x="71211" y="113"/>
                  </a:cubicBezTo>
                  <a:cubicBezTo>
                    <a:pt x="110416" y="2252"/>
                    <a:pt x="140465" y="35740"/>
                    <a:pt x="138324" y="74892"/>
                  </a:cubicBezTo>
                  <a:cubicBezTo>
                    <a:pt x="138314" y="74930"/>
                    <a:pt x="138314" y="74978"/>
                    <a:pt x="138314" y="75016"/>
                  </a:cubicBezTo>
                  <a:cubicBezTo>
                    <a:pt x="137105" y="96983"/>
                    <a:pt x="125655" y="117105"/>
                    <a:pt x="107380" y="129386"/>
                  </a:cubicBezTo>
                  <a:cubicBezTo>
                    <a:pt x="106057" y="134804"/>
                    <a:pt x="104144" y="140071"/>
                    <a:pt x="101669" y="145070"/>
                  </a:cubicBezTo>
                  <a:cubicBezTo>
                    <a:pt x="88629" y="160279"/>
                    <a:pt x="49128" y="169689"/>
                    <a:pt x="37802" y="168073"/>
                  </a:cubicBezTo>
                  <a:cubicBezTo>
                    <a:pt x="23981" y="166847"/>
                    <a:pt x="12322" y="157313"/>
                    <a:pt x="8391" y="144025"/>
                  </a:cubicBezTo>
                  <a:cubicBezTo>
                    <a:pt x="-3793" y="115984"/>
                    <a:pt x="15" y="78533"/>
                    <a:pt x="3060" y="6085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2280;p37">
              <a:extLst>
                <a:ext uri="{FF2B5EF4-FFF2-40B4-BE49-F238E27FC236}">
                  <a16:creationId xmlns:a16="http://schemas.microsoft.com/office/drawing/2014/main" id="{D4D00B85-E3DA-426B-9AE2-27A58BCA02D9}"/>
                </a:ext>
              </a:extLst>
            </p:cNvPr>
            <p:cNvSpPr/>
            <p:nvPr/>
          </p:nvSpPr>
          <p:spPr>
            <a:xfrm>
              <a:off x="5199668" y="3732408"/>
              <a:ext cx="146095" cy="144175"/>
            </a:xfrm>
            <a:custGeom>
              <a:avLst/>
              <a:gdLst/>
              <a:ahLst/>
              <a:cxnLst/>
              <a:rect l="l" t="t" r="r" b="b"/>
              <a:pathLst>
                <a:path w="146095" h="144175" extrusionOk="0">
                  <a:moveTo>
                    <a:pt x="102106" y="144176"/>
                  </a:moveTo>
                  <a:lnTo>
                    <a:pt x="102106" y="144176"/>
                  </a:lnTo>
                  <a:lnTo>
                    <a:pt x="98680" y="113093"/>
                  </a:lnTo>
                  <a:cubicBezTo>
                    <a:pt x="98680" y="113093"/>
                    <a:pt x="124189" y="47126"/>
                    <a:pt x="63939" y="59768"/>
                  </a:cubicBezTo>
                  <a:cubicBezTo>
                    <a:pt x="24152" y="68133"/>
                    <a:pt x="14158" y="71745"/>
                    <a:pt x="2070" y="45130"/>
                  </a:cubicBezTo>
                  <a:cubicBezTo>
                    <a:pt x="-10018" y="18515"/>
                    <a:pt x="32624" y="-5534"/>
                    <a:pt x="83355" y="1120"/>
                  </a:cubicBezTo>
                  <a:cubicBezTo>
                    <a:pt x="119563" y="4913"/>
                    <a:pt x="146823" y="35777"/>
                    <a:pt x="146081" y="72125"/>
                  </a:cubicBezTo>
                  <a:cubicBezTo>
                    <a:pt x="144748" y="91706"/>
                    <a:pt x="139513" y="131439"/>
                    <a:pt x="102106" y="144176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2281;p37">
              <a:extLst>
                <a:ext uri="{FF2B5EF4-FFF2-40B4-BE49-F238E27FC236}">
                  <a16:creationId xmlns:a16="http://schemas.microsoft.com/office/drawing/2014/main" id="{F0754CA7-C613-4F04-81C1-A529B9E4FF87}"/>
                </a:ext>
              </a:extLst>
            </p:cNvPr>
            <p:cNvSpPr/>
            <p:nvPr/>
          </p:nvSpPr>
          <p:spPr>
            <a:xfrm>
              <a:off x="5186268" y="3976961"/>
              <a:ext cx="186859" cy="320520"/>
            </a:xfrm>
            <a:custGeom>
              <a:avLst/>
              <a:gdLst/>
              <a:ahLst/>
              <a:cxnLst/>
              <a:rect l="l" t="t" r="r" b="b"/>
              <a:pathLst>
                <a:path w="186859" h="320520" extrusionOk="0">
                  <a:moveTo>
                    <a:pt x="186131" y="4943"/>
                  </a:moveTo>
                  <a:cubicBezTo>
                    <a:pt x="168713" y="0"/>
                    <a:pt x="182039" y="4088"/>
                    <a:pt x="168713" y="0"/>
                  </a:cubicBezTo>
                  <a:cubicBezTo>
                    <a:pt x="123216" y="44485"/>
                    <a:pt x="128832" y="120813"/>
                    <a:pt x="118552" y="196286"/>
                  </a:cubicBezTo>
                  <a:cubicBezTo>
                    <a:pt x="93424" y="237729"/>
                    <a:pt x="241" y="293906"/>
                    <a:pt x="241" y="293906"/>
                  </a:cubicBezTo>
                  <a:cubicBezTo>
                    <a:pt x="-901" y="301986"/>
                    <a:pt x="1859" y="304362"/>
                    <a:pt x="11948" y="320521"/>
                  </a:cubicBezTo>
                  <a:cubicBezTo>
                    <a:pt x="63842" y="300693"/>
                    <a:pt x="111042" y="270295"/>
                    <a:pt x="150533" y="231266"/>
                  </a:cubicBezTo>
                  <a:cubicBezTo>
                    <a:pt x="152818" y="229174"/>
                    <a:pt x="156054" y="228604"/>
                    <a:pt x="157006" y="225752"/>
                  </a:cubicBezTo>
                  <a:cubicBezTo>
                    <a:pt x="172901" y="177655"/>
                    <a:pt x="190700" y="40018"/>
                    <a:pt x="186131" y="494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2282;p37">
              <a:extLst>
                <a:ext uri="{FF2B5EF4-FFF2-40B4-BE49-F238E27FC236}">
                  <a16:creationId xmlns:a16="http://schemas.microsoft.com/office/drawing/2014/main" id="{5B310CC8-1926-42AF-BD41-EF9F041A145B}"/>
                </a:ext>
              </a:extLst>
            </p:cNvPr>
            <p:cNvSpPr/>
            <p:nvPr/>
          </p:nvSpPr>
          <p:spPr>
            <a:xfrm>
              <a:off x="4957596" y="4074866"/>
              <a:ext cx="216348" cy="290578"/>
            </a:xfrm>
            <a:custGeom>
              <a:avLst/>
              <a:gdLst/>
              <a:ahLst/>
              <a:cxnLst/>
              <a:rect l="l" t="t" r="r" b="b"/>
              <a:pathLst>
                <a:path w="216348" h="290578" extrusionOk="0">
                  <a:moveTo>
                    <a:pt x="0" y="0"/>
                  </a:moveTo>
                  <a:lnTo>
                    <a:pt x="67770" y="231360"/>
                  </a:lnTo>
                  <a:lnTo>
                    <a:pt x="216349" y="290579"/>
                  </a:lnTo>
                  <a:lnTo>
                    <a:pt x="162190" y="653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2283;p37">
              <a:extLst>
                <a:ext uri="{FF2B5EF4-FFF2-40B4-BE49-F238E27FC236}">
                  <a16:creationId xmlns:a16="http://schemas.microsoft.com/office/drawing/2014/main" id="{B75D4832-07B6-4A19-B616-CB36123B9EDE}"/>
                </a:ext>
              </a:extLst>
            </p:cNvPr>
            <p:cNvSpPr/>
            <p:nvPr/>
          </p:nvSpPr>
          <p:spPr>
            <a:xfrm>
              <a:off x="5101717" y="4257084"/>
              <a:ext cx="109578" cy="53390"/>
            </a:xfrm>
            <a:custGeom>
              <a:avLst/>
              <a:gdLst/>
              <a:ahLst/>
              <a:cxnLst/>
              <a:rect l="l" t="t" r="r" b="b"/>
              <a:pathLst>
                <a:path w="109578" h="53390" extrusionOk="0">
                  <a:moveTo>
                    <a:pt x="108112" y="15494"/>
                  </a:moveTo>
                  <a:cubicBezTo>
                    <a:pt x="105923" y="7604"/>
                    <a:pt x="100212" y="9505"/>
                    <a:pt x="93739" y="11502"/>
                  </a:cubicBezTo>
                  <a:cubicBezTo>
                    <a:pt x="86772" y="14353"/>
                    <a:pt x="79100" y="15019"/>
                    <a:pt x="71752" y="13403"/>
                  </a:cubicBezTo>
                  <a:cubicBezTo>
                    <a:pt x="66003" y="10627"/>
                    <a:pt x="60683" y="7043"/>
                    <a:pt x="55952" y="2757"/>
                  </a:cubicBezTo>
                  <a:cubicBezTo>
                    <a:pt x="53077" y="1017"/>
                    <a:pt x="49794" y="67"/>
                    <a:pt x="46434" y="0"/>
                  </a:cubicBezTo>
                  <a:cubicBezTo>
                    <a:pt x="46434" y="1996"/>
                    <a:pt x="49860" y="13688"/>
                    <a:pt x="49860" y="13688"/>
                  </a:cubicBezTo>
                  <a:cubicBezTo>
                    <a:pt x="49860" y="13688"/>
                    <a:pt x="17308" y="13688"/>
                    <a:pt x="13977" y="13688"/>
                  </a:cubicBezTo>
                  <a:cubicBezTo>
                    <a:pt x="11045" y="13070"/>
                    <a:pt x="8171" y="14952"/>
                    <a:pt x="7552" y="17880"/>
                  </a:cubicBezTo>
                  <a:cubicBezTo>
                    <a:pt x="7200" y="19572"/>
                    <a:pt x="7676" y="21339"/>
                    <a:pt x="8837" y="22623"/>
                  </a:cubicBezTo>
                  <a:cubicBezTo>
                    <a:pt x="8104" y="22680"/>
                    <a:pt x="7381" y="22680"/>
                    <a:pt x="6648" y="22623"/>
                  </a:cubicBezTo>
                  <a:cubicBezTo>
                    <a:pt x="-15" y="21102"/>
                    <a:pt x="-2870" y="31368"/>
                    <a:pt x="3792" y="32889"/>
                  </a:cubicBezTo>
                  <a:cubicBezTo>
                    <a:pt x="5582" y="33231"/>
                    <a:pt x="7399" y="33487"/>
                    <a:pt x="9218" y="33649"/>
                  </a:cubicBezTo>
                  <a:cubicBezTo>
                    <a:pt x="4839" y="35360"/>
                    <a:pt x="3792" y="42584"/>
                    <a:pt x="9218" y="43154"/>
                  </a:cubicBezTo>
                  <a:lnTo>
                    <a:pt x="10836" y="43154"/>
                  </a:lnTo>
                  <a:cubicBezTo>
                    <a:pt x="11645" y="43373"/>
                    <a:pt x="12501" y="43373"/>
                    <a:pt x="13310" y="43154"/>
                  </a:cubicBezTo>
                  <a:lnTo>
                    <a:pt x="14262" y="43154"/>
                  </a:lnTo>
                  <a:cubicBezTo>
                    <a:pt x="13701" y="46358"/>
                    <a:pt x="15852" y="49418"/>
                    <a:pt x="19059" y="49970"/>
                  </a:cubicBezTo>
                  <a:cubicBezTo>
                    <a:pt x="19107" y="49979"/>
                    <a:pt x="19164" y="49989"/>
                    <a:pt x="19212" y="49998"/>
                  </a:cubicBezTo>
                  <a:cubicBezTo>
                    <a:pt x="35107" y="52089"/>
                    <a:pt x="58522" y="58458"/>
                    <a:pt x="72894" y="45341"/>
                  </a:cubicBezTo>
                  <a:cubicBezTo>
                    <a:pt x="82774" y="44295"/>
                    <a:pt x="92416" y="41662"/>
                    <a:pt x="101449" y="37546"/>
                  </a:cubicBezTo>
                  <a:cubicBezTo>
                    <a:pt x="110491" y="33839"/>
                    <a:pt x="110777" y="24904"/>
                    <a:pt x="108112" y="1549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2284;p37">
              <a:extLst>
                <a:ext uri="{FF2B5EF4-FFF2-40B4-BE49-F238E27FC236}">
                  <a16:creationId xmlns:a16="http://schemas.microsoft.com/office/drawing/2014/main" id="{F525BFA3-1FC0-495E-A7EA-B8D93B0BFF94}"/>
                </a:ext>
              </a:extLst>
            </p:cNvPr>
            <p:cNvSpPr/>
            <p:nvPr/>
          </p:nvSpPr>
          <p:spPr>
            <a:xfrm>
              <a:off x="4984781" y="4223327"/>
              <a:ext cx="67863" cy="55821"/>
            </a:xfrm>
            <a:custGeom>
              <a:avLst/>
              <a:gdLst/>
              <a:ahLst/>
              <a:cxnLst/>
              <a:rect l="l" t="t" r="r" b="b"/>
              <a:pathLst>
                <a:path w="67863" h="55821" extrusionOk="0">
                  <a:moveTo>
                    <a:pt x="62477" y="30335"/>
                  </a:moveTo>
                  <a:lnTo>
                    <a:pt x="60192" y="30335"/>
                  </a:lnTo>
                  <a:cubicBezTo>
                    <a:pt x="62420" y="28253"/>
                    <a:pt x="62534" y="24764"/>
                    <a:pt x="60459" y="22540"/>
                  </a:cubicBezTo>
                  <a:cubicBezTo>
                    <a:pt x="59564" y="21590"/>
                    <a:pt x="58355" y="20981"/>
                    <a:pt x="57051" y="20829"/>
                  </a:cubicBezTo>
                  <a:cubicBezTo>
                    <a:pt x="53720" y="20829"/>
                    <a:pt x="20216" y="13890"/>
                    <a:pt x="20216" y="13890"/>
                  </a:cubicBezTo>
                  <a:lnTo>
                    <a:pt x="16123" y="108"/>
                  </a:lnTo>
                  <a:cubicBezTo>
                    <a:pt x="16123" y="-653"/>
                    <a:pt x="10317" y="2864"/>
                    <a:pt x="10127" y="2959"/>
                  </a:cubicBezTo>
                  <a:cubicBezTo>
                    <a:pt x="4406" y="6723"/>
                    <a:pt x="694" y="12873"/>
                    <a:pt x="37" y="19689"/>
                  </a:cubicBezTo>
                  <a:cubicBezTo>
                    <a:pt x="-400" y="29232"/>
                    <a:pt x="3035" y="38557"/>
                    <a:pt x="9555" y="45543"/>
                  </a:cubicBezTo>
                  <a:cubicBezTo>
                    <a:pt x="15638" y="51503"/>
                    <a:pt x="23785" y="54906"/>
                    <a:pt x="32304" y="55049"/>
                  </a:cubicBezTo>
                  <a:cubicBezTo>
                    <a:pt x="36302" y="55049"/>
                    <a:pt x="40204" y="55049"/>
                    <a:pt x="43726" y="55809"/>
                  </a:cubicBezTo>
                  <a:cubicBezTo>
                    <a:pt x="46981" y="56018"/>
                    <a:pt x="49789" y="53556"/>
                    <a:pt x="49998" y="50305"/>
                  </a:cubicBezTo>
                  <a:cubicBezTo>
                    <a:pt x="49998" y="50210"/>
                    <a:pt x="50008" y="50106"/>
                    <a:pt x="50008" y="50011"/>
                  </a:cubicBezTo>
                  <a:lnTo>
                    <a:pt x="51055" y="50011"/>
                  </a:lnTo>
                  <a:cubicBezTo>
                    <a:pt x="51835" y="50201"/>
                    <a:pt x="52654" y="50201"/>
                    <a:pt x="53435" y="50011"/>
                  </a:cubicBezTo>
                  <a:lnTo>
                    <a:pt x="55148" y="50011"/>
                  </a:lnTo>
                  <a:cubicBezTo>
                    <a:pt x="60859" y="50011"/>
                    <a:pt x="61334" y="42977"/>
                    <a:pt x="57432" y="40505"/>
                  </a:cubicBezTo>
                  <a:cubicBezTo>
                    <a:pt x="59240" y="40505"/>
                    <a:pt x="61049" y="40505"/>
                    <a:pt x="62953" y="40505"/>
                  </a:cubicBezTo>
                  <a:cubicBezTo>
                    <a:pt x="69901" y="40885"/>
                    <a:pt x="69234" y="30239"/>
                    <a:pt x="62477" y="3033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2285;p37">
              <a:extLst>
                <a:ext uri="{FF2B5EF4-FFF2-40B4-BE49-F238E27FC236}">
                  <a16:creationId xmlns:a16="http://schemas.microsoft.com/office/drawing/2014/main" id="{A6ADD75C-8A06-497B-8F4C-18B96B799C25}"/>
                </a:ext>
              </a:extLst>
            </p:cNvPr>
            <p:cNvSpPr/>
            <p:nvPr/>
          </p:nvSpPr>
          <p:spPr>
            <a:xfrm>
              <a:off x="5132255" y="3894454"/>
              <a:ext cx="67293" cy="97715"/>
            </a:xfrm>
            <a:custGeom>
              <a:avLst/>
              <a:gdLst/>
              <a:ahLst/>
              <a:cxnLst/>
              <a:rect l="l" t="t" r="r" b="b"/>
              <a:pathLst>
                <a:path w="67293" h="97715" extrusionOk="0">
                  <a:moveTo>
                    <a:pt x="24367" y="97715"/>
                  </a:moveTo>
                  <a:cubicBezTo>
                    <a:pt x="15153" y="97344"/>
                    <a:pt x="6435" y="93466"/>
                    <a:pt x="0" y="86879"/>
                  </a:cubicBezTo>
                  <a:cubicBezTo>
                    <a:pt x="1333" y="69769"/>
                    <a:pt x="23224" y="4848"/>
                    <a:pt x="67294" y="0"/>
                  </a:cubicBezTo>
                  <a:cubicBezTo>
                    <a:pt x="55310" y="8431"/>
                    <a:pt x="45811" y="19923"/>
                    <a:pt x="39786" y="33269"/>
                  </a:cubicBezTo>
                  <a:cubicBezTo>
                    <a:pt x="33000" y="54323"/>
                    <a:pt x="27841" y="75872"/>
                    <a:pt x="24367" y="9771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2286;p37">
              <a:extLst>
                <a:ext uri="{FF2B5EF4-FFF2-40B4-BE49-F238E27FC236}">
                  <a16:creationId xmlns:a16="http://schemas.microsoft.com/office/drawing/2014/main" id="{0FEB9938-24EA-49D3-AA23-D356E6E0D8BD}"/>
                </a:ext>
              </a:extLst>
            </p:cNvPr>
            <p:cNvSpPr/>
            <p:nvPr/>
          </p:nvSpPr>
          <p:spPr>
            <a:xfrm>
              <a:off x="5305132" y="3960902"/>
              <a:ext cx="81740" cy="121566"/>
            </a:xfrm>
            <a:custGeom>
              <a:avLst/>
              <a:gdLst/>
              <a:ahLst/>
              <a:cxnLst/>
              <a:rect l="l" t="t" r="r" b="b"/>
              <a:pathLst>
                <a:path w="81740" h="121566" extrusionOk="0">
                  <a:moveTo>
                    <a:pt x="75168" y="117100"/>
                  </a:moveTo>
                  <a:cubicBezTo>
                    <a:pt x="75168" y="117100"/>
                    <a:pt x="31289" y="132214"/>
                    <a:pt x="355" y="106834"/>
                  </a:cubicBezTo>
                  <a:cubicBezTo>
                    <a:pt x="-2977" y="101036"/>
                    <a:pt x="18249" y="26514"/>
                    <a:pt x="18249" y="26514"/>
                  </a:cubicBezTo>
                  <a:cubicBezTo>
                    <a:pt x="18249" y="26514"/>
                    <a:pt x="36714" y="-11507"/>
                    <a:pt x="65840" y="3511"/>
                  </a:cubicBezTo>
                  <a:cubicBezTo>
                    <a:pt x="94966" y="18530"/>
                    <a:pt x="75168" y="117100"/>
                    <a:pt x="75168" y="11710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2287;p37">
              <a:extLst>
                <a:ext uri="{FF2B5EF4-FFF2-40B4-BE49-F238E27FC236}">
                  <a16:creationId xmlns:a16="http://schemas.microsoft.com/office/drawing/2014/main" id="{942BD98C-E3AF-4904-96FC-335E5536003D}"/>
                </a:ext>
              </a:extLst>
            </p:cNvPr>
            <p:cNvSpPr/>
            <p:nvPr/>
          </p:nvSpPr>
          <p:spPr>
            <a:xfrm>
              <a:off x="2821998" y="4049582"/>
              <a:ext cx="101559" cy="177370"/>
            </a:xfrm>
            <a:custGeom>
              <a:avLst/>
              <a:gdLst/>
              <a:ahLst/>
              <a:cxnLst/>
              <a:rect l="l" t="t" r="r" b="b"/>
              <a:pathLst>
                <a:path w="101559" h="177370" extrusionOk="0">
                  <a:moveTo>
                    <a:pt x="0" y="0"/>
                  </a:moveTo>
                  <a:cubicBezTo>
                    <a:pt x="0" y="0"/>
                    <a:pt x="6092" y="90966"/>
                    <a:pt x="17989" y="104084"/>
                  </a:cubicBezTo>
                  <a:cubicBezTo>
                    <a:pt x="29887" y="117201"/>
                    <a:pt x="70340" y="126136"/>
                    <a:pt x="70340" y="126136"/>
                  </a:cubicBezTo>
                  <a:lnTo>
                    <a:pt x="101559" y="177370"/>
                  </a:lnTo>
                  <a:cubicBezTo>
                    <a:pt x="101559" y="177370"/>
                    <a:pt x="73005" y="14543"/>
                    <a:pt x="66913" y="10646"/>
                  </a:cubicBezTo>
                  <a:cubicBezTo>
                    <a:pt x="60821" y="674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2288;p37">
              <a:extLst>
                <a:ext uri="{FF2B5EF4-FFF2-40B4-BE49-F238E27FC236}">
                  <a16:creationId xmlns:a16="http://schemas.microsoft.com/office/drawing/2014/main" id="{83DE4DA3-E080-4C57-8106-C2ED8CBC7CEB}"/>
                </a:ext>
              </a:extLst>
            </p:cNvPr>
            <p:cNvSpPr/>
            <p:nvPr/>
          </p:nvSpPr>
          <p:spPr>
            <a:xfrm>
              <a:off x="2814097" y="3945071"/>
              <a:ext cx="67769" cy="130685"/>
            </a:xfrm>
            <a:custGeom>
              <a:avLst/>
              <a:gdLst/>
              <a:ahLst/>
              <a:cxnLst/>
              <a:rect l="l" t="t" r="r" b="b"/>
              <a:pathLst>
                <a:path w="67769" h="130685" extrusionOk="0">
                  <a:moveTo>
                    <a:pt x="67770" y="3183"/>
                  </a:moveTo>
                  <a:cubicBezTo>
                    <a:pt x="52097" y="-4127"/>
                    <a:pt x="33430" y="1529"/>
                    <a:pt x="24462" y="16300"/>
                  </a:cubicBezTo>
                  <a:cubicBezTo>
                    <a:pt x="12945" y="35311"/>
                    <a:pt x="1047" y="100328"/>
                    <a:pt x="0" y="111354"/>
                  </a:cubicBezTo>
                  <a:cubicBezTo>
                    <a:pt x="0" y="111354"/>
                    <a:pt x="16086" y="133597"/>
                    <a:pt x="40167" y="13036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2289;p37">
              <a:extLst>
                <a:ext uri="{FF2B5EF4-FFF2-40B4-BE49-F238E27FC236}">
                  <a16:creationId xmlns:a16="http://schemas.microsoft.com/office/drawing/2014/main" id="{E953212D-0F22-4E3F-BFA1-DE84F5AFF347}"/>
                </a:ext>
              </a:extLst>
            </p:cNvPr>
            <p:cNvSpPr/>
            <p:nvPr/>
          </p:nvSpPr>
          <p:spPr>
            <a:xfrm>
              <a:off x="2966810" y="4837262"/>
              <a:ext cx="145801" cy="82247"/>
            </a:xfrm>
            <a:custGeom>
              <a:avLst/>
              <a:gdLst/>
              <a:ahLst/>
              <a:cxnLst/>
              <a:rect l="l" t="t" r="r" b="b"/>
              <a:pathLst>
                <a:path w="145801" h="82247" extrusionOk="0">
                  <a:moveTo>
                    <a:pt x="7003" y="19800"/>
                  </a:moveTo>
                  <a:cubicBezTo>
                    <a:pt x="23964" y="24458"/>
                    <a:pt x="42087" y="22272"/>
                    <a:pt x="57449" y="13717"/>
                  </a:cubicBezTo>
                  <a:cubicBezTo>
                    <a:pt x="69537" y="13717"/>
                    <a:pt x="135498" y="-14134"/>
                    <a:pt x="144446" y="9535"/>
                  </a:cubicBezTo>
                  <a:cubicBezTo>
                    <a:pt x="152346" y="30256"/>
                    <a:pt x="123791" y="49457"/>
                    <a:pt x="108562" y="53164"/>
                  </a:cubicBezTo>
                  <a:cubicBezTo>
                    <a:pt x="75248" y="61244"/>
                    <a:pt x="50596" y="77783"/>
                    <a:pt x="37175" y="80635"/>
                  </a:cubicBezTo>
                  <a:cubicBezTo>
                    <a:pt x="27657" y="82726"/>
                    <a:pt x="14332" y="84057"/>
                    <a:pt x="6432" y="76262"/>
                  </a:cubicBezTo>
                  <a:cubicBezTo>
                    <a:pt x="-2515" y="66852"/>
                    <a:pt x="-1944" y="32157"/>
                    <a:pt x="7003" y="1980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2290;p37">
              <a:extLst>
                <a:ext uri="{FF2B5EF4-FFF2-40B4-BE49-F238E27FC236}">
                  <a16:creationId xmlns:a16="http://schemas.microsoft.com/office/drawing/2014/main" id="{0FADCD21-259A-464E-8853-7B2272D39A65}"/>
                </a:ext>
              </a:extLst>
            </p:cNvPr>
            <p:cNvSpPr/>
            <p:nvPr/>
          </p:nvSpPr>
          <p:spPr>
            <a:xfrm>
              <a:off x="2969244" y="4850979"/>
              <a:ext cx="143767" cy="68530"/>
            </a:xfrm>
            <a:custGeom>
              <a:avLst/>
              <a:gdLst/>
              <a:ahLst/>
              <a:cxnLst/>
              <a:rect l="l" t="t" r="r" b="b"/>
              <a:pathLst>
                <a:path w="143767" h="68530" extrusionOk="0">
                  <a:moveTo>
                    <a:pt x="35122" y="61119"/>
                  </a:moveTo>
                  <a:cubicBezTo>
                    <a:pt x="48543" y="58363"/>
                    <a:pt x="73195" y="42109"/>
                    <a:pt x="106509" y="33649"/>
                  </a:cubicBezTo>
                  <a:cubicBezTo>
                    <a:pt x="119263" y="30607"/>
                    <a:pt x="141250" y="16634"/>
                    <a:pt x="143535" y="0"/>
                  </a:cubicBezTo>
                  <a:cubicBezTo>
                    <a:pt x="146485" y="19011"/>
                    <a:pt x="120691" y="36025"/>
                    <a:pt x="106509" y="39447"/>
                  </a:cubicBezTo>
                  <a:cubicBezTo>
                    <a:pt x="73195" y="47527"/>
                    <a:pt x="48543" y="64066"/>
                    <a:pt x="35122" y="66918"/>
                  </a:cubicBezTo>
                  <a:cubicBezTo>
                    <a:pt x="25604" y="69009"/>
                    <a:pt x="12278" y="70340"/>
                    <a:pt x="4378" y="62545"/>
                  </a:cubicBezTo>
                  <a:cubicBezTo>
                    <a:pt x="2265" y="60292"/>
                    <a:pt x="761" y="57545"/>
                    <a:pt x="0" y="54561"/>
                  </a:cubicBezTo>
                  <a:cubicBezTo>
                    <a:pt x="10013" y="62156"/>
                    <a:pt x="23034" y="64589"/>
                    <a:pt x="35122" y="61119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2291;p37">
              <a:extLst>
                <a:ext uri="{FF2B5EF4-FFF2-40B4-BE49-F238E27FC236}">
                  <a16:creationId xmlns:a16="http://schemas.microsoft.com/office/drawing/2014/main" id="{8572087F-D891-4461-BDBF-058997F0067B}"/>
                </a:ext>
              </a:extLst>
            </p:cNvPr>
            <p:cNvSpPr/>
            <p:nvPr/>
          </p:nvSpPr>
          <p:spPr>
            <a:xfrm>
              <a:off x="2864165" y="4805303"/>
              <a:ext cx="146191" cy="82209"/>
            </a:xfrm>
            <a:custGeom>
              <a:avLst/>
              <a:gdLst/>
              <a:ahLst/>
              <a:cxnLst/>
              <a:rect l="l" t="t" r="r" b="b"/>
              <a:pathLst>
                <a:path w="146191" h="82209" extrusionOk="0">
                  <a:moveTo>
                    <a:pt x="7327" y="19726"/>
                  </a:moveTo>
                  <a:cubicBezTo>
                    <a:pt x="24287" y="24431"/>
                    <a:pt x="42423" y="22245"/>
                    <a:pt x="57774" y="13642"/>
                  </a:cubicBezTo>
                  <a:cubicBezTo>
                    <a:pt x="69957" y="13642"/>
                    <a:pt x="135823" y="-14113"/>
                    <a:pt x="144865" y="9555"/>
                  </a:cubicBezTo>
                  <a:cubicBezTo>
                    <a:pt x="152670" y="30277"/>
                    <a:pt x="124116" y="49477"/>
                    <a:pt x="108886" y="53185"/>
                  </a:cubicBezTo>
                  <a:cubicBezTo>
                    <a:pt x="75573" y="61169"/>
                    <a:pt x="50921" y="77804"/>
                    <a:pt x="37595" y="80560"/>
                  </a:cubicBezTo>
                  <a:cubicBezTo>
                    <a:pt x="27601" y="82651"/>
                    <a:pt x="14656" y="84077"/>
                    <a:pt x="6756" y="76283"/>
                  </a:cubicBezTo>
                  <a:cubicBezTo>
                    <a:pt x="-2762" y="66872"/>
                    <a:pt x="-1905" y="32178"/>
                    <a:pt x="7327" y="19726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2292;p37">
              <a:extLst>
                <a:ext uri="{FF2B5EF4-FFF2-40B4-BE49-F238E27FC236}">
                  <a16:creationId xmlns:a16="http://schemas.microsoft.com/office/drawing/2014/main" id="{12C1DB9F-6D41-4838-97AE-3D20B0498AC6}"/>
                </a:ext>
              </a:extLst>
            </p:cNvPr>
            <p:cNvSpPr/>
            <p:nvPr/>
          </p:nvSpPr>
          <p:spPr>
            <a:xfrm>
              <a:off x="2866543" y="4818565"/>
              <a:ext cx="143767" cy="68566"/>
            </a:xfrm>
            <a:custGeom>
              <a:avLst/>
              <a:gdLst/>
              <a:ahLst/>
              <a:cxnLst/>
              <a:rect l="l" t="t" r="r" b="b"/>
              <a:pathLst>
                <a:path w="143767" h="68566" extrusionOk="0">
                  <a:moveTo>
                    <a:pt x="35217" y="61215"/>
                  </a:moveTo>
                  <a:cubicBezTo>
                    <a:pt x="48543" y="58363"/>
                    <a:pt x="73290" y="42204"/>
                    <a:pt x="106509" y="33744"/>
                  </a:cubicBezTo>
                  <a:cubicBezTo>
                    <a:pt x="119263" y="30702"/>
                    <a:pt x="141345" y="16730"/>
                    <a:pt x="143534" y="0"/>
                  </a:cubicBezTo>
                  <a:cubicBezTo>
                    <a:pt x="146485" y="19011"/>
                    <a:pt x="120691" y="36025"/>
                    <a:pt x="106509" y="39542"/>
                  </a:cubicBezTo>
                  <a:cubicBezTo>
                    <a:pt x="73195" y="47527"/>
                    <a:pt x="48543" y="64161"/>
                    <a:pt x="35217" y="66918"/>
                  </a:cubicBezTo>
                  <a:cubicBezTo>
                    <a:pt x="25223" y="69009"/>
                    <a:pt x="12278" y="70435"/>
                    <a:pt x="4378" y="62640"/>
                  </a:cubicBezTo>
                  <a:cubicBezTo>
                    <a:pt x="2320" y="60350"/>
                    <a:pt x="821" y="57622"/>
                    <a:pt x="0" y="54656"/>
                  </a:cubicBezTo>
                  <a:cubicBezTo>
                    <a:pt x="10052" y="62251"/>
                    <a:pt x="23099" y="64684"/>
                    <a:pt x="35217" y="61215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2293;p37">
              <a:extLst>
                <a:ext uri="{FF2B5EF4-FFF2-40B4-BE49-F238E27FC236}">
                  <a16:creationId xmlns:a16="http://schemas.microsoft.com/office/drawing/2014/main" id="{3AD2CB03-6AD7-4EA0-8D3F-20C418B64EB4}"/>
                </a:ext>
              </a:extLst>
            </p:cNvPr>
            <p:cNvSpPr/>
            <p:nvPr/>
          </p:nvSpPr>
          <p:spPr>
            <a:xfrm>
              <a:off x="2858160" y="4267254"/>
              <a:ext cx="210834" cy="594226"/>
            </a:xfrm>
            <a:custGeom>
              <a:avLst/>
              <a:gdLst/>
              <a:ahLst/>
              <a:cxnLst/>
              <a:rect l="l" t="t" r="r" b="b"/>
              <a:pathLst>
                <a:path w="210834" h="594226" extrusionOk="0">
                  <a:moveTo>
                    <a:pt x="6098" y="372610"/>
                  </a:moveTo>
                  <a:cubicBezTo>
                    <a:pt x="8933" y="348172"/>
                    <a:pt x="14031" y="324057"/>
                    <a:pt x="21327" y="300559"/>
                  </a:cubicBezTo>
                  <a:cubicBezTo>
                    <a:pt x="21327" y="300559"/>
                    <a:pt x="16759" y="238299"/>
                    <a:pt x="14474" y="179271"/>
                  </a:cubicBezTo>
                  <a:cubicBezTo>
                    <a:pt x="11904" y="112734"/>
                    <a:pt x="-11320" y="53420"/>
                    <a:pt x="6955" y="0"/>
                  </a:cubicBezTo>
                  <a:lnTo>
                    <a:pt x="210835" y="45340"/>
                  </a:lnTo>
                  <a:cubicBezTo>
                    <a:pt x="210835" y="45340"/>
                    <a:pt x="201317" y="312821"/>
                    <a:pt x="198176" y="345140"/>
                  </a:cubicBezTo>
                  <a:cubicBezTo>
                    <a:pt x="196596" y="370310"/>
                    <a:pt x="193417" y="395366"/>
                    <a:pt x="188657" y="420137"/>
                  </a:cubicBezTo>
                  <a:cubicBezTo>
                    <a:pt x="179139" y="471941"/>
                    <a:pt x="168955" y="587907"/>
                    <a:pt x="168955" y="587907"/>
                  </a:cubicBezTo>
                  <a:cubicBezTo>
                    <a:pt x="147063" y="600644"/>
                    <a:pt x="114987" y="590188"/>
                    <a:pt x="114987" y="590188"/>
                  </a:cubicBezTo>
                  <a:cubicBezTo>
                    <a:pt x="114987" y="590188"/>
                    <a:pt x="114987" y="445041"/>
                    <a:pt x="116224" y="407685"/>
                  </a:cubicBezTo>
                  <a:cubicBezTo>
                    <a:pt x="117937" y="362059"/>
                    <a:pt x="119365" y="365576"/>
                    <a:pt x="119365" y="365576"/>
                  </a:cubicBezTo>
                  <a:lnTo>
                    <a:pt x="112512" y="251987"/>
                  </a:lnTo>
                  <a:lnTo>
                    <a:pt x="108038" y="195525"/>
                  </a:lnTo>
                  <a:cubicBezTo>
                    <a:pt x="108038" y="195525"/>
                    <a:pt x="102327" y="236969"/>
                    <a:pt x="98520" y="273945"/>
                  </a:cubicBezTo>
                  <a:cubicBezTo>
                    <a:pt x="95284" y="306263"/>
                    <a:pt x="87479" y="335444"/>
                    <a:pt x="78722" y="395613"/>
                  </a:cubicBezTo>
                  <a:cubicBezTo>
                    <a:pt x="71203" y="447703"/>
                    <a:pt x="63398" y="554068"/>
                    <a:pt x="63398" y="554068"/>
                  </a:cubicBezTo>
                  <a:cubicBezTo>
                    <a:pt x="41506" y="566710"/>
                    <a:pt x="12000" y="557965"/>
                    <a:pt x="12000" y="557965"/>
                  </a:cubicBezTo>
                  <a:cubicBezTo>
                    <a:pt x="12000" y="557965"/>
                    <a:pt x="197" y="417856"/>
                    <a:pt x="6098" y="3726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2294;p37">
              <a:extLst>
                <a:ext uri="{FF2B5EF4-FFF2-40B4-BE49-F238E27FC236}">
                  <a16:creationId xmlns:a16="http://schemas.microsoft.com/office/drawing/2014/main" id="{E6359747-FD61-4E8A-9258-5C2DD8D5E29D}"/>
                </a:ext>
              </a:extLst>
            </p:cNvPr>
            <p:cNvSpPr/>
            <p:nvPr/>
          </p:nvSpPr>
          <p:spPr>
            <a:xfrm>
              <a:off x="2884049" y="3772563"/>
              <a:ext cx="155365" cy="247695"/>
            </a:xfrm>
            <a:custGeom>
              <a:avLst/>
              <a:gdLst/>
              <a:ahLst/>
              <a:cxnLst/>
              <a:rect l="l" t="t" r="r" b="b"/>
              <a:pathLst>
                <a:path w="155365" h="247695" extrusionOk="0">
                  <a:moveTo>
                    <a:pt x="8859" y="177022"/>
                  </a:moveTo>
                  <a:cubicBezTo>
                    <a:pt x="24564" y="177782"/>
                    <a:pt x="36271" y="181869"/>
                    <a:pt x="38270" y="177022"/>
                  </a:cubicBezTo>
                  <a:cubicBezTo>
                    <a:pt x="39966" y="168895"/>
                    <a:pt x="41174" y="160673"/>
                    <a:pt x="41887" y="152403"/>
                  </a:cubicBezTo>
                  <a:cubicBezTo>
                    <a:pt x="40078" y="147840"/>
                    <a:pt x="38460" y="142897"/>
                    <a:pt x="38460" y="142897"/>
                  </a:cubicBezTo>
                  <a:cubicBezTo>
                    <a:pt x="18662" y="130826"/>
                    <a:pt x="12476" y="109439"/>
                    <a:pt x="9906" y="84535"/>
                  </a:cubicBezTo>
                  <a:cubicBezTo>
                    <a:pt x="5527" y="42046"/>
                    <a:pt x="28942" y="4880"/>
                    <a:pt x="71013" y="412"/>
                  </a:cubicBezTo>
                  <a:cubicBezTo>
                    <a:pt x="111084" y="-3770"/>
                    <a:pt x="140495" y="24365"/>
                    <a:pt x="148396" y="62862"/>
                  </a:cubicBezTo>
                  <a:cubicBezTo>
                    <a:pt x="152584" y="81873"/>
                    <a:pt x="161055" y="117899"/>
                    <a:pt x="149633" y="149171"/>
                  </a:cubicBezTo>
                  <a:cubicBezTo>
                    <a:pt x="143256" y="166756"/>
                    <a:pt x="135070" y="180634"/>
                    <a:pt x="126884" y="183295"/>
                  </a:cubicBezTo>
                  <a:cubicBezTo>
                    <a:pt x="118946" y="183143"/>
                    <a:pt x="111027" y="182449"/>
                    <a:pt x="103184" y="181204"/>
                  </a:cubicBezTo>
                  <a:lnTo>
                    <a:pt x="103184" y="181204"/>
                  </a:lnTo>
                  <a:cubicBezTo>
                    <a:pt x="103184" y="181204"/>
                    <a:pt x="101090" y="192991"/>
                    <a:pt x="99662" y="200215"/>
                  </a:cubicBezTo>
                  <a:cubicBezTo>
                    <a:pt x="98235" y="207439"/>
                    <a:pt x="98711" y="211716"/>
                    <a:pt x="113844" y="221031"/>
                  </a:cubicBezTo>
                  <a:cubicBezTo>
                    <a:pt x="128978" y="230347"/>
                    <a:pt x="91001" y="249548"/>
                    <a:pt x="66253" y="247551"/>
                  </a:cubicBezTo>
                  <a:cubicBezTo>
                    <a:pt x="41506" y="245555"/>
                    <a:pt x="13523" y="230727"/>
                    <a:pt x="5908" y="214758"/>
                  </a:cubicBezTo>
                  <a:cubicBezTo>
                    <a:pt x="-2754" y="197553"/>
                    <a:pt x="-1992" y="176451"/>
                    <a:pt x="8859" y="17702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2295;p37">
              <a:extLst>
                <a:ext uri="{FF2B5EF4-FFF2-40B4-BE49-F238E27FC236}">
                  <a16:creationId xmlns:a16="http://schemas.microsoft.com/office/drawing/2014/main" id="{5FC11CD1-1CB1-49EF-80D1-A0DCED098AA6}"/>
                </a:ext>
              </a:extLst>
            </p:cNvPr>
            <p:cNvSpPr/>
            <p:nvPr/>
          </p:nvSpPr>
          <p:spPr>
            <a:xfrm>
              <a:off x="2832349" y="3948237"/>
              <a:ext cx="239208" cy="394751"/>
            </a:xfrm>
            <a:custGeom>
              <a:avLst/>
              <a:gdLst/>
              <a:ahLst/>
              <a:cxnLst/>
              <a:rect l="l" t="t" r="r" b="b"/>
              <a:pathLst>
                <a:path w="239208" h="394751" extrusionOk="0">
                  <a:moveTo>
                    <a:pt x="83308" y="3725"/>
                  </a:moveTo>
                  <a:cubicBezTo>
                    <a:pt x="78930" y="14561"/>
                    <a:pt x="90066" y="27868"/>
                    <a:pt x="119667" y="37088"/>
                  </a:cubicBezTo>
                  <a:cubicBezTo>
                    <a:pt x="149269" y="46308"/>
                    <a:pt x="151839" y="34427"/>
                    <a:pt x="151839" y="34427"/>
                  </a:cubicBezTo>
                  <a:cubicBezTo>
                    <a:pt x="171408" y="43257"/>
                    <a:pt x="190473" y="53162"/>
                    <a:pt x="208948" y="64083"/>
                  </a:cubicBezTo>
                  <a:cubicBezTo>
                    <a:pt x="226652" y="76441"/>
                    <a:pt x="234552" y="112371"/>
                    <a:pt x="236932" y="172920"/>
                  </a:cubicBezTo>
                  <a:cubicBezTo>
                    <a:pt x="239692" y="242974"/>
                    <a:pt x="239977" y="346963"/>
                    <a:pt x="237598" y="364928"/>
                  </a:cubicBezTo>
                  <a:cubicBezTo>
                    <a:pt x="237598" y="364928"/>
                    <a:pt x="204475" y="398007"/>
                    <a:pt x="161452" y="394490"/>
                  </a:cubicBezTo>
                  <a:cubicBezTo>
                    <a:pt x="118430" y="390973"/>
                    <a:pt x="47234" y="353427"/>
                    <a:pt x="30196" y="324435"/>
                  </a:cubicBezTo>
                  <a:cubicBezTo>
                    <a:pt x="30196" y="263031"/>
                    <a:pt x="37906" y="253050"/>
                    <a:pt x="27912" y="217595"/>
                  </a:cubicBezTo>
                  <a:cubicBezTo>
                    <a:pt x="5068" y="136514"/>
                    <a:pt x="-6925" y="103531"/>
                    <a:pt x="4212" y="49540"/>
                  </a:cubicBezTo>
                  <a:cubicBezTo>
                    <a:pt x="13730" y="5150"/>
                    <a:pt x="26103" y="-363"/>
                    <a:pt x="43712" y="17"/>
                  </a:cubicBezTo>
                  <a:cubicBezTo>
                    <a:pt x="56967" y="550"/>
                    <a:pt x="70185" y="1785"/>
                    <a:pt x="83308" y="3725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2296;p37">
              <a:extLst>
                <a:ext uri="{FF2B5EF4-FFF2-40B4-BE49-F238E27FC236}">
                  <a16:creationId xmlns:a16="http://schemas.microsoft.com/office/drawing/2014/main" id="{F48DF76F-AC68-4B0B-B9C5-778E6D4CF97A}"/>
                </a:ext>
              </a:extLst>
            </p:cNvPr>
            <p:cNvSpPr/>
            <p:nvPr/>
          </p:nvSpPr>
          <p:spPr>
            <a:xfrm>
              <a:off x="3011886" y="4098914"/>
              <a:ext cx="63391" cy="288487"/>
            </a:xfrm>
            <a:custGeom>
              <a:avLst/>
              <a:gdLst/>
              <a:ahLst/>
              <a:cxnLst/>
              <a:rect l="l" t="t" r="r" b="b"/>
              <a:pathLst>
                <a:path w="63391" h="288487" extrusionOk="0">
                  <a:moveTo>
                    <a:pt x="21226" y="268241"/>
                  </a:moveTo>
                  <a:lnTo>
                    <a:pt x="0" y="24144"/>
                  </a:lnTo>
                  <a:lnTo>
                    <a:pt x="45592" y="0"/>
                  </a:lnTo>
                  <a:lnTo>
                    <a:pt x="63391" y="14923"/>
                  </a:lnTo>
                  <a:lnTo>
                    <a:pt x="57109" y="234117"/>
                  </a:lnTo>
                  <a:lnTo>
                    <a:pt x="57109" y="234117"/>
                  </a:lnTo>
                  <a:lnTo>
                    <a:pt x="57109" y="240200"/>
                  </a:lnTo>
                  <a:lnTo>
                    <a:pt x="57109" y="240200"/>
                  </a:lnTo>
                  <a:lnTo>
                    <a:pt x="57109" y="247995"/>
                  </a:lnTo>
                  <a:cubicBezTo>
                    <a:pt x="57109" y="247995"/>
                    <a:pt x="58061" y="266435"/>
                    <a:pt x="23224" y="288488"/>
                  </a:cubicBezTo>
                  <a:cubicBezTo>
                    <a:pt x="23224" y="288488"/>
                    <a:pt x="22653" y="282689"/>
                    <a:pt x="22177" y="277271"/>
                  </a:cubicBezTo>
                  <a:lnTo>
                    <a:pt x="22177" y="277271"/>
                  </a:lnTo>
                  <a:lnTo>
                    <a:pt x="21321" y="267766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297;p37">
              <a:extLst>
                <a:ext uri="{FF2B5EF4-FFF2-40B4-BE49-F238E27FC236}">
                  <a16:creationId xmlns:a16="http://schemas.microsoft.com/office/drawing/2014/main" id="{D6E91EF4-A27D-4AC2-9BA4-1DD6E0F142B3}"/>
                </a:ext>
              </a:extLst>
            </p:cNvPr>
            <p:cNvSpPr/>
            <p:nvPr/>
          </p:nvSpPr>
          <p:spPr>
            <a:xfrm>
              <a:off x="2997806" y="3997207"/>
              <a:ext cx="83658" cy="135231"/>
            </a:xfrm>
            <a:custGeom>
              <a:avLst/>
              <a:gdLst/>
              <a:ahLst/>
              <a:cxnLst/>
              <a:rect l="l" t="t" r="r" b="b"/>
              <a:pathLst>
                <a:path w="83658" h="135231" extrusionOk="0">
                  <a:moveTo>
                    <a:pt x="29880" y="0"/>
                  </a:moveTo>
                  <a:cubicBezTo>
                    <a:pt x="53390" y="0"/>
                    <a:pt x="67953" y="11977"/>
                    <a:pt x="74140" y="48192"/>
                  </a:cubicBezTo>
                  <a:cubicBezTo>
                    <a:pt x="80327" y="84408"/>
                    <a:pt x="83658" y="114064"/>
                    <a:pt x="83658" y="114064"/>
                  </a:cubicBezTo>
                  <a:cubicBezTo>
                    <a:pt x="72826" y="126070"/>
                    <a:pt x="57807" y="133484"/>
                    <a:pt x="41683" y="134786"/>
                  </a:cubicBezTo>
                  <a:cubicBezTo>
                    <a:pt x="13128" y="137923"/>
                    <a:pt x="4943" y="123475"/>
                    <a:pt x="4943" y="123475"/>
                  </a:cubicBezTo>
                  <a:cubicBezTo>
                    <a:pt x="4943" y="123475"/>
                    <a:pt x="1897" y="85929"/>
                    <a:pt x="374" y="60359"/>
                  </a:cubicBezTo>
                  <a:cubicBezTo>
                    <a:pt x="-1149" y="34790"/>
                    <a:pt x="755" y="570"/>
                    <a:pt x="29880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298;p37">
              <a:extLst>
                <a:ext uri="{FF2B5EF4-FFF2-40B4-BE49-F238E27FC236}">
                  <a16:creationId xmlns:a16="http://schemas.microsoft.com/office/drawing/2014/main" id="{0E09B3E3-8293-430F-B776-9746DCA2E679}"/>
                </a:ext>
              </a:extLst>
            </p:cNvPr>
            <p:cNvSpPr/>
            <p:nvPr/>
          </p:nvSpPr>
          <p:spPr>
            <a:xfrm>
              <a:off x="2888823" y="3761654"/>
              <a:ext cx="150557" cy="165637"/>
            </a:xfrm>
            <a:custGeom>
              <a:avLst/>
              <a:gdLst/>
              <a:ahLst/>
              <a:cxnLst/>
              <a:rect l="l" t="t" r="r" b="b"/>
              <a:pathLst>
                <a:path w="150557" h="165637" extrusionOk="0">
                  <a:moveTo>
                    <a:pt x="142099" y="68353"/>
                  </a:moveTo>
                  <a:cubicBezTo>
                    <a:pt x="142099" y="68353"/>
                    <a:pt x="178840" y="12557"/>
                    <a:pt x="99172" y="1150"/>
                  </a:cubicBezTo>
                  <a:cubicBezTo>
                    <a:pt x="42063" y="-7024"/>
                    <a:pt x="4752" y="29667"/>
                    <a:pt x="468" y="69874"/>
                  </a:cubicBezTo>
                  <a:cubicBezTo>
                    <a:pt x="-3624" y="107896"/>
                    <a:pt x="19981" y="147723"/>
                    <a:pt x="37018" y="163502"/>
                  </a:cubicBezTo>
                  <a:cubicBezTo>
                    <a:pt x="53749" y="167751"/>
                    <a:pt x="71464" y="165612"/>
                    <a:pt x="86703" y="157514"/>
                  </a:cubicBezTo>
                  <a:cubicBezTo>
                    <a:pt x="87636" y="147115"/>
                    <a:pt x="87988" y="136678"/>
                    <a:pt x="87750" y="126241"/>
                  </a:cubicBezTo>
                  <a:cubicBezTo>
                    <a:pt x="87750" y="126241"/>
                    <a:pt x="59862" y="67308"/>
                    <a:pt x="142099" y="6835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299;p37">
              <a:extLst>
                <a:ext uri="{FF2B5EF4-FFF2-40B4-BE49-F238E27FC236}">
                  <a16:creationId xmlns:a16="http://schemas.microsoft.com/office/drawing/2014/main" id="{9DFA10D4-9F51-4879-BDBB-75C5AE93DAC3}"/>
                </a:ext>
              </a:extLst>
            </p:cNvPr>
            <p:cNvSpPr/>
            <p:nvPr/>
          </p:nvSpPr>
          <p:spPr>
            <a:xfrm>
              <a:off x="2091982" y="2625612"/>
              <a:ext cx="210167" cy="307273"/>
            </a:xfrm>
            <a:custGeom>
              <a:avLst/>
              <a:gdLst/>
              <a:ahLst/>
              <a:cxnLst/>
              <a:rect l="l" t="t" r="r" b="b"/>
              <a:pathLst>
                <a:path w="210167" h="307273" extrusionOk="0">
                  <a:moveTo>
                    <a:pt x="136175" y="10238"/>
                  </a:moveTo>
                  <a:cubicBezTo>
                    <a:pt x="127799" y="-3260"/>
                    <a:pt x="63836" y="-12100"/>
                    <a:pt x="42801" y="41986"/>
                  </a:cubicBezTo>
                  <a:cubicBezTo>
                    <a:pt x="34806" y="62517"/>
                    <a:pt x="36043" y="114987"/>
                    <a:pt x="29380" y="147875"/>
                  </a:cubicBezTo>
                  <a:cubicBezTo>
                    <a:pt x="22718" y="180764"/>
                    <a:pt x="7013" y="199489"/>
                    <a:pt x="1397" y="226199"/>
                  </a:cubicBezTo>
                  <a:cubicBezTo>
                    <a:pt x="-4219" y="252910"/>
                    <a:pt x="4919" y="297775"/>
                    <a:pt x="69452" y="305664"/>
                  </a:cubicBezTo>
                  <a:cubicBezTo>
                    <a:pt x="133985" y="313554"/>
                    <a:pt x="183670" y="290931"/>
                    <a:pt x="198709" y="270399"/>
                  </a:cubicBezTo>
                  <a:cubicBezTo>
                    <a:pt x="213748" y="249868"/>
                    <a:pt x="214224" y="206238"/>
                    <a:pt x="198709" y="182855"/>
                  </a:cubicBezTo>
                  <a:cubicBezTo>
                    <a:pt x="183194" y="159472"/>
                    <a:pt x="170916" y="140366"/>
                    <a:pt x="171297" y="109854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300;p37">
              <a:extLst>
                <a:ext uri="{FF2B5EF4-FFF2-40B4-BE49-F238E27FC236}">
                  <a16:creationId xmlns:a16="http://schemas.microsoft.com/office/drawing/2014/main" id="{1167B83D-6254-447D-87D3-5AEE15C2FF7D}"/>
                </a:ext>
              </a:extLst>
            </p:cNvPr>
            <p:cNvSpPr/>
            <p:nvPr/>
          </p:nvSpPr>
          <p:spPr>
            <a:xfrm>
              <a:off x="2269538" y="2847336"/>
              <a:ext cx="39152" cy="227300"/>
            </a:xfrm>
            <a:custGeom>
              <a:avLst/>
              <a:gdLst/>
              <a:ahLst/>
              <a:cxnLst/>
              <a:rect l="l" t="t" r="r" b="b"/>
              <a:pathLst>
                <a:path w="39152" h="227300" extrusionOk="0">
                  <a:moveTo>
                    <a:pt x="35145" y="14835"/>
                  </a:moveTo>
                  <a:cubicBezTo>
                    <a:pt x="35145" y="14835"/>
                    <a:pt x="50279" y="121866"/>
                    <a:pt x="21725" y="197909"/>
                  </a:cubicBezTo>
                  <a:cubicBezTo>
                    <a:pt x="-6830" y="273952"/>
                    <a:pt x="975" y="178423"/>
                    <a:pt x="975" y="178423"/>
                  </a:cubicBezTo>
                  <a:lnTo>
                    <a:pt x="7923" y="155705"/>
                  </a:lnTo>
                  <a:cubicBezTo>
                    <a:pt x="7923" y="155705"/>
                    <a:pt x="13634" y="68446"/>
                    <a:pt x="11255" y="47059"/>
                  </a:cubicBezTo>
                  <a:cubicBezTo>
                    <a:pt x="8875" y="25672"/>
                    <a:pt x="9446" y="7231"/>
                    <a:pt x="7923" y="5520"/>
                  </a:cubicBezTo>
                  <a:cubicBezTo>
                    <a:pt x="6400" y="3809"/>
                    <a:pt x="13539" y="387"/>
                    <a:pt x="16585" y="7"/>
                  </a:cubicBezTo>
                  <a:cubicBezTo>
                    <a:pt x="19631" y="-373"/>
                    <a:pt x="35145" y="14835"/>
                    <a:pt x="35145" y="148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301;p37">
              <a:extLst>
                <a:ext uri="{FF2B5EF4-FFF2-40B4-BE49-F238E27FC236}">
                  <a16:creationId xmlns:a16="http://schemas.microsoft.com/office/drawing/2014/main" id="{4DDDC2FF-C52D-4B1E-80D6-4F237A1BCE54}"/>
                </a:ext>
              </a:extLst>
            </p:cNvPr>
            <p:cNvSpPr/>
            <p:nvPr/>
          </p:nvSpPr>
          <p:spPr>
            <a:xfrm>
              <a:off x="2185896" y="2622782"/>
              <a:ext cx="100407" cy="124097"/>
            </a:xfrm>
            <a:custGeom>
              <a:avLst/>
              <a:gdLst/>
              <a:ahLst/>
              <a:cxnLst/>
              <a:rect l="l" t="t" r="r" b="b"/>
              <a:pathLst>
                <a:path w="100407" h="124097" extrusionOk="0">
                  <a:moveTo>
                    <a:pt x="0" y="3657"/>
                  </a:moveTo>
                  <a:cubicBezTo>
                    <a:pt x="0" y="3657"/>
                    <a:pt x="48162" y="-10126"/>
                    <a:pt x="77288" y="15824"/>
                  </a:cubicBezTo>
                  <a:cubicBezTo>
                    <a:pt x="96918" y="33855"/>
                    <a:pt x="104879" y="61297"/>
                    <a:pt x="97942" y="87019"/>
                  </a:cubicBezTo>
                  <a:cubicBezTo>
                    <a:pt x="94040" y="102227"/>
                    <a:pt x="86235" y="122949"/>
                    <a:pt x="74147" y="124090"/>
                  </a:cubicBezTo>
                  <a:cubicBezTo>
                    <a:pt x="62059" y="125230"/>
                    <a:pt x="0" y="3657"/>
                    <a:pt x="0" y="3657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302;p37">
              <a:extLst>
                <a:ext uri="{FF2B5EF4-FFF2-40B4-BE49-F238E27FC236}">
                  <a16:creationId xmlns:a16="http://schemas.microsoft.com/office/drawing/2014/main" id="{5A753124-25AC-462D-B853-539D735D3FC4}"/>
                </a:ext>
              </a:extLst>
            </p:cNvPr>
            <p:cNvSpPr/>
            <p:nvPr/>
          </p:nvSpPr>
          <p:spPr>
            <a:xfrm>
              <a:off x="2142363" y="2757613"/>
              <a:ext cx="124104" cy="138364"/>
            </a:xfrm>
            <a:custGeom>
              <a:avLst/>
              <a:gdLst/>
              <a:ahLst/>
              <a:cxnLst/>
              <a:rect l="l" t="t" r="r" b="b"/>
              <a:pathLst>
                <a:path w="124104" h="138364" extrusionOk="0">
                  <a:moveTo>
                    <a:pt x="25163" y="0"/>
                  </a:moveTo>
                  <a:cubicBezTo>
                    <a:pt x="25163" y="0"/>
                    <a:pt x="28304" y="53515"/>
                    <a:pt x="27352" y="57032"/>
                  </a:cubicBezTo>
                  <a:cubicBezTo>
                    <a:pt x="26400" y="60549"/>
                    <a:pt x="6221" y="64826"/>
                    <a:pt x="606" y="69484"/>
                  </a:cubicBezTo>
                  <a:cubicBezTo>
                    <a:pt x="-5010" y="74142"/>
                    <a:pt x="29826" y="128513"/>
                    <a:pt x="47530" y="136592"/>
                  </a:cubicBezTo>
                  <a:cubicBezTo>
                    <a:pt x="65234" y="144671"/>
                    <a:pt x="119964" y="124045"/>
                    <a:pt x="123676" y="96860"/>
                  </a:cubicBezTo>
                  <a:cubicBezTo>
                    <a:pt x="127198" y="71766"/>
                    <a:pt x="108066" y="52279"/>
                    <a:pt x="100642" y="45531"/>
                  </a:cubicBezTo>
                  <a:cubicBezTo>
                    <a:pt x="95603" y="45179"/>
                    <a:pt x="90547" y="45179"/>
                    <a:pt x="85508" y="45531"/>
                  </a:cubicBezTo>
                  <a:lnTo>
                    <a:pt x="83890" y="19486"/>
                  </a:lnTo>
                  <a:cubicBezTo>
                    <a:pt x="60475" y="11977"/>
                    <a:pt x="25163" y="0"/>
                    <a:pt x="25163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2303;p37">
              <a:extLst>
                <a:ext uri="{FF2B5EF4-FFF2-40B4-BE49-F238E27FC236}">
                  <a16:creationId xmlns:a16="http://schemas.microsoft.com/office/drawing/2014/main" id="{7424E8ED-BC9B-45CC-B897-19BA78853857}"/>
                </a:ext>
              </a:extLst>
            </p:cNvPr>
            <p:cNvSpPr/>
            <p:nvPr/>
          </p:nvSpPr>
          <p:spPr>
            <a:xfrm>
              <a:off x="2121718" y="2803072"/>
              <a:ext cx="180978" cy="208003"/>
            </a:xfrm>
            <a:custGeom>
              <a:avLst/>
              <a:gdLst/>
              <a:ahLst/>
              <a:cxnLst/>
              <a:rect l="l" t="t" r="r" b="b"/>
              <a:pathLst>
                <a:path w="180978" h="208003" extrusionOk="0">
                  <a:moveTo>
                    <a:pt x="38384" y="17181"/>
                  </a:moveTo>
                  <a:cubicBezTo>
                    <a:pt x="23345" y="19557"/>
                    <a:pt x="6117" y="27542"/>
                    <a:pt x="3738" y="36192"/>
                  </a:cubicBezTo>
                  <a:cubicBezTo>
                    <a:pt x="-2445" y="65896"/>
                    <a:pt x="-938" y="96684"/>
                    <a:pt x="8116" y="125637"/>
                  </a:cubicBezTo>
                  <a:cubicBezTo>
                    <a:pt x="21156" y="160046"/>
                    <a:pt x="29913" y="182004"/>
                    <a:pt x="37432" y="196832"/>
                  </a:cubicBezTo>
                  <a:cubicBezTo>
                    <a:pt x="37432" y="196832"/>
                    <a:pt x="102632" y="224778"/>
                    <a:pt x="155268" y="192270"/>
                  </a:cubicBezTo>
                  <a:cubicBezTo>
                    <a:pt x="155268" y="192270"/>
                    <a:pt x="158789" y="155294"/>
                    <a:pt x="159075" y="135238"/>
                  </a:cubicBezTo>
                  <a:cubicBezTo>
                    <a:pt x="207618" y="92939"/>
                    <a:pt x="166118" y="40849"/>
                    <a:pt x="125000" y="356"/>
                  </a:cubicBezTo>
                  <a:cubicBezTo>
                    <a:pt x="120062" y="-119"/>
                    <a:pt x="115089" y="-119"/>
                    <a:pt x="110151" y="356"/>
                  </a:cubicBezTo>
                  <a:cubicBezTo>
                    <a:pt x="110151" y="356"/>
                    <a:pt x="146892" y="43606"/>
                    <a:pt x="121383" y="68225"/>
                  </a:cubicBezTo>
                  <a:cubicBezTo>
                    <a:pt x="66748" y="51495"/>
                    <a:pt x="55898" y="26971"/>
                    <a:pt x="38384" y="1718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2304;p37">
              <a:extLst>
                <a:ext uri="{FF2B5EF4-FFF2-40B4-BE49-F238E27FC236}">
                  <a16:creationId xmlns:a16="http://schemas.microsoft.com/office/drawing/2014/main" id="{3A259248-9332-4161-9402-7D53448B1105}"/>
                </a:ext>
              </a:extLst>
            </p:cNvPr>
            <p:cNvSpPr/>
            <p:nvPr/>
          </p:nvSpPr>
          <p:spPr>
            <a:xfrm>
              <a:off x="2137334" y="2632700"/>
              <a:ext cx="133195" cy="163980"/>
            </a:xfrm>
            <a:custGeom>
              <a:avLst/>
              <a:gdLst/>
              <a:ahLst/>
              <a:cxnLst/>
              <a:rect l="l" t="t" r="r" b="b"/>
              <a:pathLst>
                <a:path w="133195" h="163980" extrusionOk="0">
                  <a:moveTo>
                    <a:pt x="130419" y="58471"/>
                  </a:moveTo>
                  <a:lnTo>
                    <a:pt x="130419" y="58471"/>
                  </a:lnTo>
                  <a:cubicBezTo>
                    <a:pt x="124993" y="24061"/>
                    <a:pt x="100056" y="-1888"/>
                    <a:pt x="64553" y="108"/>
                  </a:cubicBezTo>
                  <a:cubicBezTo>
                    <a:pt x="26762" y="2399"/>
                    <a:pt x="-2053" y="34793"/>
                    <a:pt x="115" y="72539"/>
                  </a:cubicBezTo>
                  <a:cubicBezTo>
                    <a:pt x="1384" y="93736"/>
                    <a:pt x="12514" y="113117"/>
                    <a:pt x="30192" y="124913"/>
                  </a:cubicBezTo>
                  <a:cubicBezTo>
                    <a:pt x="31439" y="130103"/>
                    <a:pt x="33258" y="135141"/>
                    <a:pt x="35618" y="139932"/>
                  </a:cubicBezTo>
                  <a:cubicBezTo>
                    <a:pt x="48277" y="154570"/>
                    <a:pt x="81686" y="163885"/>
                    <a:pt x="92727" y="163980"/>
                  </a:cubicBezTo>
                  <a:cubicBezTo>
                    <a:pt x="102245" y="163980"/>
                    <a:pt x="110526" y="155235"/>
                    <a:pt x="119473" y="140407"/>
                  </a:cubicBezTo>
                  <a:cubicBezTo>
                    <a:pt x="138033" y="109610"/>
                    <a:pt x="133369" y="75485"/>
                    <a:pt x="130419" y="5847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2305;p37">
              <a:extLst>
                <a:ext uri="{FF2B5EF4-FFF2-40B4-BE49-F238E27FC236}">
                  <a16:creationId xmlns:a16="http://schemas.microsoft.com/office/drawing/2014/main" id="{3E514E07-5536-4A74-AE29-0FD90529B801}"/>
                </a:ext>
              </a:extLst>
            </p:cNvPr>
            <p:cNvSpPr/>
            <p:nvPr/>
          </p:nvSpPr>
          <p:spPr>
            <a:xfrm>
              <a:off x="2131362" y="2631771"/>
              <a:ext cx="133630" cy="125556"/>
            </a:xfrm>
            <a:custGeom>
              <a:avLst/>
              <a:gdLst/>
              <a:ahLst/>
              <a:cxnLst/>
              <a:rect l="l" t="t" r="r" b="b"/>
              <a:pathLst>
                <a:path w="133630" h="125556" extrusionOk="0">
                  <a:moveTo>
                    <a:pt x="59484" y="1702"/>
                  </a:moveTo>
                  <a:cubicBezTo>
                    <a:pt x="34546" y="6549"/>
                    <a:pt x="14082" y="13583"/>
                    <a:pt x="7324" y="38012"/>
                  </a:cubicBezTo>
                  <a:cubicBezTo>
                    <a:pt x="2660" y="54837"/>
                    <a:pt x="-3432" y="86965"/>
                    <a:pt x="2375" y="100462"/>
                  </a:cubicBezTo>
                  <a:lnTo>
                    <a:pt x="5991" y="109968"/>
                  </a:lnTo>
                  <a:lnTo>
                    <a:pt x="36164" y="125557"/>
                  </a:lnTo>
                  <a:cubicBezTo>
                    <a:pt x="36164" y="125557"/>
                    <a:pt x="50251" y="113770"/>
                    <a:pt x="45682" y="79456"/>
                  </a:cubicBezTo>
                  <a:cubicBezTo>
                    <a:pt x="45808" y="74807"/>
                    <a:pt x="47261" y="70283"/>
                    <a:pt x="49870" y="66433"/>
                  </a:cubicBezTo>
                  <a:cubicBezTo>
                    <a:pt x="51779" y="63173"/>
                    <a:pt x="53189" y="59646"/>
                    <a:pt x="54058" y="55977"/>
                  </a:cubicBezTo>
                  <a:cubicBezTo>
                    <a:pt x="57624" y="46681"/>
                    <a:pt x="64649" y="39124"/>
                    <a:pt x="73666" y="34875"/>
                  </a:cubicBezTo>
                  <a:cubicBezTo>
                    <a:pt x="96129" y="22233"/>
                    <a:pt x="129062" y="33164"/>
                    <a:pt x="133631" y="37727"/>
                  </a:cubicBezTo>
                  <a:cubicBezTo>
                    <a:pt x="120538" y="9734"/>
                    <a:pt x="89617" y="-5285"/>
                    <a:pt x="59484" y="1702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306;p37">
              <a:extLst>
                <a:ext uri="{FF2B5EF4-FFF2-40B4-BE49-F238E27FC236}">
                  <a16:creationId xmlns:a16="http://schemas.microsoft.com/office/drawing/2014/main" id="{080D5909-ED53-4158-B172-2B35E9843FE8}"/>
                </a:ext>
              </a:extLst>
            </p:cNvPr>
            <p:cNvSpPr/>
            <p:nvPr/>
          </p:nvSpPr>
          <p:spPr>
            <a:xfrm>
              <a:off x="2137527" y="3718507"/>
              <a:ext cx="105640" cy="80438"/>
            </a:xfrm>
            <a:custGeom>
              <a:avLst/>
              <a:gdLst/>
              <a:ahLst/>
              <a:cxnLst/>
              <a:rect l="l" t="t" r="r" b="b"/>
              <a:pathLst>
                <a:path w="105640" h="80438" extrusionOk="0">
                  <a:moveTo>
                    <a:pt x="8202" y="3"/>
                  </a:moveTo>
                  <a:cubicBezTo>
                    <a:pt x="20862" y="10269"/>
                    <a:pt x="40469" y="3139"/>
                    <a:pt x="41421" y="4090"/>
                  </a:cubicBezTo>
                  <a:cubicBezTo>
                    <a:pt x="56092" y="16761"/>
                    <a:pt x="71439" y="28623"/>
                    <a:pt x="87394" y="39640"/>
                  </a:cubicBezTo>
                  <a:cubicBezTo>
                    <a:pt x="95294" y="45818"/>
                    <a:pt x="107572" y="54088"/>
                    <a:pt x="105383" y="65970"/>
                  </a:cubicBezTo>
                  <a:cubicBezTo>
                    <a:pt x="101386" y="87167"/>
                    <a:pt x="67310" y="80608"/>
                    <a:pt x="54461" y="74145"/>
                  </a:cubicBezTo>
                  <a:cubicBezTo>
                    <a:pt x="41611" y="67681"/>
                    <a:pt x="31141" y="56845"/>
                    <a:pt x="19053" y="49335"/>
                  </a:cubicBezTo>
                  <a:cubicBezTo>
                    <a:pt x="10392" y="44012"/>
                    <a:pt x="1825" y="41161"/>
                    <a:pt x="17" y="30325"/>
                  </a:cubicBezTo>
                  <a:cubicBezTo>
                    <a:pt x="-364" y="23386"/>
                    <a:pt x="5823" y="-283"/>
                    <a:pt x="8202" y="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307;p37">
              <a:extLst>
                <a:ext uri="{FF2B5EF4-FFF2-40B4-BE49-F238E27FC236}">
                  <a16:creationId xmlns:a16="http://schemas.microsoft.com/office/drawing/2014/main" id="{B8265781-5F9A-422F-986B-5B829AD8A65A}"/>
                </a:ext>
              </a:extLst>
            </p:cNvPr>
            <p:cNvSpPr/>
            <p:nvPr/>
          </p:nvSpPr>
          <p:spPr>
            <a:xfrm>
              <a:off x="2137841" y="3744079"/>
              <a:ext cx="105259" cy="54863"/>
            </a:xfrm>
            <a:custGeom>
              <a:avLst/>
              <a:gdLst/>
              <a:ahLst/>
              <a:cxnLst/>
              <a:rect l="l" t="t" r="r" b="b"/>
              <a:pathLst>
                <a:path w="105259" h="54863" extrusionOk="0">
                  <a:moveTo>
                    <a:pt x="369" y="0"/>
                  </a:moveTo>
                  <a:cubicBezTo>
                    <a:pt x="1987" y="10456"/>
                    <a:pt x="10458" y="13308"/>
                    <a:pt x="19405" y="19011"/>
                  </a:cubicBezTo>
                  <a:cubicBezTo>
                    <a:pt x="31779" y="26615"/>
                    <a:pt x="42629" y="38021"/>
                    <a:pt x="55479" y="44200"/>
                  </a:cubicBezTo>
                  <a:cubicBezTo>
                    <a:pt x="68329" y="50379"/>
                    <a:pt x="96883" y="56082"/>
                    <a:pt x="105259" y="40968"/>
                  </a:cubicBezTo>
                  <a:cubicBezTo>
                    <a:pt x="100690" y="61405"/>
                    <a:pt x="67186" y="55036"/>
                    <a:pt x="54527" y="48573"/>
                  </a:cubicBezTo>
                  <a:cubicBezTo>
                    <a:pt x="41868" y="42109"/>
                    <a:pt x="31208" y="31273"/>
                    <a:pt x="19119" y="23763"/>
                  </a:cubicBezTo>
                  <a:cubicBezTo>
                    <a:pt x="10458" y="18440"/>
                    <a:pt x="1891" y="15589"/>
                    <a:pt x="83" y="4753"/>
                  </a:cubicBezTo>
                  <a:cubicBezTo>
                    <a:pt x="-89" y="3165"/>
                    <a:pt x="7" y="1559"/>
                    <a:pt x="36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308;p37">
              <a:extLst>
                <a:ext uri="{FF2B5EF4-FFF2-40B4-BE49-F238E27FC236}">
                  <a16:creationId xmlns:a16="http://schemas.microsoft.com/office/drawing/2014/main" id="{4321A564-CC62-434B-875B-5DEDD732B0FF}"/>
                </a:ext>
              </a:extLst>
            </p:cNvPr>
            <p:cNvSpPr/>
            <p:nvPr/>
          </p:nvSpPr>
          <p:spPr>
            <a:xfrm>
              <a:off x="2226539" y="3701115"/>
              <a:ext cx="96273" cy="74358"/>
            </a:xfrm>
            <a:custGeom>
              <a:avLst/>
              <a:gdLst/>
              <a:ahLst/>
              <a:cxnLst/>
              <a:rect l="l" t="t" r="r" b="b"/>
              <a:pathLst>
                <a:path w="96273" h="74358" extrusionOk="0">
                  <a:moveTo>
                    <a:pt x="7519" y="0"/>
                  </a:moveTo>
                  <a:cubicBezTo>
                    <a:pt x="19132" y="9505"/>
                    <a:pt x="36074" y="4087"/>
                    <a:pt x="37407" y="4943"/>
                  </a:cubicBezTo>
                  <a:cubicBezTo>
                    <a:pt x="50869" y="16473"/>
                    <a:pt x="64979" y="27233"/>
                    <a:pt x="79667" y="37166"/>
                  </a:cubicBezTo>
                  <a:cubicBezTo>
                    <a:pt x="86806" y="42774"/>
                    <a:pt x="98037" y="50378"/>
                    <a:pt x="96039" y="61215"/>
                  </a:cubicBezTo>
                  <a:cubicBezTo>
                    <a:pt x="92422" y="80225"/>
                    <a:pt x="61202" y="74712"/>
                    <a:pt x="49495" y="68724"/>
                  </a:cubicBezTo>
                  <a:cubicBezTo>
                    <a:pt x="37787" y="62735"/>
                    <a:pt x="28079" y="52945"/>
                    <a:pt x="16942" y="46006"/>
                  </a:cubicBezTo>
                  <a:cubicBezTo>
                    <a:pt x="9042" y="41158"/>
                    <a:pt x="1237" y="38592"/>
                    <a:pt x="0" y="28516"/>
                  </a:cubicBezTo>
                  <a:cubicBezTo>
                    <a:pt x="386" y="18574"/>
                    <a:pt x="2954" y="8840"/>
                    <a:pt x="7519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309;p37">
              <a:extLst>
                <a:ext uri="{FF2B5EF4-FFF2-40B4-BE49-F238E27FC236}">
                  <a16:creationId xmlns:a16="http://schemas.microsoft.com/office/drawing/2014/main" id="{3998B8C6-EC25-491E-B3E3-30AECAEB34B5}"/>
                </a:ext>
              </a:extLst>
            </p:cNvPr>
            <p:cNvSpPr/>
            <p:nvPr/>
          </p:nvSpPr>
          <p:spPr>
            <a:xfrm>
              <a:off x="2226484" y="3725354"/>
              <a:ext cx="95903" cy="50071"/>
            </a:xfrm>
            <a:custGeom>
              <a:avLst/>
              <a:gdLst/>
              <a:ahLst/>
              <a:cxnLst/>
              <a:rect l="l" t="t" r="r" b="b"/>
              <a:pathLst>
                <a:path w="95903" h="50071" extrusionOk="0">
                  <a:moveTo>
                    <a:pt x="245" y="0"/>
                  </a:moveTo>
                  <a:cubicBezTo>
                    <a:pt x="1768" y="9505"/>
                    <a:pt x="9763" y="12262"/>
                    <a:pt x="17283" y="17110"/>
                  </a:cubicBezTo>
                  <a:cubicBezTo>
                    <a:pt x="28609" y="24144"/>
                    <a:pt x="38604" y="34219"/>
                    <a:pt x="50311" y="40208"/>
                  </a:cubicBezTo>
                  <a:cubicBezTo>
                    <a:pt x="62018" y="46196"/>
                    <a:pt x="88384" y="51139"/>
                    <a:pt x="95903" y="37261"/>
                  </a:cubicBezTo>
                  <a:cubicBezTo>
                    <a:pt x="91810" y="56272"/>
                    <a:pt x="61162" y="50093"/>
                    <a:pt x="49549" y="44200"/>
                  </a:cubicBezTo>
                  <a:cubicBezTo>
                    <a:pt x="37937" y="38307"/>
                    <a:pt x="28134" y="28421"/>
                    <a:pt x="16997" y="21482"/>
                  </a:cubicBezTo>
                  <a:cubicBezTo>
                    <a:pt x="9097" y="16634"/>
                    <a:pt x="1292" y="14068"/>
                    <a:pt x="55" y="3992"/>
                  </a:cubicBezTo>
                  <a:cubicBezTo>
                    <a:pt x="-59" y="2661"/>
                    <a:pt x="5" y="1321"/>
                    <a:pt x="2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310;p37">
              <a:extLst>
                <a:ext uri="{FF2B5EF4-FFF2-40B4-BE49-F238E27FC236}">
                  <a16:creationId xmlns:a16="http://schemas.microsoft.com/office/drawing/2014/main" id="{50EF0E69-A303-4DC0-BBE8-844BCF67F124}"/>
                </a:ext>
              </a:extLst>
            </p:cNvPr>
            <p:cNvSpPr/>
            <p:nvPr/>
          </p:nvSpPr>
          <p:spPr>
            <a:xfrm>
              <a:off x="2101518" y="3008174"/>
              <a:ext cx="205910" cy="717579"/>
            </a:xfrm>
            <a:custGeom>
              <a:avLst/>
              <a:gdLst/>
              <a:ahLst/>
              <a:cxnLst/>
              <a:rect l="l" t="t" r="r" b="b"/>
              <a:pathLst>
                <a:path w="205910" h="717579" extrusionOk="0">
                  <a:moveTo>
                    <a:pt x="200595" y="106555"/>
                  </a:moveTo>
                  <a:cubicBezTo>
                    <a:pt x="194980" y="63115"/>
                    <a:pt x="178989" y="0"/>
                    <a:pt x="178989" y="0"/>
                  </a:cubicBezTo>
                  <a:cubicBezTo>
                    <a:pt x="163827" y="7043"/>
                    <a:pt x="147437" y="11083"/>
                    <a:pt x="130732" y="11882"/>
                  </a:cubicBezTo>
                  <a:cubicBezTo>
                    <a:pt x="106230" y="11825"/>
                    <a:pt x="81788" y="9467"/>
                    <a:pt x="57727" y="4848"/>
                  </a:cubicBezTo>
                  <a:cubicBezTo>
                    <a:pt x="49855" y="18526"/>
                    <a:pt x="41277" y="31786"/>
                    <a:pt x="32028" y="44580"/>
                  </a:cubicBezTo>
                  <a:cubicBezTo>
                    <a:pt x="19464" y="61975"/>
                    <a:pt x="-4998" y="100091"/>
                    <a:pt x="904" y="166629"/>
                  </a:cubicBezTo>
                  <a:cubicBezTo>
                    <a:pt x="4806" y="210163"/>
                    <a:pt x="29458" y="394758"/>
                    <a:pt x="29458" y="394758"/>
                  </a:cubicBezTo>
                  <a:cubicBezTo>
                    <a:pt x="19982" y="425830"/>
                    <a:pt x="14951" y="458092"/>
                    <a:pt x="14515" y="490572"/>
                  </a:cubicBezTo>
                  <a:cubicBezTo>
                    <a:pt x="16767" y="529163"/>
                    <a:pt x="21857" y="567546"/>
                    <a:pt x="29744" y="605396"/>
                  </a:cubicBezTo>
                  <a:lnTo>
                    <a:pt x="44307" y="709955"/>
                  </a:lnTo>
                  <a:cubicBezTo>
                    <a:pt x="44307" y="709955"/>
                    <a:pt x="63343" y="723928"/>
                    <a:pt x="77525" y="714043"/>
                  </a:cubicBezTo>
                  <a:lnTo>
                    <a:pt x="75812" y="611385"/>
                  </a:lnTo>
                  <a:cubicBezTo>
                    <a:pt x="77430" y="586291"/>
                    <a:pt x="79905" y="549220"/>
                    <a:pt x="81523" y="525837"/>
                  </a:cubicBezTo>
                  <a:cubicBezTo>
                    <a:pt x="84188" y="487340"/>
                    <a:pt x="91041" y="426125"/>
                    <a:pt x="93040" y="410917"/>
                  </a:cubicBezTo>
                  <a:cubicBezTo>
                    <a:pt x="95039" y="395708"/>
                    <a:pt x="99988" y="368903"/>
                    <a:pt x="102558" y="338961"/>
                  </a:cubicBezTo>
                  <a:cubicBezTo>
                    <a:pt x="105128" y="309019"/>
                    <a:pt x="116169" y="156933"/>
                    <a:pt x="116169" y="156933"/>
                  </a:cubicBezTo>
                  <a:lnTo>
                    <a:pt x="117787" y="185449"/>
                  </a:lnTo>
                  <a:cubicBezTo>
                    <a:pt x="117787" y="185449"/>
                    <a:pt x="119215" y="231741"/>
                    <a:pt x="125878" y="288773"/>
                  </a:cubicBezTo>
                  <a:cubicBezTo>
                    <a:pt x="132540" y="345805"/>
                    <a:pt x="134920" y="371089"/>
                    <a:pt x="134920" y="371089"/>
                  </a:cubicBezTo>
                  <a:cubicBezTo>
                    <a:pt x="128461" y="382524"/>
                    <a:pt x="123865" y="394910"/>
                    <a:pt x="121309" y="407780"/>
                  </a:cubicBezTo>
                  <a:cubicBezTo>
                    <a:pt x="120167" y="420042"/>
                    <a:pt x="105985" y="517567"/>
                    <a:pt x="114456" y="567185"/>
                  </a:cubicBezTo>
                  <a:lnTo>
                    <a:pt x="131779" y="693321"/>
                  </a:lnTo>
                  <a:cubicBezTo>
                    <a:pt x="140538" y="699338"/>
                    <a:pt x="151655" y="700783"/>
                    <a:pt x="161666" y="697218"/>
                  </a:cubicBezTo>
                  <a:lnTo>
                    <a:pt x="171850" y="570131"/>
                  </a:lnTo>
                  <a:cubicBezTo>
                    <a:pt x="178704" y="521749"/>
                    <a:pt x="193171" y="419186"/>
                    <a:pt x="195360" y="405879"/>
                  </a:cubicBezTo>
                  <a:cubicBezTo>
                    <a:pt x="200276" y="379007"/>
                    <a:pt x="203171" y="351812"/>
                    <a:pt x="204022" y="324513"/>
                  </a:cubicBezTo>
                  <a:cubicBezTo>
                    <a:pt x="207394" y="251863"/>
                    <a:pt x="206250" y="179071"/>
                    <a:pt x="200595" y="10655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311;p37">
              <a:extLst>
                <a:ext uri="{FF2B5EF4-FFF2-40B4-BE49-F238E27FC236}">
                  <a16:creationId xmlns:a16="http://schemas.microsoft.com/office/drawing/2014/main" id="{9471C137-C986-4EAC-997C-CFA8B8FEDC20}"/>
                </a:ext>
              </a:extLst>
            </p:cNvPr>
            <p:cNvSpPr/>
            <p:nvPr/>
          </p:nvSpPr>
          <p:spPr>
            <a:xfrm>
              <a:off x="2096876" y="2994106"/>
              <a:ext cx="219176" cy="477454"/>
            </a:xfrm>
            <a:custGeom>
              <a:avLst/>
              <a:gdLst/>
              <a:ahLst/>
              <a:cxnLst/>
              <a:rect l="l" t="t" r="r" b="b"/>
              <a:pathLst>
                <a:path w="219176" h="477454" extrusionOk="0">
                  <a:moveTo>
                    <a:pt x="62274" y="5418"/>
                  </a:moveTo>
                  <a:lnTo>
                    <a:pt x="24773" y="80606"/>
                  </a:lnTo>
                  <a:cubicBezTo>
                    <a:pt x="24773" y="80606"/>
                    <a:pt x="-32337" y="164158"/>
                    <a:pt x="26867" y="378979"/>
                  </a:cubicBezTo>
                  <a:lnTo>
                    <a:pt x="15730" y="445516"/>
                  </a:lnTo>
                  <a:cubicBezTo>
                    <a:pt x="15730" y="445516"/>
                    <a:pt x="127855" y="517377"/>
                    <a:pt x="202953" y="445516"/>
                  </a:cubicBezTo>
                  <a:cubicBezTo>
                    <a:pt x="202953" y="445516"/>
                    <a:pt x="228938" y="247044"/>
                    <a:pt x="215137" y="155508"/>
                  </a:cubicBezTo>
                  <a:cubicBezTo>
                    <a:pt x="207420" y="102867"/>
                    <a:pt x="195743" y="50882"/>
                    <a:pt x="180205" y="0"/>
                  </a:cubicBezTo>
                  <a:cubicBezTo>
                    <a:pt x="180205" y="0"/>
                    <a:pt x="161835" y="20246"/>
                    <a:pt x="67224" y="6844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312;p37">
              <a:extLst>
                <a:ext uri="{FF2B5EF4-FFF2-40B4-BE49-F238E27FC236}">
                  <a16:creationId xmlns:a16="http://schemas.microsoft.com/office/drawing/2014/main" id="{24A4BFF9-7D96-42F6-A149-91B3A0F62E25}"/>
                </a:ext>
              </a:extLst>
            </p:cNvPr>
            <p:cNvSpPr/>
            <p:nvPr/>
          </p:nvSpPr>
          <p:spPr>
            <a:xfrm>
              <a:off x="2115642" y="2850934"/>
              <a:ext cx="316003" cy="274536"/>
            </a:xfrm>
            <a:custGeom>
              <a:avLst/>
              <a:gdLst/>
              <a:ahLst/>
              <a:cxnLst/>
              <a:rect l="l" t="t" r="r" b="b"/>
              <a:pathLst>
                <a:path w="316003" h="274536" extrusionOk="0">
                  <a:moveTo>
                    <a:pt x="278037" y="202010"/>
                  </a:moveTo>
                  <a:cubicBezTo>
                    <a:pt x="268463" y="202400"/>
                    <a:pt x="258924" y="203417"/>
                    <a:pt x="249482" y="205052"/>
                  </a:cubicBezTo>
                  <a:cubicBezTo>
                    <a:pt x="240488" y="207875"/>
                    <a:pt x="231117" y="209320"/>
                    <a:pt x="221689" y="209329"/>
                  </a:cubicBezTo>
                  <a:cubicBezTo>
                    <a:pt x="211410" y="209329"/>
                    <a:pt x="182760" y="195071"/>
                    <a:pt x="158203" y="177867"/>
                  </a:cubicBezTo>
                  <a:cubicBezTo>
                    <a:pt x="131540" y="157867"/>
                    <a:pt x="108492" y="133467"/>
                    <a:pt x="90052" y="105721"/>
                  </a:cubicBezTo>
                  <a:cubicBezTo>
                    <a:pt x="70714" y="76112"/>
                    <a:pt x="53873" y="44963"/>
                    <a:pt x="39701" y="12568"/>
                  </a:cubicBezTo>
                  <a:cubicBezTo>
                    <a:pt x="31706" y="-10435"/>
                    <a:pt x="31896" y="5249"/>
                    <a:pt x="18285" y="4869"/>
                  </a:cubicBezTo>
                  <a:cubicBezTo>
                    <a:pt x="2199" y="4869"/>
                    <a:pt x="-6367" y="10382"/>
                    <a:pt x="5626" y="41655"/>
                  </a:cubicBezTo>
                  <a:cubicBezTo>
                    <a:pt x="17624" y="74011"/>
                    <a:pt x="34368" y="104419"/>
                    <a:pt x="55311" y="131861"/>
                  </a:cubicBezTo>
                  <a:cubicBezTo>
                    <a:pt x="74979" y="159540"/>
                    <a:pt x="99215" y="183675"/>
                    <a:pt x="126983" y="203246"/>
                  </a:cubicBezTo>
                  <a:cubicBezTo>
                    <a:pt x="151440" y="220356"/>
                    <a:pt x="177868" y="234452"/>
                    <a:pt x="205699" y="245260"/>
                  </a:cubicBezTo>
                  <a:cubicBezTo>
                    <a:pt x="213694" y="248492"/>
                    <a:pt x="218834" y="252959"/>
                    <a:pt x="233301" y="260944"/>
                  </a:cubicBezTo>
                  <a:cubicBezTo>
                    <a:pt x="247832" y="269251"/>
                    <a:pt x="264161" y="273918"/>
                    <a:pt x="280892" y="274536"/>
                  </a:cubicBezTo>
                  <a:cubicBezTo>
                    <a:pt x="294789" y="274536"/>
                    <a:pt x="299929" y="271875"/>
                    <a:pt x="300881" y="269023"/>
                  </a:cubicBezTo>
                  <a:cubicBezTo>
                    <a:pt x="301832" y="266171"/>
                    <a:pt x="299643" y="263035"/>
                    <a:pt x="293266" y="262465"/>
                  </a:cubicBezTo>
                  <a:cubicBezTo>
                    <a:pt x="283123" y="262312"/>
                    <a:pt x="273092" y="260316"/>
                    <a:pt x="263664" y="256571"/>
                  </a:cubicBezTo>
                  <a:cubicBezTo>
                    <a:pt x="263664" y="256571"/>
                    <a:pt x="277466" y="258567"/>
                    <a:pt x="285842" y="258947"/>
                  </a:cubicBezTo>
                  <a:cubicBezTo>
                    <a:pt x="293341" y="259394"/>
                    <a:pt x="300865" y="258814"/>
                    <a:pt x="308210" y="257236"/>
                  </a:cubicBezTo>
                  <a:cubicBezTo>
                    <a:pt x="315253" y="255525"/>
                    <a:pt x="319156" y="245640"/>
                    <a:pt x="312778" y="244880"/>
                  </a:cubicBezTo>
                  <a:cubicBezTo>
                    <a:pt x="306401" y="244119"/>
                    <a:pt x="301166" y="244880"/>
                    <a:pt x="288793" y="244404"/>
                  </a:cubicBezTo>
                  <a:cubicBezTo>
                    <a:pt x="282333" y="243967"/>
                    <a:pt x="275944" y="242788"/>
                    <a:pt x="269756" y="240887"/>
                  </a:cubicBezTo>
                  <a:cubicBezTo>
                    <a:pt x="278072" y="240944"/>
                    <a:pt x="286380" y="240345"/>
                    <a:pt x="294599" y="239081"/>
                  </a:cubicBezTo>
                  <a:cubicBezTo>
                    <a:pt x="301263" y="238425"/>
                    <a:pt x="307602" y="235887"/>
                    <a:pt x="312874" y="231762"/>
                  </a:cubicBezTo>
                  <a:cubicBezTo>
                    <a:pt x="315634" y="229481"/>
                    <a:pt x="316110" y="223112"/>
                    <a:pt x="308019" y="223207"/>
                  </a:cubicBezTo>
                  <a:cubicBezTo>
                    <a:pt x="298031" y="224947"/>
                    <a:pt x="287865" y="225460"/>
                    <a:pt x="277751" y="224728"/>
                  </a:cubicBezTo>
                  <a:cubicBezTo>
                    <a:pt x="267757" y="223302"/>
                    <a:pt x="260809" y="220926"/>
                    <a:pt x="262332" y="219595"/>
                  </a:cubicBezTo>
                  <a:cubicBezTo>
                    <a:pt x="263855" y="218264"/>
                    <a:pt x="269756" y="219595"/>
                    <a:pt x="278132" y="216553"/>
                  </a:cubicBezTo>
                  <a:cubicBezTo>
                    <a:pt x="286508" y="213512"/>
                    <a:pt x="292219" y="206193"/>
                    <a:pt x="290315" y="201915"/>
                  </a:cubicBezTo>
                  <a:cubicBezTo>
                    <a:pt x="288412" y="197638"/>
                    <a:pt x="287079" y="200395"/>
                    <a:pt x="278037" y="20201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313;p37">
              <a:extLst>
                <a:ext uri="{FF2B5EF4-FFF2-40B4-BE49-F238E27FC236}">
                  <a16:creationId xmlns:a16="http://schemas.microsoft.com/office/drawing/2014/main" id="{D163384B-9BF6-4E67-8E32-0ADD22EB5471}"/>
                </a:ext>
              </a:extLst>
            </p:cNvPr>
            <p:cNvSpPr/>
            <p:nvPr/>
          </p:nvSpPr>
          <p:spPr>
            <a:xfrm>
              <a:off x="2110000" y="2833008"/>
              <a:ext cx="75991" cy="89275"/>
            </a:xfrm>
            <a:custGeom>
              <a:avLst/>
              <a:gdLst/>
              <a:ahLst/>
              <a:cxnLst/>
              <a:rect l="l" t="t" r="r" b="b"/>
              <a:pathLst>
                <a:path w="75991" h="89275" extrusionOk="0">
                  <a:moveTo>
                    <a:pt x="18406" y="89237"/>
                  </a:moveTo>
                  <a:cubicBezTo>
                    <a:pt x="18406" y="89237"/>
                    <a:pt x="55147" y="91139"/>
                    <a:pt x="75991" y="68231"/>
                  </a:cubicBezTo>
                  <a:lnTo>
                    <a:pt x="53338" y="20704"/>
                  </a:lnTo>
                  <a:cubicBezTo>
                    <a:pt x="53338" y="20704"/>
                    <a:pt x="42963" y="-5436"/>
                    <a:pt x="18501" y="1028"/>
                  </a:cubicBezTo>
                  <a:cubicBezTo>
                    <a:pt x="-5960" y="7491"/>
                    <a:pt x="-6341" y="42186"/>
                    <a:pt x="18406" y="892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314;p37">
              <a:extLst>
                <a:ext uri="{FF2B5EF4-FFF2-40B4-BE49-F238E27FC236}">
                  <a16:creationId xmlns:a16="http://schemas.microsoft.com/office/drawing/2014/main" id="{D9547458-5460-4F4E-9986-85320289DE8F}"/>
                </a:ext>
              </a:extLst>
            </p:cNvPr>
            <p:cNvSpPr/>
            <p:nvPr/>
          </p:nvSpPr>
          <p:spPr>
            <a:xfrm>
              <a:off x="2246717" y="2802864"/>
              <a:ext cx="61392" cy="64630"/>
            </a:xfrm>
            <a:custGeom>
              <a:avLst/>
              <a:gdLst/>
              <a:ahLst/>
              <a:cxnLst/>
              <a:rect l="l" t="t" r="r" b="b"/>
              <a:pathLst>
                <a:path w="61392" h="64630" extrusionOk="0">
                  <a:moveTo>
                    <a:pt x="0" y="469"/>
                  </a:moveTo>
                  <a:cubicBezTo>
                    <a:pt x="0" y="469"/>
                    <a:pt x="29792" y="-9036"/>
                    <a:pt x="61392" y="57501"/>
                  </a:cubicBezTo>
                  <a:lnTo>
                    <a:pt x="49590" y="64630"/>
                  </a:lnTo>
                  <a:cubicBezTo>
                    <a:pt x="49590" y="64630"/>
                    <a:pt x="18465" y="17294"/>
                    <a:pt x="0" y="46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315;p37">
              <a:extLst>
                <a:ext uri="{FF2B5EF4-FFF2-40B4-BE49-F238E27FC236}">
                  <a16:creationId xmlns:a16="http://schemas.microsoft.com/office/drawing/2014/main" id="{04836D5F-E9D1-41A6-B21C-1D6FE9DC041E}"/>
                </a:ext>
              </a:extLst>
            </p:cNvPr>
            <p:cNvSpPr/>
            <p:nvPr/>
          </p:nvSpPr>
          <p:spPr>
            <a:xfrm>
              <a:off x="2092047" y="1119152"/>
              <a:ext cx="668082" cy="515307"/>
            </a:xfrm>
            <a:custGeom>
              <a:avLst/>
              <a:gdLst/>
              <a:ahLst/>
              <a:cxnLst/>
              <a:rect l="l" t="t" r="r" b="b"/>
              <a:pathLst>
                <a:path w="668082" h="515307" extrusionOk="0">
                  <a:moveTo>
                    <a:pt x="668083" y="310182"/>
                  </a:moveTo>
                  <a:lnTo>
                    <a:pt x="141345" y="6010"/>
                  </a:lnTo>
                  <a:lnTo>
                    <a:pt x="139346" y="4869"/>
                  </a:lnTo>
                  <a:lnTo>
                    <a:pt x="139346" y="4869"/>
                  </a:lnTo>
                  <a:cubicBezTo>
                    <a:pt x="124498" y="-3020"/>
                    <a:pt x="104415" y="-1594"/>
                    <a:pt x="82237" y="11143"/>
                  </a:cubicBezTo>
                  <a:cubicBezTo>
                    <a:pt x="36835" y="37378"/>
                    <a:pt x="0" y="101064"/>
                    <a:pt x="0" y="153723"/>
                  </a:cubicBezTo>
                  <a:cubicBezTo>
                    <a:pt x="0" y="180814"/>
                    <a:pt x="9994" y="199539"/>
                    <a:pt x="25890" y="207619"/>
                  </a:cubicBezTo>
                  <a:lnTo>
                    <a:pt x="559765" y="515307"/>
                  </a:ln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2316;p37">
              <a:extLst>
                <a:ext uri="{FF2B5EF4-FFF2-40B4-BE49-F238E27FC236}">
                  <a16:creationId xmlns:a16="http://schemas.microsoft.com/office/drawing/2014/main" id="{C2045D74-2D1D-4F88-857F-2EE42A357F79}"/>
                </a:ext>
              </a:extLst>
            </p:cNvPr>
            <p:cNvSpPr/>
            <p:nvPr/>
          </p:nvSpPr>
          <p:spPr>
            <a:xfrm rot="-3598236">
              <a:off x="2590249" y="1465200"/>
              <a:ext cx="232417" cy="133906"/>
            </a:xfrm>
            <a:custGeom>
              <a:avLst/>
              <a:gdLst/>
              <a:ahLst/>
              <a:cxnLst/>
              <a:rect l="l" t="t" r="r" b="b"/>
              <a:pathLst>
                <a:path w="232624" h="134025" extrusionOk="0">
                  <a:moveTo>
                    <a:pt x="232625" y="67013"/>
                  </a:moveTo>
                  <a:cubicBezTo>
                    <a:pt x="232625" y="104023"/>
                    <a:pt x="180550" y="134026"/>
                    <a:pt x="116312" y="134026"/>
                  </a:cubicBezTo>
                  <a:cubicBezTo>
                    <a:pt x="52075" y="134026"/>
                    <a:pt x="0" y="104023"/>
                    <a:pt x="0" y="67013"/>
                  </a:cubicBezTo>
                  <a:cubicBezTo>
                    <a:pt x="0" y="30003"/>
                    <a:pt x="52075" y="0"/>
                    <a:pt x="116312" y="0"/>
                  </a:cubicBezTo>
                  <a:cubicBezTo>
                    <a:pt x="180550" y="0"/>
                    <a:pt x="232625" y="30003"/>
                    <a:pt x="232625" y="67013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317;p37">
              <a:extLst>
                <a:ext uri="{FF2B5EF4-FFF2-40B4-BE49-F238E27FC236}">
                  <a16:creationId xmlns:a16="http://schemas.microsoft.com/office/drawing/2014/main" id="{22D3A3D3-2A7B-47F3-902C-745A1CF1CC5A}"/>
                </a:ext>
              </a:extLst>
            </p:cNvPr>
            <p:cNvSpPr/>
            <p:nvPr/>
          </p:nvSpPr>
          <p:spPr>
            <a:xfrm>
              <a:off x="2667422" y="1490358"/>
              <a:ext cx="274409" cy="269191"/>
            </a:xfrm>
            <a:custGeom>
              <a:avLst/>
              <a:gdLst/>
              <a:ahLst/>
              <a:cxnLst/>
              <a:rect l="l" t="t" r="r" b="b"/>
              <a:pathLst>
                <a:path w="274409" h="269191" extrusionOk="0">
                  <a:moveTo>
                    <a:pt x="274410" y="269192"/>
                  </a:moveTo>
                  <a:lnTo>
                    <a:pt x="0" y="111023"/>
                  </a:lnTo>
                  <a:lnTo>
                    <a:pt x="0" y="0"/>
                  </a:lnTo>
                  <a:lnTo>
                    <a:pt x="274410" y="158264"/>
                  </a:lnTo>
                  <a:lnTo>
                    <a:pt x="274410" y="26919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318;p37">
              <a:extLst>
                <a:ext uri="{FF2B5EF4-FFF2-40B4-BE49-F238E27FC236}">
                  <a16:creationId xmlns:a16="http://schemas.microsoft.com/office/drawing/2014/main" id="{39C185B8-8393-4D98-9A61-4D7F46A82AA5}"/>
                </a:ext>
              </a:extLst>
            </p:cNvPr>
            <p:cNvSpPr/>
            <p:nvPr/>
          </p:nvSpPr>
          <p:spPr>
            <a:xfrm>
              <a:off x="2667422" y="1454143"/>
              <a:ext cx="337610" cy="194669"/>
            </a:xfrm>
            <a:custGeom>
              <a:avLst/>
              <a:gdLst/>
              <a:ahLst/>
              <a:cxnLst/>
              <a:rect l="l" t="t" r="r" b="b"/>
              <a:pathLst>
                <a:path w="337610" h="194669" extrusionOk="0">
                  <a:moveTo>
                    <a:pt x="274410" y="194670"/>
                  </a:moveTo>
                  <a:lnTo>
                    <a:pt x="0" y="36501"/>
                  </a:lnTo>
                  <a:lnTo>
                    <a:pt x="63201" y="0"/>
                  </a:lnTo>
                  <a:lnTo>
                    <a:pt x="337611" y="158264"/>
                  </a:lnTo>
                  <a:lnTo>
                    <a:pt x="274410" y="194670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319;p37">
              <a:extLst>
                <a:ext uri="{FF2B5EF4-FFF2-40B4-BE49-F238E27FC236}">
                  <a16:creationId xmlns:a16="http://schemas.microsoft.com/office/drawing/2014/main" id="{B2E7EB2C-13B9-44C5-958E-FA0A5493AC20}"/>
                </a:ext>
              </a:extLst>
            </p:cNvPr>
            <p:cNvSpPr/>
            <p:nvPr/>
          </p:nvSpPr>
          <p:spPr>
            <a:xfrm rot="-1801764">
              <a:off x="2968958" y="1259916"/>
              <a:ext cx="690027" cy="1193572"/>
            </a:xfrm>
            <a:custGeom>
              <a:avLst/>
              <a:gdLst/>
              <a:ahLst/>
              <a:cxnLst/>
              <a:rect l="l" t="t" r="r" b="b"/>
              <a:pathLst>
                <a:path w="690640" h="1194633" extrusionOk="0">
                  <a:moveTo>
                    <a:pt x="690640" y="597317"/>
                  </a:moveTo>
                  <a:cubicBezTo>
                    <a:pt x="690640" y="927206"/>
                    <a:pt x="536035" y="1194633"/>
                    <a:pt x="345320" y="1194633"/>
                  </a:cubicBezTo>
                  <a:cubicBezTo>
                    <a:pt x="154605" y="1194633"/>
                    <a:pt x="0" y="927206"/>
                    <a:pt x="0" y="597317"/>
                  </a:cubicBezTo>
                  <a:cubicBezTo>
                    <a:pt x="0" y="267428"/>
                    <a:pt x="154605" y="0"/>
                    <a:pt x="345320" y="0"/>
                  </a:cubicBezTo>
                  <a:cubicBezTo>
                    <a:pt x="536035" y="0"/>
                    <a:pt x="690640" y="267428"/>
                    <a:pt x="690640" y="597317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320;p37">
              <a:extLst>
                <a:ext uri="{FF2B5EF4-FFF2-40B4-BE49-F238E27FC236}">
                  <a16:creationId xmlns:a16="http://schemas.microsoft.com/office/drawing/2014/main" id="{80341BEC-48AA-421F-B623-CE2742BD243D}"/>
                </a:ext>
              </a:extLst>
            </p:cNvPr>
            <p:cNvSpPr/>
            <p:nvPr/>
          </p:nvSpPr>
          <p:spPr>
            <a:xfrm>
              <a:off x="2858071" y="1161854"/>
              <a:ext cx="1027965" cy="1324206"/>
            </a:xfrm>
            <a:custGeom>
              <a:avLst/>
              <a:gdLst/>
              <a:ahLst/>
              <a:cxnLst/>
              <a:rect l="l" t="t" r="r" b="b"/>
              <a:pathLst>
                <a:path w="1027965" h="1324206" extrusionOk="0">
                  <a:moveTo>
                    <a:pt x="513983" y="1254422"/>
                  </a:moveTo>
                  <a:cubicBezTo>
                    <a:pt x="230816" y="1091119"/>
                    <a:pt x="0" y="692560"/>
                    <a:pt x="0" y="365955"/>
                  </a:cubicBezTo>
                  <a:cubicBezTo>
                    <a:pt x="0" y="39351"/>
                    <a:pt x="230436" y="-93439"/>
                    <a:pt x="513983" y="69863"/>
                  </a:cubicBezTo>
                  <a:cubicBezTo>
                    <a:pt x="797530" y="233165"/>
                    <a:pt x="1027966" y="631725"/>
                    <a:pt x="1027966" y="958234"/>
                  </a:cubicBezTo>
                  <a:cubicBezTo>
                    <a:pt x="1027966" y="1284744"/>
                    <a:pt x="797245" y="1417629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321;p37">
              <a:extLst>
                <a:ext uri="{FF2B5EF4-FFF2-40B4-BE49-F238E27FC236}">
                  <a16:creationId xmlns:a16="http://schemas.microsoft.com/office/drawing/2014/main" id="{4E189DC4-6146-488A-8977-3B28B03FD91D}"/>
                </a:ext>
              </a:extLst>
            </p:cNvPr>
            <p:cNvSpPr/>
            <p:nvPr/>
          </p:nvSpPr>
          <p:spPr>
            <a:xfrm>
              <a:off x="2800391" y="1195123"/>
              <a:ext cx="1027965" cy="1324248"/>
            </a:xfrm>
            <a:custGeom>
              <a:avLst/>
              <a:gdLst/>
              <a:ahLst/>
              <a:cxnLst/>
              <a:rect l="l" t="t" r="r" b="b"/>
              <a:pathLst>
                <a:path w="1027965" h="1324248" extrusionOk="0">
                  <a:moveTo>
                    <a:pt x="513983" y="1254422"/>
                  </a:moveTo>
                  <a:cubicBezTo>
                    <a:pt x="230721" y="1091119"/>
                    <a:pt x="0" y="692560"/>
                    <a:pt x="0" y="365955"/>
                  </a:cubicBezTo>
                  <a:cubicBezTo>
                    <a:pt x="0" y="39351"/>
                    <a:pt x="230341" y="-93439"/>
                    <a:pt x="513983" y="69863"/>
                  </a:cubicBezTo>
                  <a:cubicBezTo>
                    <a:pt x="797625" y="233165"/>
                    <a:pt x="1027966" y="631725"/>
                    <a:pt x="1027966" y="958234"/>
                  </a:cubicBezTo>
                  <a:cubicBezTo>
                    <a:pt x="1027966" y="1284744"/>
                    <a:pt x="797149" y="1417724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64153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9" name="Google Shape;1009;p21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3</a:t>
            </a:fld>
            <a:endParaRPr/>
          </a:p>
        </p:txBody>
      </p:sp>
      <p:sp>
        <p:nvSpPr>
          <p:cNvPr id="1006" name="Google Shape;1006;p21"/>
          <p:cNvSpPr txBox="1">
            <a:spLocks noGrp="1"/>
          </p:cNvSpPr>
          <p:nvPr>
            <p:ph type="title" idx="4294967295"/>
          </p:nvPr>
        </p:nvSpPr>
        <p:spPr>
          <a:xfrm>
            <a:off x="225353" y="1945634"/>
            <a:ext cx="3667125" cy="108267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dirty="0">
                <a:solidFill>
                  <a:schemeClr val="bg1"/>
                </a:solidFill>
              </a:rPr>
              <a:t>Screenshot</a:t>
            </a:r>
            <a:br>
              <a:rPr lang="en" sz="2000" dirty="0">
                <a:solidFill>
                  <a:schemeClr val="bg1"/>
                </a:solidFill>
              </a:rPr>
            </a:br>
            <a:r>
              <a:rPr lang="en" sz="2000" dirty="0">
                <a:solidFill>
                  <a:schemeClr val="bg1"/>
                </a:solidFill>
              </a:rPr>
              <a:t>of the</a:t>
            </a:r>
            <a:br>
              <a:rPr lang="en" sz="2000" dirty="0">
                <a:solidFill>
                  <a:schemeClr val="bg1"/>
                </a:solidFill>
              </a:rPr>
            </a:br>
            <a:r>
              <a:rPr lang="en" sz="2000" dirty="0">
                <a:solidFill>
                  <a:schemeClr val="bg1"/>
                </a:solidFill>
              </a:rPr>
              <a:t>dashboard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92AB5B6-2C8E-4E56-8A8C-E160D2E3D314}"/>
              </a:ext>
            </a:extLst>
          </p:cNvPr>
          <p:cNvGrpSpPr/>
          <p:nvPr/>
        </p:nvGrpSpPr>
        <p:grpSpPr>
          <a:xfrm>
            <a:off x="1034584" y="350195"/>
            <a:ext cx="8433880" cy="4286555"/>
            <a:chOff x="1177059" y="350195"/>
            <a:chExt cx="8433880" cy="4286555"/>
          </a:xfrm>
        </p:grpSpPr>
        <p:grpSp>
          <p:nvGrpSpPr>
            <p:cNvPr id="9" name="Google Shape;2020;p33">
              <a:extLst>
                <a:ext uri="{FF2B5EF4-FFF2-40B4-BE49-F238E27FC236}">
                  <a16:creationId xmlns:a16="http://schemas.microsoft.com/office/drawing/2014/main" id="{D3D64C54-7F90-4380-AF4C-113FF61E1943}"/>
                </a:ext>
              </a:extLst>
            </p:cNvPr>
            <p:cNvGrpSpPr/>
            <p:nvPr/>
          </p:nvGrpSpPr>
          <p:grpSpPr>
            <a:xfrm>
              <a:off x="1177059" y="350195"/>
              <a:ext cx="8433880" cy="4286555"/>
              <a:chOff x="1177450" y="241631"/>
              <a:chExt cx="6173152" cy="3616776"/>
            </a:xfrm>
          </p:grpSpPr>
          <p:sp>
            <p:nvSpPr>
              <p:cNvPr id="10" name="Google Shape;2021;p33">
                <a:extLst>
                  <a:ext uri="{FF2B5EF4-FFF2-40B4-BE49-F238E27FC236}">
                    <a16:creationId xmlns:a16="http://schemas.microsoft.com/office/drawing/2014/main" id="{CFF7ED41-45D9-4499-8E1C-83BDC454DE3A}"/>
                  </a:ext>
                </a:extLst>
              </p:cNvPr>
              <p:cNvSpPr/>
              <p:nvPr/>
            </p:nvSpPr>
            <p:spPr>
              <a:xfrm>
                <a:off x="1682275" y="241631"/>
                <a:ext cx="5161606" cy="3454973"/>
              </a:xfrm>
              <a:custGeom>
                <a:avLst/>
                <a:gdLst/>
                <a:ahLst/>
                <a:cxnLst/>
                <a:rect l="l" t="t" r="r" b="b"/>
                <a:pathLst>
                  <a:path w="5161606" h="3454973" extrusionOk="0">
                    <a:moveTo>
                      <a:pt x="4992053" y="0"/>
                    </a:moveTo>
                    <a:lnTo>
                      <a:pt x="170498" y="0"/>
                    </a:lnTo>
                    <a:cubicBezTo>
                      <a:pt x="76200" y="0"/>
                      <a:pt x="0" y="76143"/>
                      <a:pt x="0" y="170369"/>
                    </a:cubicBezTo>
                    <a:lnTo>
                      <a:pt x="0" y="3396915"/>
                    </a:lnTo>
                    <a:cubicBezTo>
                      <a:pt x="0" y="3429275"/>
                      <a:pt x="26670" y="3454973"/>
                      <a:pt x="58102" y="3454973"/>
                    </a:cubicBezTo>
                    <a:lnTo>
                      <a:pt x="5103495" y="3454973"/>
                    </a:lnTo>
                    <a:cubicBezTo>
                      <a:pt x="5135880" y="3454973"/>
                      <a:pt x="5161598" y="3428324"/>
                      <a:pt x="5161598" y="3396915"/>
                    </a:cubicBezTo>
                    <a:lnTo>
                      <a:pt x="5161598" y="170369"/>
                    </a:lnTo>
                    <a:cubicBezTo>
                      <a:pt x="5162550" y="76143"/>
                      <a:pt x="5086350" y="0"/>
                      <a:pt x="4992053" y="0"/>
                    </a:cubicBezTo>
                    <a:close/>
                    <a:moveTo>
                      <a:pt x="4981575" y="3245581"/>
                    </a:moveTo>
                    <a:lnTo>
                      <a:pt x="190500" y="3245581"/>
                    </a:lnTo>
                    <a:lnTo>
                      <a:pt x="190500" y="199874"/>
                    </a:lnTo>
                    <a:lnTo>
                      <a:pt x="4981575" y="199874"/>
                    </a:lnTo>
                    <a:lnTo>
                      <a:pt x="4981575" y="3245581"/>
                    </a:lnTo>
                    <a:close/>
                  </a:path>
                </a:pathLst>
              </a:custGeom>
              <a:gradFill>
                <a:gsLst>
                  <a:gs pos="0">
                    <a:schemeClr val="lt1"/>
                  </a:gs>
                  <a:gs pos="50000">
                    <a:schemeClr val="lt1"/>
                  </a:gs>
                  <a:gs pos="100000">
                    <a:schemeClr val="lt2"/>
                  </a:gs>
                </a:gsLst>
                <a:lin ang="16198662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" name="Google Shape;2022;p33">
                <a:extLst>
                  <a:ext uri="{FF2B5EF4-FFF2-40B4-BE49-F238E27FC236}">
                    <a16:creationId xmlns:a16="http://schemas.microsoft.com/office/drawing/2014/main" id="{0EFF325E-FBF2-4B65-8FD6-3AD25F8DD2D6}"/>
                  </a:ext>
                </a:extLst>
              </p:cNvPr>
              <p:cNvSpPr/>
              <p:nvPr/>
            </p:nvSpPr>
            <p:spPr>
              <a:xfrm>
                <a:off x="1177450" y="3763229"/>
                <a:ext cx="6173152" cy="95178"/>
              </a:xfrm>
              <a:custGeom>
                <a:avLst/>
                <a:gdLst/>
                <a:ahLst/>
                <a:cxnLst/>
                <a:rect l="l" t="t" r="r" b="b"/>
                <a:pathLst>
                  <a:path w="6173152" h="95178" extrusionOk="0">
                    <a:moveTo>
                      <a:pt x="0" y="0"/>
                    </a:moveTo>
                    <a:cubicBezTo>
                      <a:pt x="0" y="0"/>
                      <a:pt x="129540" y="95178"/>
                      <a:pt x="450533" y="95178"/>
                    </a:cubicBezTo>
                    <a:lnTo>
                      <a:pt x="5817870" y="95178"/>
                    </a:lnTo>
                    <a:cubicBezTo>
                      <a:pt x="5948363" y="95178"/>
                      <a:pt x="6173153" y="0"/>
                      <a:pt x="617315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5D6E0"/>
              </a:solidFill>
              <a:ln>
                <a:noFill/>
              </a:ln>
              <a:effectLst>
                <a:outerShdw blurRad="100013" dist="28575" dir="5400000" algn="bl" rotWithShape="0">
                  <a:srgbClr val="38226D">
                    <a:alpha val="3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" name="Google Shape;2023;p33">
                <a:extLst>
                  <a:ext uri="{FF2B5EF4-FFF2-40B4-BE49-F238E27FC236}">
                    <a16:creationId xmlns:a16="http://schemas.microsoft.com/office/drawing/2014/main" id="{02A21D05-4096-470E-A575-068EABC933F8}"/>
                  </a:ext>
                </a:extLst>
              </p:cNvPr>
              <p:cNvSpPr/>
              <p:nvPr/>
            </p:nvSpPr>
            <p:spPr>
              <a:xfrm>
                <a:off x="1177450" y="3687086"/>
                <a:ext cx="6172200" cy="76142"/>
              </a:xfrm>
              <a:custGeom>
                <a:avLst/>
                <a:gdLst/>
                <a:ahLst/>
                <a:cxnLst/>
                <a:rect l="l" t="t" r="r" b="b"/>
                <a:pathLst>
                  <a:path w="6172200" h="76142" extrusionOk="0">
                    <a:moveTo>
                      <a:pt x="0" y="76143"/>
                    </a:moveTo>
                    <a:lnTo>
                      <a:pt x="6172200" y="76143"/>
                    </a:lnTo>
                    <a:lnTo>
                      <a:pt x="617220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" name="Google Shape;2024;p33">
                <a:extLst>
                  <a:ext uri="{FF2B5EF4-FFF2-40B4-BE49-F238E27FC236}">
                    <a16:creationId xmlns:a16="http://schemas.microsoft.com/office/drawing/2014/main" id="{5417F13B-3E36-41F7-A97C-ADB31016094F}"/>
                  </a:ext>
                </a:extLst>
              </p:cNvPr>
              <p:cNvSpPr/>
              <p:nvPr/>
            </p:nvSpPr>
            <p:spPr>
              <a:xfrm>
                <a:off x="3806350" y="3687086"/>
                <a:ext cx="903922" cy="47589"/>
              </a:xfrm>
              <a:custGeom>
                <a:avLst/>
                <a:gdLst/>
                <a:ahLst/>
                <a:cxnLst/>
                <a:rect l="l" t="t" r="r" b="b"/>
                <a:pathLst>
                  <a:path w="903922" h="47589" extrusionOk="0">
                    <a:moveTo>
                      <a:pt x="0" y="0"/>
                    </a:moveTo>
                    <a:cubicBezTo>
                      <a:pt x="0" y="0"/>
                      <a:pt x="26670" y="47589"/>
                      <a:pt x="53340" y="47589"/>
                    </a:cubicBezTo>
                    <a:lnTo>
                      <a:pt x="850582" y="47589"/>
                    </a:lnTo>
                    <a:cubicBezTo>
                      <a:pt x="877253" y="47589"/>
                      <a:pt x="903922" y="0"/>
                      <a:pt x="90392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BB363BE6-6A7D-4FB7-BE66-E701DF3C5CF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08436" y="587398"/>
              <a:ext cx="6596097" cy="3611222"/>
            </a:xfrm>
            <a:prstGeom prst="rect">
              <a:avLst/>
            </a:prstGeom>
          </p:spPr>
        </p:pic>
      </p:grp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532CDF93-834D-4193-9970-FCE1DCC7684A}"/>
              </a:ext>
            </a:extLst>
          </p:cNvPr>
          <p:cNvSpPr/>
          <p:nvPr/>
        </p:nvSpPr>
        <p:spPr>
          <a:xfrm rot="5400000">
            <a:off x="-40734" y="1015509"/>
            <a:ext cx="817124" cy="660406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103933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B9C19F1-B034-4E43-94B4-66FE00469A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B9C19F1-B034-4E43-94B4-66FE00469A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2060EC71-61F0-420D-AEDB-9CC8605196B0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E1012C7C-F3D4-4DB0-9402-901E3437EF47}"/>
              </a:ext>
            </a:extLst>
          </p:cNvPr>
          <p:cNvSpPr/>
          <p:nvPr/>
        </p:nvSpPr>
        <p:spPr>
          <a:xfrm>
            <a:off x="0" y="4668060"/>
            <a:ext cx="296449" cy="475440"/>
          </a:xfrm>
          <a:prstGeom prst="triangle">
            <a:avLst>
              <a:gd name="adj" fmla="val 100000"/>
            </a:avLst>
          </a:prstGeom>
          <a:gradFill>
            <a:gsLst>
              <a:gs pos="0">
                <a:srgbClr val="12161C">
                  <a:alpha val="10000"/>
                </a:srgbClr>
              </a:gs>
              <a:gs pos="100000">
                <a:srgbClr val="12161C">
                  <a:alpha val="2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661D95-6C79-46AA-89A1-65546169E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513" y="273844"/>
            <a:ext cx="8562975" cy="626269"/>
          </a:xfrm>
        </p:spPr>
        <p:txBody>
          <a:bodyPr vert="horz"/>
          <a:lstStyle/>
          <a:p>
            <a:r>
              <a:rPr lang="en-US" dirty="0">
                <a:solidFill>
                  <a:schemeClr val="bg1"/>
                </a:solidFill>
              </a:rPr>
              <a:t>Apps Structure</a:t>
            </a:r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DB741DC-531F-4C39-A868-AE9D3BA0C30A}"/>
              </a:ext>
            </a:extLst>
          </p:cNvPr>
          <p:cNvSpPr/>
          <p:nvPr/>
        </p:nvSpPr>
        <p:spPr>
          <a:xfrm>
            <a:off x="3305698" y="1453064"/>
            <a:ext cx="651221" cy="651221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9125BEA-0292-4BA5-B9DB-37560B7E41DD}"/>
              </a:ext>
            </a:extLst>
          </p:cNvPr>
          <p:cNvSpPr/>
          <p:nvPr/>
        </p:nvSpPr>
        <p:spPr>
          <a:xfrm>
            <a:off x="3305698" y="3813779"/>
            <a:ext cx="651221" cy="651221"/>
          </a:xfrm>
          <a:prstGeom prst="ellipse">
            <a:avLst/>
          </a:prstGeom>
          <a:solidFill>
            <a:srgbClr val="FF2F2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AB9D5D6-9ECF-4FEF-850A-B50906FEC883}"/>
              </a:ext>
            </a:extLst>
          </p:cNvPr>
          <p:cNvSpPr/>
          <p:nvPr/>
        </p:nvSpPr>
        <p:spPr>
          <a:xfrm>
            <a:off x="5203394" y="1453064"/>
            <a:ext cx="651221" cy="65122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1D95967-B25F-4672-B603-9437140BA351}"/>
              </a:ext>
            </a:extLst>
          </p:cNvPr>
          <p:cNvSpPr/>
          <p:nvPr/>
        </p:nvSpPr>
        <p:spPr>
          <a:xfrm>
            <a:off x="5203394" y="3813779"/>
            <a:ext cx="651221" cy="651221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D35E681-7EFD-4A60-B47D-B9EF6A06C595}"/>
              </a:ext>
            </a:extLst>
          </p:cNvPr>
          <p:cNvSpPr/>
          <p:nvPr/>
        </p:nvSpPr>
        <p:spPr>
          <a:xfrm>
            <a:off x="3675547" y="2091532"/>
            <a:ext cx="1834299" cy="1785689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462CF70-B739-4312-B281-CB88C9121033}"/>
              </a:ext>
            </a:extLst>
          </p:cNvPr>
          <p:cNvSpPr/>
          <p:nvPr/>
        </p:nvSpPr>
        <p:spPr>
          <a:xfrm>
            <a:off x="290513" y="1158982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Flask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216C9A82-0A18-4BF6-85DF-47F91B646B4F}"/>
              </a:ext>
            </a:extLst>
          </p:cNvPr>
          <p:cNvSpPr/>
          <p:nvPr/>
        </p:nvSpPr>
        <p:spPr>
          <a:xfrm>
            <a:off x="290513" y="2973491"/>
            <a:ext cx="2534115" cy="329467"/>
          </a:xfrm>
          <a:prstGeom prst="roundRect">
            <a:avLst>
              <a:gd name="adj" fmla="val 50000"/>
            </a:avLst>
          </a:prstGeom>
          <a:solidFill>
            <a:srgbClr val="FF2F2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Html &amp; Heroku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08A0128F-9DC6-418D-8258-EE6F7F4BA895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5206365" y="3787100"/>
            <a:ext cx="92398" cy="12204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EB879C5-FF05-4C24-891F-616035C2D379}"/>
              </a:ext>
            </a:extLst>
          </p:cNvPr>
          <p:cNvCxnSpPr>
            <a:cxnSpLocks/>
          </p:cNvCxnSpPr>
          <p:nvPr/>
        </p:nvCxnSpPr>
        <p:spPr>
          <a:xfrm>
            <a:off x="3861549" y="2015337"/>
            <a:ext cx="96651" cy="12778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A3D73FE-2372-4218-8D7F-82BC5486BBE2}"/>
              </a:ext>
            </a:extLst>
          </p:cNvPr>
          <p:cNvCxnSpPr>
            <a:cxnSpLocks/>
          </p:cNvCxnSpPr>
          <p:nvPr/>
        </p:nvCxnSpPr>
        <p:spPr>
          <a:xfrm flipH="1">
            <a:off x="5183505" y="2015337"/>
            <a:ext cx="115259" cy="15239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5340AB1-8C85-4896-A24C-84F9E8EFCF21}"/>
              </a:ext>
            </a:extLst>
          </p:cNvPr>
          <p:cNvCxnSpPr>
            <a:cxnSpLocks/>
          </p:cNvCxnSpPr>
          <p:nvPr/>
        </p:nvCxnSpPr>
        <p:spPr>
          <a:xfrm flipV="1">
            <a:off x="3843125" y="3800475"/>
            <a:ext cx="82272" cy="108674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Oval 50">
            <a:extLst>
              <a:ext uri="{FF2B5EF4-FFF2-40B4-BE49-F238E27FC236}">
                <a16:creationId xmlns:a16="http://schemas.microsoft.com/office/drawing/2014/main" id="{48F05714-7D4F-4A1E-8C85-A3220F707299}"/>
              </a:ext>
            </a:extLst>
          </p:cNvPr>
          <p:cNvSpPr/>
          <p:nvPr/>
        </p:nvSpPr>
        <p:spPr>
          <a:xfrm>
            <a:off x="3531415" y="1953704"/>
            <a:ext cx="2069523" cy="2069523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81AEB887-62CE-4CA7-A01E-B78780626F1E}"/>
              </a:ext>
            </a:extLst>
          </p:cNvPr>
          <p:cNvSpPr/>
          <p:nvPr/>
        </p:nvSpPr>
        <p:spPr>
          <a:xfrm>
            <a:off x="6319374" y="1158982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SQL Alchemy</a:t>
            </a: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CC475FD2-25E8-463D-B240-279C650C19D2}"/>
              </a:ext>
            </a:extLst>
          </p:cNvPr>
          <p:cNvSpPr/>
          <p:nvPr/>
        </p:nvSpPr>
        <p:spPr>
          <a:xfrm>
            <a:off x="6319374" y="2973491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Java Script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6CBB5CA-C48B-4D91-9361-5168F7DBE9E1}"/>
              </a:ext>
            </a:extLst>
          </p:cNvPr>
          <p:cNvSpPr/>
          <p:nvPr/>
        </p:nvSpPr>
        <p:spPr>
          <a:xfrm>
            <a:off x="290513" y="1639562"/>
            <a:ext cx="2550425" cy="18466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Used to render html and API routes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D9B4D18-330F-4456-BB9E-6BBDCC70529F}"/>
              </a:ext>
            </a:extLst>
          </p:cNvPr>
          <p:cNvSpPr/>
          <p:nvPr/>
        </p:nvSpPr>
        <p:spPr>
          <a:xfrm>
            <a:off x="290513" y="3522854"/>
            <a:ext cx="2550425" cy="92333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Used Bootstrap template for the dashboard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Reference all JS files and necessary dependencies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Heroku to host our dashboard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E93BD6E-B8C5-45D2-90CD-FDF26AE1DB0A}"/>
              </a:ext>
            </a:extLst>
          </p:cNvPr>
          <p:cNvSpPr/>
          <p:nvPr/>
        </p:nvSpPr>
        <p:spPr>
          <a:xfrm>
            <a:off x="6319375" y="3522854"/>
            <a:ext cx="2550425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JS libraries used to create charts: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 err="1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Plotly</a:t>
            </a:r>
            <a:endParaRPr lang="en-US" sz="1200" dirty="0">
              <a:solidFill>
                <a:schemeClr val="bg1"/>
              </a:solidFill>
              <a:latin typeface="Barlow Light" panose="020B0604020202020204" charset="0"/>
              <a:cs typeface="Segoe UI Light" panose="020B0502040204020203" pitchFamily="34" charset="0"/>
            </a:endParaRP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D3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Leaflet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 err="1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WordCloud</a:t>
            </a: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 (not covered in class)</a:t>
            </a:r>
          </a:p>
          <a:p>
            <a:pPr marL="171450" lvl="4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Barlow Light" panose="020B0604020202020204" charset="0"/>
              <a:cs typeface="Segoe UI Light" panose="020B0502040204020203" pitchFamily="34" charset="0"/>
            </a:endParaRPr>
          </a:p>
        </p:txBody>
      </p:sp>
      <p:pic>
        <p:nvPicPr>
          <p:cNvPr id="1028" name="Picture 4" descr="Image result for sqlalchemy logo">
            <a:extLst>
              <a:ext uri="{FF2B5EF4-FFF2-40B4-BE49-F238E27FC236}">
                <a16:creationId xmlns:a16="http://schemas.microsoft.com/office/drawing/2014/main" id="{69F94B94-3445-4388-8D4E-8022D405E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8763" y="1725358"/>
            <a:ext cx="519847" cy="109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javascript logo">
            <a:extLst>
              <a:ext uri="{FF2B5EF4-FFF2-40B4-BE49-F238E27FC236}">
                <a16:creationId xmlns:a16="http://schemas.microsoft.com/office/drawing/2014/main" id="{7F0BF4BA-AD01-43A3-9A61-38A067097A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2814" y="3933737"/>
            <a:ext cx="385635" cy="385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mage result for html logo">
            <a:extLst>
              <a:ext uri="{FF2B5EF4-FFF2-40B4-BE49-F238E27FC236}">
                <a16:creationId xmlns:a16="http://schemas.microsoft.com/office/drawing/2014/main" id="{A5C22BCE-80E0-44C1-A866-6B35AFD0BC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2833" y="3960914"/>
            <a:ext cx="356949" cy="356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DC14E510-D8AB-46A2-82CC-B829397A10B9}"/>
              </a:ext>
            </a:extLst>
          </p:cNvPr>
          <p:cNvSpPr/>
          <p:nvPr/>
        </p:nvSpPr>
        <p:spPr>
          <a:xfrm>
            <a:off x="6311218" y="1639562"/>
            <a:ext cx="2550425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Query data from database and present them as APIs</a:t>
            </a:r>
          </a:p>
        </p:txBody>
      </p:sp>
      <p:sp>
        <p:nvSpPr>
          <p:cNvPr id="3" name="AutoShape 5">
            <a:extLst>
              <a:ext uri="{FF2B5EF4-FFF2-40B4-BE49-F238E27FC236}">
                <a16:creationId xmlns:a16="http://schemas.microsoft.com/office/drawing/2014/main" id="{1DA84BB3-95D5-4093-A5FF-81D8DF1583F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pic>
        <p:nvPicPr>
          <p:cNvPr id="2055" name="Picture 7" descr="Image result for jobs search icon">
            <a:extLst>
              <a:ext uri="{FF2B5EF4-FFF2-40B4-BE49-F238E27FC236}">
                <a16:creationId xmlns:a16="http://schemas.microsoft.com/office/drawing/2014/main" id="{6DEE929C-235C-4F8E-ABE7-3D17F27A3F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6820" y="2343316"/>
            <a:ext cx="1305658" cy="1305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3" name="Picture 15" descr="Image result for flasksqlalchemy icon">
            <a:extLst>
              <a:ext uri="{FF2B5EF4-FFF2-40B4-BE49-F238E27FC236}">
                <a16:creationId xmlns:a16="http://schemas.microsoft.com/office/drawing/2014/main" id="{54F45CCA-04FD-4D2C-BD6E-12E87F96B6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0768" y="1591727"/>
            <a:ext cx="402573" cy="402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F5A95DD-9AB3-42B8-AA9B-5A5DE86DD5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743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0" name="Google Shape;1700;p28"/>
          <p:cNvSpPr txBox="1">
            <a:spLocks noGrp="1"/>
          </p:cNvSpPr>
          <p:nvPr>
            <p:ph type="title"/>
          </p:nvPr>
        </p:nvSpPr>
        <p:spPr>
          <a:xfrm>
            <a:off x="457199" y="605600"/>
            <a:ext cx="8191825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shboard Design</a:t>
            </a:r>
            <a:endParaRPr dirty="0"/>
          </a:p>
        </p:txBody>
      </p:sp>
      <p:sp>
        <p:nvSpPr>
          <p:cNvPr id="1701" name="Google Shape;1701;p28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5</a:t>
            </a:fld>
            <a:endParaRPr/>
          </a:p>
        </p:txBody>
      </p:sp>
      <p:pic>
        <p:nvPicPr>
          <p:cNvPr id="3074" name="Picture 2" descr="Image result for flask sqlalchemy">
            <a:extLst>
              <a:ext uri="{FF2B5EF4-FFF2-40B4-BE49-F238E27FC236}">
                <a16:creationId xmlns:a16="http://schemas.microsoft.com/office/drawing/2014/main" id="{5C7F1E9D-D82B-49E0-A87D-C2A3B58BE4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750" y="1245850"/>
            <a:ext cx="8467725" cy="339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6ED3DD8-082F-42E7-80A2-8951D7EBA4D7}"/>
              </a:ext>
            </a:extLst>
          </p:cNvPr>
          <p:cNvSpPr txBox="1"/>
          <p:nvPr/>
        </p:nvSpPr>
        <p:spPr>
          <a:xfrm>
            <a:off x="1367692" y="4845538"/>
            <a:ext cx="626793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i="1" dirty="0">
                <a:solidFill>
                  <a:schemeClr val="tx1">
                    <a:lumMod val="50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sk by example 5 (How to build a simple REST API) (danidee10.github.io)</a:t>
            </a:r>
            <a:endParaRPr lang="en-CA" sz="800" i="1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0594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sults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4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265" name="Google Shape;2322;p37">
            <a:extLst>
              <a:ext uri="{FF2B5EF4-FFF2-40B4-BE49-F238E27FC236}">
                <a16:creationId xmlns:a16="http://schemas.microsoft.com/office/drawing/2014/main" id="{ADC2AF00-1819-4FE0-8F6C-CFB7295AD0D1}"/>
              </a:ext>
            </a:extLst>
          </p:cNvPr>
          <p:cNvGrpSpPr/>
          <p:nvPr/>
        </p:nvGrpSpPr>
        <p:grpSpPr>
          <a:xfrm>
            <a:off x="4990291" y="996236"/>
            <a:ext cx="3387092" cy="3293662"/>
            <a:chOff x="1926580" y="602477"/>
            <a:chExt cx="4456273" cy="4762466"/>
          </a:xfrm>
        </p:grpSpPr>
        <p:sp>
          <p:nvSpPr>
            <p:cNvPr id="266" name="Google Shape;2323;p37">
              <a:extLst>
                <a:ext uri="{FF2B5EF4-FFF2-40B4-BE49-F238E27FC236}">
                  <a16:creationId xmlns:a16="http://schemas.microsoft.com/office/drawing/2014/main" id="{7F352699-6B59-40C1-BE87-F8AC76A95AF3}"/>
                </a:ext>
              </a:extLst>
            </p:cNvPr>
            <p:cNvSpPr/>
            <p:nvPr/>
          </p:nvSpPr>
          <p:spPr>
            <a:xfrm>
              <a:off x="4352367" y="1409287"/>
              <a:ext cx="1407834" cy="1779317"/>
            </a:xfrm>
            <a:custGeom>
              <a:avLst/>
              <a:gdLst/>
              <a:ahLst/>
              <a:cxnLst/>
              <a:rect l="l" t="t" r="r" b="b"/>
              <a:pathLst>
                <a:path w="1407834" h="1779317" extrusionOk="0">
                  <a:moveTo>
                    <a:pt x="1367440" y="1774437"/>
                  </a:moveTo>
                  <a:lnTo>
                    <a:pt x="40490" y="1006627"/>
                  </a:lnTo>
                  <a:cubicBezTo>
                    <a:pt x="18059" y="993768"/>
                    <a:pt x="0" y="959002"/>
                    <a:pt x="0" y="929188"/>
                  </a:cubicBezTo>
                  <a:lnTo>
                    <a:pt x="0" y="35458"/>
                  </a:lnTo>
                  <a:cubicBezTo>
                    <a:pt x="0" y="5645"/>
                    <a:pt x="18059" y="-8071"/>
                    <a:pt x="40490" y="4883"/>
                  </a:cubicBezTo>
                  <a:lnTo>
                    <a:pt x="1367440" y="772598"/>
                  </a:lnTo>
                  <a:cubicBezTo>
                    <a:pt x="1389776" y="785551"/>
                    <a:pt x="1407835" y="820223"/>
                    <a:pt x="1407835" y="850131"/>
                  </a:cubicBezTo>
                  <a:lnTo>
                    <a:pt x="1407835" y="1743767"/>
                  </a:lnTo>
                  <a:cubicBezTo>
                    <a:pt x="1407835" y="1773675"/>
                    <a:pt x="1389776" y="1787391"/>
                    <a:pt x="1367440" y="1774437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324;p37">
              <a:extLst>
                <a:ext uri="{FF2B5EF4-FFF2-40B4-BE49-F238E27FC236}">
                  <a16:creationId xmlns:a16="http://schemas.microsoft.com/office/drawing/2014/main" id="{97DAD0AF-4DBE-4EB2-854B-CD16E150CF48}"/>
                </a:ext>
              </a:extLst>
            </p:cNvPr>
            <p:cNvSpPr/>
            <p:nvPr/>
          </p:nvSpPr>
          <p:spPr>
            <a:xfrm>
              <a:off x="4492846" y="1745654"/>
              <a:ext cx="1118701" cy="793785"/>
            </a:xfrm>
            <a:custGeom>
              <a:avLst/>
              <a:gdLst/>
              <a:ahLst/>
              <a:cxnLst/>
              <a:rect l="l" t="t" r="r" b="b"/>
              <a:pathLst>
                <a:path w="1118701" h="793785" extrusionOk="0">
                  <a:moveTo>
                    <a:pt x="1073650" y="788370"/>
                  </a:moveTo>
                  <a:lnTo>
                    <a:pt x="45147" y="193344"/>
                  </a:lnTo>
                  <a:cubicBezTo>
                    <a:pt x="20245" y="178866"/>
                    <a:pt x="0" y="140194"/>
                    <a:pt x="0" y="106952"/>
                  </a:cubicBezTo>
                  <a:lnTo>
                    <a:pt x="0" y="39610"/>
                  </a:lnTo>
                  <a:cubicBezTo>
                    <a:pt x="0" y="6273"/>
                    <a:pt x="20245" y="-8967"/>
                    <a:pt x="45147" y="5415"/>
                  </a:cubicBezTo>
                  <a:lnTo>
                    <a:pt x="1073650" y="600442"/>
                  </a:lnTo>
                  <a:cubicBezTo>
                    <a:pt x="1098552" y="614825"/>
                    <a:pt x="1118702" y="653496"/>
                    <a:pt x="1118702" y="686834"/>
                  </a:cubicBezTo>
                  <a:lnTo>
                    <a:pt x="1118702" y="754176"/>
                  </a:lnTo>
                  <a:cubicBezTo>
                    <a:pt x="1118702" y="787513"/>
                    <a:pt x="1098552" y="802753"/>
                    <a:pt x="1073650" y="7883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325;p37">
              <a:extLst>
                <a:ext uri="{FF2B5EF4-FFF2-40B4-BE49-F238E27FC236}">
                  <a16:creationId xmlns:a16="http://schemas.microsoft.com/office/drawing/2014/main" id="{CC17DDF5-976D-413C-973B-320C56FFAE65}"/>
                </a:ext>
              </a:extLst>
            </p:cNvPr>
            <p:cNvSpPr/>
            <p:nvPr/>
          </p:nvSpPr>
          <p:spPr>
            <a:xfrm>
              <a:off x="3766118" y="879295"/>
              <a:ext cx="2497551" cy="3394041"/>
            </a:xfrm>
            <a:custGeom>
              <a:avLst/>
              <a:gdLst/>
              <a:ahLst/>
              <a:cxnLst/>
              <a:rect l="l" t="t" r="r" b="b"/>
              <a:pathLst>
                <a:path w="2497551" h="3394041" extrusionOk="0">
                  <a:moveTo>
                    <a:pt x="2437193" y="3386756"/>
                  </a:moveTo>
                  <a:lnTo>
                    <a:pt x="60355" y="2011346"/>
                  </a:lnTo>
                  <a:cubicBezTo>
                    <a:pt x="26993" y="1992296"/>
                    <a:pt x="0" y="1940289"/>
                    <a:pt x="0" y="1895808"/>
                  </a:cubicBezTo>
                  <a:lnTo>
                    <a:pt x="0" y="53006"/>
                  </a:lnTo>
                  <a:cubicBezTo>
                    <a:pt x="0" y="8429"/>
                    <a:pt x="26993" y="-12050"/>
                    <a:pt x="60355" y="7286"/>
                  </a:cubicBezTo>
                  <a:lnTo>
                    <a:pt x="2437193" y="1382696"/>
                  </a:lnTo>
                  <a:cubicBezTo>
                    <a:pt x="2470554" y="1401746"/>
                    <a:pt x="2497548" y="1453752"/>
                    <a:pt x="2497548" y="1498234"/>
                  </a:cubicBezTo>
                  <a:lnTo>
                    <a:pt x="2497548" y="3341036"/>
                  </a:lnTo>
                  <a:cubicBezTo>
                    <a:pt x="2497928" y="3385613"/>
                    <a:pt x="2470934" y="3406092"/>
                    <a:pt x="2437193" y="3386756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326;p37">
              <a:extLst>
                <a:ext uri="{FF2B5EF4-FFF2-40B4-BE49-F238E27FC236}">
                  <a16:creationId xmlns:a16="http://schemas.microsoft.com/office/drawing/2014/main" id="{311CA48F-4CFD-4EC3-B174-60C0E7956E51}"/>
                </a:ext>
              </a:extLst>
            </p:cNvPr>
            <p:cNvSpPr/>
            <p:nvPr/>
          </p:nvSpPr>
          <p:spPr>
            <a:xfrm>
              <a:off x="3744257" y="892344"/>
              <a:ext cx="2498022" cy="3393845"/>
            </a:xfrm>
            <a:custGeom>
              <a:avLst/>
              <a:gdLst/>
              <a:ahLst/>
              <a:cxnLst/>
              <a:rect l="l" t="t" r="r" b="b"/>
              <a:pathLst>
                <a:path w="2498022" h="3393845" extrusionOk="0">
                  <a:moveTo>
                    <a:pt x="2437668" y="3386756"/>
                  </a:moveTo>
                  <a:lnTo>
                    <a:pt x="60450" y="2010965"/>
                  </a:lnTo>
                  <a:cubicBezTo>
                    <a:pt x="27088" y="1991915"/>
                    <a:pt x="0" y="1939908"/>
                    <a:pt x="0" y="1895331"/>
                  </a:cubicBezTo>
                  <a:lnTo>
                    <a:pt x="0" y="53006"/>
                  </a:lnTo>
                  <a:cubicBezTo>
                    <a:pt x="0" y="8429"/>
                    <a:pt x="27088" y="-12050"/>
                    <a:pt x="60450" y="7286"/>
                  </a:cubicBezTo>
                  <a:lnTo>
                    <a:pt x="2437668" y="1382696"/>
                  </a:lnTo>
                  <a:cubicBezTo>
                    <a:pt x="2471030" y="1401746"/>
                    <a:pt x="2498023" y="1453752"/>
                    <a:pt x="2498023" y="1498329"/>
                  </a:cubicBezTo>
                  <a:lnTo>
                    <a:pt x="2498023" y="3340655"/>
                  </a:lnTo>
                  <a:cubicBezTo>
                    <a:pt x="2498023" y="3385136"/>
                    <a:pt x="2471030" y="3405806"/>
                    <a:pt x="2437668" y="3386756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327;p37">
              <a:extLst>
                <a:ext uri="{FF2B5EF4-FFF2-40B4-BE49-F238E27FC236}">
                  <a16:creationId xmlns:a16="http://schemas.microsoft.com/office/drawing/2014/main" id="{6242C820-B467-4BC0-9E08-08BE68442D62}"/>
                </a:ext>
              </a:extLst>
            </p:cNvPr>
            <p:cNvSpPr/>
            <p:nvPr/>
          </p:nvSpPr>
          <p:spPr>
            <a:xfrm>
              <a:off x="3740075" y="894303"/>
              <a:ext cx="2498022" cy="3394082"/>
            </a:xfrm>
            <a:custGeom>
              <a:avLst/>
              <a:gdLst/>
              <a:ahLst/>
              <a:cxnLst/>
              <a:rect l="l" t="t" r="r" b="b"/>
              <a:pathLst>
                <a:path w="2498022" h="3394082" extrusionOk="0">
                  <a:moveTo>
                    <a:pt x="2437668" y="3386797"/>
                  </a:moveTo>
                  <a:lnTo>
                    <a:pt x="60450" y="2011387"/>
                  </a:lnTo>
                  <a:cubicBezTo>
                    <a:pt x="27088" y="1992337"/>
                    <a:pt x="0" y="1940330"/>
                    <a:pt x="0" y="1895753"/>
                  </a:cubicBezTo>
                  <a:lnTo>
                    <a:pt x="0" y="52951"/>
                  </a:lnTo>
                  <a:cubicBezTo>
                    <a:pt x="0" y="8470"/>
                    <a:pt x="27088" y="-12009"/>
                    <a:pt x="60450" y="7231"/>
                  </a:cubicBezTo>
                  <a:lnTo>
                    <a:pt x="2437668" y="1382641"/>
                  </a:lnTo>
                  <a:cubicBezTo>
                    <a:pt x="2470935" y="1401691"/>
                    <a:pt x="2498023" y="1453698"/>
                    <a:pt x="2498023" y="1498275"/>
                  </a:cubicBezTo>
                  <a:lnTo>
                    <a:pt x="2498023" y="3341077"/>
                  </a:lnTo>
                  <a:cubicBezTo>
                    <a:pt x="2498023" y="3385654"/>
                    <a:pt x="2470935" y="3406132"/>
                    <a:pt x="2437668" y="3386797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328;p37">
              <a:extLst>
                <a:ext uri="{FF2B5EF4-FFF2-40B4-BE49-F238E27FC236}">
                  <a16:creationId xmlns:a16="http://schemas.microsoft.com/office/drawing/2014/main" id="{BD3A2DB5-3DA1-4639-A568-C2E945DB5295}"/>
                </a:ext>
              </a:extLst>
            </p:cNvPr>
            <p:cNvSpPr/>
            <p:nvPr/>
          </p:nvSpPr>
          <p:spPr>
            <a:xfrm>
              <a:off x="3770110" y="934160"/>
              <a:ext cx="2435672" cy="3234830"/>
            </a:xfrm>
            <a:custGeom>
              <a:avLst/>
              <a:gdLst/>
              <a:ahLst/>
              <a:cxnLst/>
              <a:rect l="l" t="t" r="r" b="b"/>
              <a:pathLst>
                <a:path w="2435672" h="3234830" extrusionOk="0">
                  <a:moveTo>
                    <a:pt x="2435292" y="3234830"/>
                  </a:moveTo>
                  <a:lnTo>
                    <a:pt x="0" y="1825988"/>
                  </a:lnTo>
                  <a:lnTo>
                    <a:pt x="1426" y="20714"/>
                  </a:lnTo>
                  <a:cubicBezTo>
                    <a:pt x="1426" y="2236"/>
                    <a:pt x="14352" y="-5289"/>
                    <a:pt x="29940" y="3950"/>
                  </a:cubicBezTo>
                  <a:lnTo>
                    <a:pt x="2407158" y="1379360"/>
                  </a:lnTo>
                  <a:cubicBezTo>
                    <a:pt x="2424086" y="1390600"/>
                    <a:pt x="2434674" y="1409231"/>
                    <a:pt x="2435672" y="14295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329;p37">
              <a:extLst>
                <a:ext uri="{FF2B5EF4-FFF2-40B4-BE49-F238E27FC236}">
                  <a16:creationId xmlns:a16="http://schemas.microsoft.com/office/drawing/2014/main" id="{6313F22C-F439-4491-A8B1-0E31F354A61D}"/>
                </a:ext>
              </a:extLst>
            </p:cNvPr>
            <p:cNvSpPr/>
            <p:nvPr/>
          </p:nvSpPr>
          <p:spPr>
            <a:xfrm>
              <a:off x="3770110" y="934160"/>
              <a:ext cx="2435006" cy="3234925"/>
            </a:xfrm>
            <a:custGeom>
              <a:avLst/>
              <a:gdLst/>
              <a:ahLst/>
              <a:cxnLst/>
              <a:rect l="l" t="t" r="r" b="b"/>
              <a:pathLst>
                <a:path w="2435006" h="3234925" extrusionOk="0">
                  <a:moveTo>
                    <a:pt x="2434532" y="3234926"/>
                  </a:moveTo>
                  <a:lnTo>
                    <a:pt x="0" y="1826083"/>
                  </a:lnTo>
                  <a:lnTo>
                    <a:pt x="760" y="20714"/>
                  </a:lnTo>
                  <a:cubicBezTo>
                    <a:pt x="760" y="2236"/>
                    <a:pt x="13687" y="-5289"/>
                    <a:pt x="29274" y="3950"/>
                  </a:cubicBezTo>
                  <a:lnTo>
                    <a:pt x="2406493" y="1379360"/>
                  </a:lnTo>
                  <a:cubicBezTo>
                    <a:pt x="2423411" y="1390609"/>
                    <a:pt x="2433990" y="1409240"/>
                    <a:pt x="2435007" y="14295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330;p37">
              <a:extLst>
                <a:ext uri="{FF2B5EF4-FFF2-40B4-BE49-F238E27FC236}">
                  <a16:creationId xmlns:a16="http://schemas.microsoft.com/office/drawing/2014/main" id="{2E665E70-67B2-4582-B9C1-C5C48D6DEE81}"/>
                </a:ext>
              </a:extLst>
            </p:cNvPr>
            <p:cNvSpPr/>
            <p:nvPr/>
          </p:nvSpPr>
          <p:spPr>
            <a:xfrm>
              <a:off x="6215951" y="4191660"/>
              <a:ext cx="26328" cy="93440"/>
            </a:xfrm>
            <a:custGeom>
              <a:avLst/>
              <a:gdLst/>
              <a:ahLst/>
              <a:cxnLst/>
              <a:rect l="l" t="t" r="r" b="b"/>
              <a:pathLst>
                <a:path w="26328" h="93440" extrusionOk="0">
                  <a:moveTo>
                    <a:pt x="0" y="93440"/>
                  </a:moveTo>
                  <a:lnTo>
                    <a:pt x="26328" y="78200"/>
                  </a:lnTo>
                  <a:lnTo>
                    <a:pt x="14922" y="0"/>
                  </a:lnTo>
                  <a:lnTo>
                    <a:pt x="0" y="9344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331;p37">
              <a:extLst>
                <a:ext uri="{FF2B5EF4-FFF2-40B4-BE49-F238E27FC236}">
                  <a16:creationId xmlns:a16="http://schemas.microsoft.com/office/drawing/2014/main" id="{910A4678-BED0-4421-8025-340555B0E4F6}"/>
                </a:ext>
              </a:extLst>
            </p:cNvPr>
            <p:cNvSpPr/>
            <p:nvPr/>
          </p:nvSpPr>
          <p:spPr>
            <a:xfrm>
              <a:off x="3761840" y="882675"/>
              <a:ext cx="63206" cy="27150"/>
            </a:xfrm>
            <a:custGeom>
              <a:avLst/>
              <a:gdLst/>
              <a:ahLst/>
              <a:cxnLst/>
              <a:rect l="l" t="t" r="r" b="b"/>
              <a:pathLst>
                <a:path w="63206" h="27150" extrusionOk="0">
                  <a:moveTo>
                    <a:pt x="0" y="15049"/>
                  </a:moveTo>
                  <a:lnTo>
                    <a:pt x="25948" y="0"/>
                  </a:lnTo>
                  <a:lnTo>
                    <a:pt x="63206" y="21336"/>
                  </a:lnTo>
                  <a:cubicBezTo>
                    <a:pt x="63206" y="21336"/>
                    <a:pt x="23477" y="27337"/>
                    <a:pt x="22526" y="27146"/>
                  </a:cubicBezTo>
                  <a:cubicBezTo>
                    <a:pt x="21576" y="26956"/>
                    <a:pt x="0" y="15049"/>
                    <a:pt x="0" y="1504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332;p37">
              <a:extLst>
                <a:ext uri="{FF2B5EF4-FFF2-40B4-BE49-F238E27FC236}">
                  <a16:creationId xmlns:a16="http://schemas.microsoft.com/office/drawing/2014/main" id="{AEE1390F-C0D9-46CA-858C-C492E9AD621A}"/>
                </a:ext>
              </a:extLst>
            </p:cNvPr>
            <p:cNvSpPr/>
            <p:nvPr/>
          </p:nvSpPr>
          <p:spPr>
            <a:xfrm>
              <a:off x="1985051" y="2961416"/>
              <a:ext cx="4154298" cy="2403527"/>
            </a:xfrm>
            <a:custGeom>
              <a:avLst/>
              <a:gdLst/>
              <a:ahLst/>
              <a:cxnLst/>
              <a:rect l="l" t="t" r="r" b="b"/>
              <a:pathLst>
                <a:path w="4154298" h="2403527" extrusionOk="0">
                  <a:moveTo>
                    <a:pt x="2399727" y="2390484"/>
                  </a:moveTo>
                  <a:lnTo>
                    <a:pt x="22508" y="1015074"/>
                  </a:lnTo>
                  <a:cubicBezTo>
                    <a:pt x="-10853" y="996024"/>
                    <a:pt x="-6671" y="962115"/>
                    <a:pt x="32013" y="939826"/>
                  </a:cubicBezTo>
                  <a:lnTo>
                    <a:pt x="1624524" y="18378"/>
                  </a:lnTo>
                  <a:cubicBezTo>
                    <a:pt x="1662543" y="-3815"/>
                    <a:pt x="1721282" y="-6292"/>
                    <a:pt x="1754548" y="13044"/>
                  </a:cubicBezTo>
                  <a:lnTo>
                    <a:pt x="4131861" y="1388454"/>
                  </a:lnTo>
                  <a:cubicBezTo>
                    <a:pt x="4165128" y="1407504"/>
                    <a:pt x="4160946" y="1441413"/>
                    <a:pt x="4122357" y="1463701"/>
                  </a:cubicBezTo>
                  <a:lnTo>
                    <a:pt x="2529751" y="2385150"/>
                  </a:lnTo>
                  <a:cubicBezTo>
                    <a:pt x="2491257" y="2407343"/>
                    <a:pt x="2432993" y="2409820"/>
                    <a:pt x="2399727" y="23904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333;p37">
              <a:extLst>
                <a:ext uri="{FF2B5EF4-FFF2-40B4-BE49-F238E27FC236}">
                  <a16:creationId xmlns:a16="http://schemas.microsoft.com/office/drawing/2014/main" id="{B368D5EB-038A-4E5C-87AE-8A8F225314C2}"/>
                </a:ext>
              </a:extLst>
            </p:cNvPr>
            <p:cNvSpPr/>
            <p:nvPr/>
          </p:nvSpPr>
          <p:spPr>
            <a:xfrm>
              <a:off x="2036757" y="2930659"/>
              <a:ext cx="4154369" cy="2403042"/>
            </a:xfrm>
            <a:custGeom>
              <a:avLst/>
              <a:gdLst/>
              <a:ahLst/>
              <a:cxnLst/>
              <a:rect l="l" t="t" r="r" b="b"/>
              <a:pathLst>
                <a:path w="4154369" h="2403042" extrusionOk="0">
                  <a:moveTo>
                    <a:pt x="2399917" y="2389999"/>
                  </a:moveTo>
                  <a:lnTo>
                    <a:pt x="22508" y="1015065"/>
                  </a:lnTo>
                  <a:cubicBezTo>
                    <a:pt x="-10853" y="996015"/>
                    <a:pt x="-6671" y="962106"/>
                    <a:pt x="32013" y="939818"/>
                  </a:cubicBezTo>
                  <a:lnTo>
                    <a:pt x="1624524" y="18464"/>
                  </a:lnTo>
                  <a:cubicBezTo>
                    <a:pt x="1662543" y="-3824"/>
                    <a:pt x="1721282" y="-6301"/>
                    <a:pt x="1754643" y="13035"/>
                  </a:cubicBezTo>
                  <a:lnTo>
                    <a:pt x="4131861" y="1388445"/>
                  </a:lnTo>
                  <a:cubicBezTo>
                    <a:pt x="4165223" y="1407495"/>
                    <a:pt x="4161041" y="1441404"/>
                    <a:pt x="4122357" y="1463693"/>
                  </a:cubicBezTo>
                  <a:lnTo>
                    <a:pt x="2530036" y="2384665"/>
                  </a:lnTo>
                  <a:cubicBezTo>
                    <a:pt x="2491542" y="2406858"/>
                    <a:pt x="2433278" y="2409335"/>
                    <a:pt x="2399917" y="238999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334;p37">
              <a:extLst>
                <a:ext uri="{FF2B5EF4-FFF2-40B4-BE49-F238E27FC236}">
                  <a16:creationId xmlns:a16="http://schemas.microsoft.com/office/drawing/2014/main" id="{4F0C780E-2B64-40C9-92AE-126E0AD51FF2}"/>
                </a:ext>
              </a:extLst>
            </p:cNvPr>
            <p:cNvSpPr/>
            <p:nvPr/>
          </p:nvSpPr>
          <p:spPr>
            <a:xfrm>
              <a:off x="2036929" y="3869239"/>
              <a:ext cx="50374" cy="44958"/>
            </a:xfrm>
            <a:custGeom>
              <a:avLst/>
              <a:gdLst/>
              <a:ahLst/>
              <a:cxnLst/>
              <a:rect l="l" t="t" r="r" b="b"/>
              <a:pathLst>
                <a:path w="50374" h="44958" extrusionOk="0">
                  <a:moveTo>
                    <a:pt x="0" y="44958"/>
                  </a:moveTo>
                  <a:lnTo>
                    <a:pt x="0" y="0"/>
                  </a:lnTo>
                  <a:lnTo>
                    <a:pt x="50375" y="21146"/>
                  </a:lnTo>
                  <a:lnTo>
                    <a:pt x="0" y="44958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335;p37">
              <a:extLst>
                <a:ext uri="{FF2B5EF4-FFF2-40B4-BE49-F238E27FC236}">
                  <a16:creationId xmlns:a16="http://schemas.microsoft.com/office/drawing/2014/main" id="{4D7CE1B0-1CA6-4F49-B941-0F588644D514}"/>
                </a:ext>
              </a:extLst>
            </p:cNvPr>
            <p:cNvSpPr/>
            <p:nvPr/>
          </p:nvSpPr>
          <p:spPr>
            <a:xfrm>
              <a:off x="6153886" y="4308341"/>
              <a:ext cx="37258" cy="49244"/>
            </a:xfrm>
            <a:custGeom>
              <a:avLst/>
              <a:gdLst/>
              <a:ahLst/>
              <a:cxnLst/>
              <a:rect l="l" t="t" r="r" b="b"/>
              <a:pathLst>
                <a:path w="37258" h="49244" extrusionOk="0">
                  <a:moveTo>
                    <a:pt x="37259" y="43910"/>
                  </a:moveTo>
                  <a:lnTo>
                    <a:pt x="37259" y="0"/>
                  </a:lnTo>
                  <a:lnTo>
                    <a:pt x="0" y="12859"/>
                  </a:lnTo>
                  <a:lnTo>
                    <a:pt x="24712" y="49244"/>
                  </a:lnTo>
                  <a:lnTo>
                    <a:pt x="37259" y="4391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336;p37">
              <a:extLst>
                <a:ext uri="{FF2B5EF4-FFF2-40B4-BE49-F238E27FC236}">
                  <a16:creationId xmlns:a16="http://schemas.microsoft.com/office/drawing/2014/main" id="{E5661A28-1962-453A-B5E3-6C7DB8F21C94}"/>
                </a:ext>
              </a:extLst>
            </p:cNvPr>
            <p:cNvSpPr/>
            <p:nvPr/>
          </p:nvSpPr>
          <p:spPr>
            <a:xfrm>
              <a:off x="2036757" y="2892519"/>
              <a:ext cx="4154369" cy="2403360"/>
            </a:xfrm>
            <a:custGeom>
              <a:avLst/>
              <a:gdLst/>
              <a:ahLst/>
              <a:cxnLst/>
              <a:rect l="l" t="t" r="r" b="b"/>
              <a:pathLst>
                <a:path w="4154369" h="2403360" extrusionOk="0">
                  <a:moveTo>
                    <a:pt x="2399917" y="2390326"/>
                  </a:moveTo>
                  <a:lnTo>
                    <a:pt x="22508" y="1015106"/>
                  </a:lnTo>
                  <a:cubicBezTo>
                    <a:pt x="-10853" y="996056"/>
                    <a:pt x="-6671" y="962147"/>
                    <a:pt x="32013" y="939859"/>
                  </a:cubicBezTo>
                  <a:lnTo>
                    <a:pt x="1624524" y="18410"/>
                  </a:lnTo>
                  <a:cubicBezTo>
                    <a:pt x="1662543" y="-3879"/>
                    <a:pt x="1721282" y="-6260"/>
                    <a:pt x="1754643" y="13076"/>
                  </a:cubicBezTo>
                  <a:lnTo>
                    <a:pt x="4131861" y="1388486"/>
                  </a:lnTo>
                  <a:cubicBezTo>
                    <a:pt x="4165223" y="1407536"/>
                    <a:pt x="4161041" y="1441445"/>
                    <a:pt x="4122357" y="1463734"/>
                  </a:cubicBezTo>
                  <a:lnTo>
                    <a:pt x="2530036" y="2384896"/>
                  </a:lnTo>
                  <a:cubicBezTo>
                    <a:pt x="2491542" y="2407185"/>
                    <a:pt x="2433278" y="2409661"/>
                    <a:pt x="2399917" y="2390326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337;p37">
              <a:extLst>
                <a:ext uri="{FF2B5EF4-FFF2-40B4-BE49-F238E27FC236}">
                  <a16:creationId xmlns:a16="http://schemas.microsoft.com/office/drawing/2014/main" id="{E415E343-93D8-46CA-96C9-B9986AE711FE}"/>
                </a:ext>
              </a:extLst>
            </p:cNvPr>
            <p:cNvSpPr/>
            <p:nvPr/>
          </p:nvSpPr>
          <p:spPr>
            <a:xfrm>
              <a:off x="2036757" y="2886502"/>
              <a:ext cx="4154369" cy="2403527"/>
            </a:xfrm>
            <a:custGeom>
              <a:avLst/>
              <a:gdLst/>
              <a:ahLst/>
              <a:cxnLst/>
              <a:rect l="l" t="t" r="r" b="b"/>
              <a:pathLst>
                <a:path w="4154369" h="2403527" extrusionOk="0">
                  <a:moveTo>
                    <a:pt x="2399917" y="2390532"/>
                  </a:moveTo>
                  <a:lnTo>
                    <a:pt x="22508" y="1015122"/>
                  </a:lnTo>
                  <a:cubicBezTo>
                    <a:pt x="-10853" y="996072"/>
                    <a:pt x="-6671" y="962067"/>
                    <a:pt x="32013" y="939874"/>
                  </a:cubicBezTo>
                  <a:lnTo>
                    <a:pt x="1624524" y="18425"/>
                  </a:lnTo>
                  <a:cubicBezTo>
                    <a:pt x="1662543" y="-3863"/>
                    <a:pt x="1721282" y="-6244"/>
                    <a:pt x="1754643" y="12996"/>
                  </a:cubicBezTo>
                  <a:lnTo>
                    <a:pt x="4131861" y="1388502"/>
                  </a:lnTo>
                  <a:cubicBezTo>
                    <a:pt x="4165223" y="1407552"/>
                    <a:pt x="4161041" y="1441461"/>
                    <a:pt x="4122357" y="1463749"/>
                  </a:cubicBezTo>
                  <a:lnTo>
                    <a:pt x="2530036" y="2385103"/>
                  </a:lnTo>
                  <a:cubicBezTo>
                    <a:pt x="2491542" y="2407391"/>
                    <a:pt x="2433278" y="2409772"/>
                    <a:pt x="2399917" y="2390532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338;p37">
              <a:extLst>
                <a:ext uri="{FF2B5EF4-FFF2-40B4-BE49-F238E27FC236}">
                  <a16:creationId xmlns:a16="http://schemas.microsoft.com/office/drawing/2014/main" id="{35E7F261-7113-4FDC-B7C3-0BD546E128E3}"/>
                </a:ext>
              </a:extLst>
            </p:cNvPr>
            <p:cNvSpPr/>
            <p:nvPr/>
          </p:nvSpPr>
          <p:spPr>
            <a:xfrm>
              <a:off x="3500252" y="3065247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5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339;p37">
              <a:extLst>
                <a:ext uri="{FF2B5EF4-FFF2-40B4-BE49-F238E27FC236}">
                  <a16:creationId xmlns:a16="http://schemas.microsoft.com/office/drawing/2014/main" id="{8FE70595-6C3B-467B-A98B-F8549E3DB057}"/>
                </a:ext>
              </a:extLst>
            </p:cNvPr>
            <p:cNvSpPr/>
            <p:nvPr/>
          </p:nvSpPr>
          <p:spPr>
            <a:xfrm>
              <a:off x="3657092" y="3155925"/>
              <a:ext cx="266442" cy="153985"/>
            </a:xfrm>
            <a:custGeom>
              <a:avLst/>
              <a:gdLst/>
              <a:ahLst/>
              <a:cxnLst/>
              <a:rect l="l" t="t" r="r" b="b"/>
              <a:pathLst>
                <a:path w="266442" h="153985" extrusionOk="0">
                  <a:moveTo>
                    <a:pt x="116819" y="150482"/>
                  </a:moveTo>
                  <a:lnTo>
                    <a:pt x="6090" y="86379"/>
                  </a:lnTo>
                  <a:cubicBezTo>
                    <a:pt x="-2940" y="81235"/>
                    <a:pt x="-1799" y="72091"/>
                    <a:pt x="8656" y="65995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8958"/>
                  </a:lnTo>
                  <a:cubicBezTo>
                    <a:pt x="141180" y="155073"/>
                    <a:pt x="128111" y="15564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340;p37">
              <a:extLst>
                <a:ext uri="{FF2B5EF4-FFF2-40B4-BE49-F238E27FC236}">
                  <a16:creationId xmlns:a16="http://schemas.microsoft.com/office/drawing/2014/main" id="{F2D614FB-CD4F-421E-A9AA-F49191F1D2C8}"/>
                </a:ext>
              </a:extLst>
            </p:cNvPr>
            <p:cNvSpPr/>
            <p:nvPr/>
          </p:nvSpPr>
          <p:spPr>
            <a:xfrm>
              <a:off x="3815428" y="3247563"/>
              <a:ext cx="266636" cy="153995"/>
            </a:xfrm>
            <a:custGeom>
              <a:avLst/>
              <a:gdLst/>
              <a:ahLst/>
              <a:cxnLst/>
              <a:rect l="l" t="t" r="r" b="b"/>
              <a:pathLst>
                <a:path w="266636" h="153995" extrusionOk="0">
                  <a:moveTo>
                    <a:pt x="116927" y="150570"/>
                  </a:moveTo>
                  <a:lnTo>
                    <a:pt x="6292" y="86466"/>
                  </a:lnTo>
                  <a:cubicBezTo>
                    <a:pt x="-3213" y="81228"/>
                    <a:pt x="-1597" y="72083"/>
                    <a:pt x="8763" y="66083"/>
                  </a:cubicBezTo>
                  <a:lnTo>
                    <a:pt x="114456" y="5028"/>
                  </a:lnTo>
                  <a:cubicBezTo>
                    <a:pt x="125262" y="-1087"/>
                    <a:pt x="138331" y="-1659"/>
                    <a:pt x="149623" y="3504"/>
                  </a:cubicBezTo>
                  <a:lnTo>
                    <a:pt x="260353" y="67607"/>
                  </a:lnTo>
                  <a:cubicBezTo>
                    <a:pt x="269857" y="72750"/>
                    <a:pt x="268242" y="81894"/>
                    <a:pt x="257786" y="87990"/>
                  </a:cubicBezTo>
                  <a:lnTo>
                    <a:pt x="152189" y="149046"/>
                  </a:lnTo>
                  <a:cubicBezTo>
                    <a:pt x="141325" y="155056"/>
                    <a:pt x="128266" y="155627"/>
                    <a:pt x="116927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341;p37">
              <a:extLst>
                <a:ext uri="{FF2B5EF4-FFF2-40B4-BE49-F238E27FC236}">
                  <a16:creationId xmlns:a16="http://schemas.microsoft.com/office/drawing/2014/main" id="{B4609C10-25DA-402A-99DD-03D25CC29566}"/>
                </a:ext>
              </a:extLst>
            </p:cNvPr>
            <p:cNvSpPr/>
            <p:nvPr/>
          </p:nvSpPr>
          <p:spPr>
            <a:xfrm>
              <a:off x="3970462" y="3337185"/>
              <a:ext cx="266334" cy="153993"/>
            </a:xfrm>
            <a:custGeom>
              <a:avLst/>
              <a:gdLst/>
              <a:ahLst/>
              <a:cxnLst/>
              <a:rect l="l" t="t" r="r" b="b"/>
              <a:pathLst>
                <a:path w="266334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245" y="67519"/>
                  </a:lnTo>
                  <a:cubicBezTo>
                    <a:pt x="269275" y="72758"/>
                    <a:pt x="268134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342;p37">
              <a:extLst>
                <a:ext uri="{FF2B5EF4-FFF2-40B4-BE49-F238E27FC236}">
                  <a16:creationId xmlns:a16="http://schemas.microsoft.com/office/drawing/2014/main" id="{E3B66FB6-679F-4770-84FF-3504CD3730F1}"/>
                </a:ext>
              </a:extLst>
            </p:cNvPr>
            <p:cNvSpPr/>
            <p:nvPr/>
          </p:nvSpPr>
          <p:spPr>
            <a:xfrm>
              <a:off x="4127000" y="3427863"/>
              <a:ext cx="266433" cy="153993"/>
            </a:xfrm>
            <a:custGeom>
              <a:avLst/>
              <a:gdLst/>
              <a:ahLst/>
              <a:cxnLst/>
              <a:rect l="l" t="t" r="r" b="b"/>
              <a:pathLst>
                <a:path w="266433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4" y="72758"/>
                    <a:pt x="268233" y="81902"/>
                    <a:pt x="257778" y="87903"/>
                  </a:cubicBezTo>
                  <a:lnTo>
                    <a:pt x="152181" y="149053"/>
                  </a:lnTo>
                  <a:cubicBezTo>
                    <a:pt x="141345" y="155092"/>
                    <a:pt x="128295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343;p37">
              <a:extLst>
                <a:ext uri="{FF2B5EF4-FFF2-40B4-BE49-F238E27FC236}">
                  <a16:creationId xmlns:a16="http://schemas.microsoft.com/office/drawing/2014/main" id="{70E7D861-7F04-4FE6-923D-BA57F9DB04AC}"/>
                </a:ext>
              </a:extLst>
            </p:cNvPr>
            <p:cNvSpPr/>
            <p:nvPr/>
          </p:nvSpPr>
          <p:spPr>
            <a:xfrm>
              <a:off x="4283886" y="3519017"/>
              <a:ext cx="266280" cy="153993"/>
            </a:xfrm>
            <a:custGeom>
              <a:avLst/>
              <a:gdLst/>
              <a:ahLst/>
              <a:cxnLst/>
              <a:rect l="l" t="t" r="r" b="b"/>
              <a:pathLst>
                <a:path w="266280" h="153993" extrusionOk="0">
                  <a:moveTo>
                    <a:pt x="116765" y="150482"/>
                  </a:moveTo>
                  <a:lnTo>
                    <a:pt x="6131" y="86474"/>
                  </a:lnTo>
                  <a:cubicBezTo>
                    <a:pt x="-2899" y="81235"/>
                    <a:pt x="-1853" y="72091"/>
                    <a:pt x="8602" y="66091"/>
                  </a:cubicBezTo>
                  <a:lnTo>
                    <a:pt x="114199" y="4940"/>
                  </a:lnTo>
                  <a:cubicBezTo>
                    <a:pt x="125063" y="-1099"/>
                    <a:pt x="138141" y="-1632"/>
                    <a:pt x="149461" y="3511"/>
                  </a:cubicBezTo>
                  <a:lnTo>
                    <a:pt x="260191" y="67519"/>
                  </a:lnTo>
                  <a:cubicBezTo>
                    <a:pt x="269220" y="72758"/>
                    <a:pt x="268080" y="81902"/>
                    <a:pt x="257625" y="87903"/>
                  </a:cubicBezTo>
                  <a:lnTo>
                    <a:pt x="152027" y="149053"/>
                  </a:lnTo>
                  <a:cubicBezTo>
                    <a:pt x="141164" y="155092"/>
                    <a:pt x="128085" y="155626"/>
                    <a:pt x="116765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344;p37">
              <a:extLst>
                <a:ext uri="{FF2B5EF4-FFF2-40B4-BE49-F238E27FC236}">
                  <a16:creationId xmlns:a16="http://schemas.microsoft.com/office/drawing/2014/main" id="{D68FBD23-696A-410B-86EB-AACBE1DCAE60}"/>
                </a:ext>
              </a:extLst>
            </p:cNvPr>
            <p:cNvSpPr/>
            <p:nvPr/>
          </p:nvSpPr>
          <p:spPr>
            <a:xfrm>
              <a:off x="4440564" y="3609219"/>
              <a:ext cx="266248" cy="153985"/>
            </a:xfrm>
            <a:custGeom>
              <a:avLst/>
              <a:gdLst/>
              <a:ahLst/>
              <a:cxnLst/>
              <a:rect l="l" t="t" r="r" b="b"/>
              <a:pathLst>
                <a:path w="266248" h="153985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8958"/>
                  </a:lnTo>
                  <a:cubicBezTo>
                    <a:pt x="141180" y="155073"/>
                    <a:pt x="128111" y="15564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345;p37">
              <a:extLst>
                <a:ext uri="{FF2B5EF4-FFF2-40B4-BE49-F238E27FC236}">
                  <a16:creationId xmlns:a16="http://schemas.microsoft.com/office/drawing/2014/main" id="{001851EA-3361-400D-BC5E-9A950B6C8082}"/>
                </a:ext>
              </a:extLst>
            </p:cNvPr>
            <p:cNvSpPr/>
            <p:nvPr/>
          </p:nvSpPr>
          <p:spPr>
            <a:xfrm>
              <a:off x="4597287" y="3699905"/>
              <a:ext cx="266442" cy="153983"/>
            </a:xfrm>
            <a:custGeom>
              <a:avLst/>
              <a:gdLst/>
              <a:ahLst/>
              <a:cxnLst/>
              <a:rect l="l" t="t" r="r" b="b"/>
              <a:pathLst>
                <a:path w="266442" h="153983" extrusionOk="0">
                  <a:moveTo>
                    <a:pt x="116733" y="150570"/>
                  </a:moveTo>
                  <a:lnTo>
                    <a:pt x="6099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663" y="72846"/>
                    <a:pt x="268048" y="81894"/>
                    <a:pt x="257593" y="87990"/>
                  </a:cubicBezTo>
                  <a:lnTo>
                    <a:pt x="151805" y="148950"/>
                  </a:lnTo>
                  <a:cubicBezTo>
                    <a:pt x="141037" y="155037"/>
                    <a:pt x="128015" y="155637"/>
                    <a:pt x="116733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9" name="Google Shape;2346;p37">
              <a:extLst>
                <a:ext uri="{FF2B5EF4-FFF2-40B4-BE49-F238E27FC236}">
                  <a16:creationId xmlns:a16="http://schemas.microsoft.com/office/drawing/2014/main" id="{A93B2A21-5E31-407C-86D5-4544B0B25D61}"/>
                </a:ext>
              </a:extLst>
            </p:cNvPr>
            <p:cNvSpPr/>
            <p:nvPr/>
          </p:nvSpPr>
          <p:spPr>
            <a:xfrm>
              <a:off x="4753934" y="3790488"/>
              <a:ext cx="266248" cy="153985"/>
            </a:xfrm>
            <a:custGeom>
              <a:avLst/>
              <a:gdLst/>
              <a:ahLst/>
              <a:cxnLst/>
              <a:rect l="l" t="t" r="r" b="b"/>
              <a:pathLst>
                <a:path w="266248" h="153985" extrusionOk="0">
                  <a:moveTo>
                    <a:pt x="116819" y="150474"/>
                  </a:moveTo>
                  <a:lnTo>
                    <a:pt x="6089" y="86466"/>
                  </a:lnTo>
                  <a:cubicBezTo>
                    <a:pt x="-2940" y="81228"/>
                    <a:pt x="-1799" y="72083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150" y="67607"/>
                  </a:lnTo>
                  <a:cubicBezTo>
                    <a:pt x="269179" y="72750"/>
                    <a:pt x="268039" y="81894"/>
                    <a:pt x="257679" y="87990"/>
                  </a:cubicBezTo>
                  <a:lnTo>
                    <a:pt x="152082" y="149046"/>
                  </a:lnTo>
                  <a:cubicBezTo>
                    <a:pt x="141218" y="155084"/>
                    <a:pt x="128139" y="155618"/>
                    <a:pt x="116819" y="15047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0" name="Google Shape;2347;p37">
              <a:extLst>
                <a:ext uri="{FF2B5EF4-FFF2-40B4-BE49-F238E27FC236}">
                  <a16:creationId xmlns:a16="http://schemas.microsoft.com/office/drawing/2014/main" id="{C7A38EB8-4C0B-46E8-8821-08E8DD3F1C02}"/>
                </a:ext>
              </a:extLst>
            </p:cNvPr>
            <p:cNvSpPr/>
            <p:nvPr/>
          </p:nvSpPr>
          <p:spPr>
            <a:xfrm>
              <a:off x="4910657" y="3881158"/>
              <a:ext cx="266058" cy="153915"/>
            </a:xfrm>
            <a:custGeom>
              <a:avLst/>
              <a:gdLst/>
              <a:ahLst/>
              <a:cxnLst/>
              <a:rect l="l" t="t" r="r" b="b"/>
              <a:pathLst>
                <a:path w="266058" h="153915" extrusionOk="0">
                  <a:moveTo>
                    <a:pt x="116733" y="150292"/>
                  </a:moveTo>
                  <a:lnTo>
                    <a:pt x="6099" y="86284"/>
                  </a:lnTo>
                  <a:cubicBezTo>
                    <a:pt x="-2931" y="81045"/>
                    <a:pt x="-1790" y="71901"/>
                    <a:pt x="8570" y="65900"/>
                  </a:cubicBezTo>
                  <a:lnTo>
                    <a:pt x="114072" y="4940"/>
                  </a:lnTo>
                  <a:cubicBezTo>
                    <a:pt x="124907" y="-1099"/>
                    <a:pt x="137957" y="-1632"/>
                    <a:pt x="149239" y="3511"/>
                  </a:cubicBezTo>
                  <a:lnTo>
                    <a:pt x="259969" y="67519"/>
                  </a:lnTo>
                  <a:cubicBezTo>
                    <a:pt x="268998" y="72758"/>
                    <a:pt x="267858" y="81902"/>
                    <a:pt x="257402" y="87903"/>
                  </a:cubicBezTo>
                  <a:lnTo>
                    <a:pt x="152090" y="149053"/>
                  </a:lnTo>
                  <a:cubicBezTo>
                    <a:pt x="141170" y="155064"/>
                    <a:pt x="128044" y="155530"/>
                    <a:pt x="116733" y="15029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1" name="Google Shape;2348;p37">
              <a:extLst>
                <a:ext uri="{FF2B5EF4-FFF2-40B4-BE49-F238E27FC236}">
                  <a16:creationId xmlns:a16="http://schemas.microsoft.com/office/drawing/2014/main" id="{E68107D9-46C4-48D6-BB61-91242B36960D}"/>
                </a:ext>
              </a:extLst>
            </p:cNvPr>
            <p:cNvSpPr/>
            <p:nvPr/>
          </p:nvSpPr>
          <p:spPr>
            <a:xfrm>
              <a:off x="5067303" y="3971836"/>
              <a:ext cx="266334" cy="153993"/>
            </a:xfrm>
            <a:custGeom>
              <a:avLst/>
              <a:gdLst/>
              <a:ahLst/>
              <a:cxnLst/>
              <a:rect l="l" t="t" r="r" b="b"/>
              <a:pathLst>
                <a:path w="266334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245" y="67519"/>
                  </a:lnTo>
                  <a:cubicBezTo>
                    <a:pt x="269274" y="72758"/>
                    <a:pt x="268134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2" name="Google Shape;2349;p37">
              <a:extLst>
                <a:ext uri="{FF2B5EF4-FFF2-40B4-BE49-F238E27FC236}">
                  <a16:creationId xmlns:a16="http://schemas.microsoft.com/office/drawing/2014/main" id="{C0A45285-6B9F-471F-A0AD-1B2A27D8A34D}"/>
                </a:ext>
              </a:extLst>
            </p:cNvPr>
            <p:cNvSpPr/>
            <p:nvPr/>
          </p:nvSpPr>
          <p:spPr>
            <a:xfrm>
              <a:off x="5224035" y="4062514"/>
              <a:ext cx="266528" cy="154092"/>
            </a:xfrm>
            <a:custGeom>
              <a:avLst/>
              <a:gdLst/>
              <a:ahLst/>
              <a:cxnLst/>
              <a:rect l="l" t="t" r="r" b="b"/>
              <a:pathLst>
                <a:path w="266528" h="154092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348" y="4940"/>
                  </a:lnTo>
                  <a:cubicBezTo>
                    <a:pt x="125212" y="-1099"/>
                    <a:pt x="138290" y="-1632"/>
                    <a:pt x="149610" y="3511"/>
                  </a:cubicBezTo>
                  <a:lnTo>
                    <a:pt x="260245" y="67519"/>
                  </a:lnTo>
                  <a:cubicBezTo>
                    <a:pt x="269750" y="72758"/>
                    <a:pt x="268134" y="81902"/>
                    <a:pt x="257679" y="87903"/>
                  </a:cubicBezTo>
                  <a:lnTo>
                    <a:pt x="152367" y="149053"/>
                  </a:lnTo>
                  <a:cubicBezTo>
                    <a:pt x="141436" y="155226"/>
                    <a:pt x="128206" y="155759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3" name="Google Shape;2350;p37">
              <a:extLst>
                <a:ext uri="{FF2B5EF4-FFF2-40B4-BE49-F238E27FC236}">
                  <a16:creationId xmlns:a16="http://schemas.microsoft.com/office/drawing/2014/main" id="{7F19FE40-A406-4E86-B63D-C88C9543DD6A}"/>
                </a:ext>
              </a:extLst>
            </p:cNvPr>
            <p:cNvSpPr/>
            <p:nvPr/>
          </p:nvSpPr>
          <p:spPr>
            <a:xfrm>
              <a:off x="5380534" y="4153137"/>
              <a:ext cx="266473" cy="154041"/>
            </a:xfrm>
            <a:custGeom>
              <a:avLst/>
              <a:gdLst/>
              <a:ahLst/>
              <a:cxnLst/>
              <a:rect l="l" t="t" r="r" b="b"/>
              <a:pathLst>
                <a:path w="266473" h="154041" extrusionOk="0">
                  <a:moveTo>
                    <a:pt x="116958" y="150537"/>
                  </a:moveTo>
                  <a:lnTo>
                    <a:pt x="6324" y="86434"/>
                  </a:lnTo>
                  <a:cubicBezTo>
                    <a:pt x="-3181" y="81195"/>
                    <a:pt x="-1660" y="72147"/>
                    <a:pt x="8795" y="66051"/>
                  </a:cubicBezTo>
                  <a:lnTo>
                    <a:pt x="114392" y="4995"/>
                  </a:lnTo>
                  <a:cubicBezTo>
                    <a:pt x="125247" y="-1082"/>
                    <a:pt x="138325" y="-1644"/>
                    <a:pt x="149655" y="3472"/>
                  </a:cubicBezTo>
                  <a:lnTo>
                    <a:pt x="260384" y="67575"/>
                  </a:lnTo>
                  <a:cubicBezTo>
                    <a:pt x="269414" y="72814"/>
                    <a:pt x="268273" y="81862"/>
                    <a:pt x="257818" y="87958"/>
                  </a:cubicBezTo>
                  <a:lnTo>
                    <a:pt x="152221" y="149014"/>
                  </a:lnTo>
                  <a:cubicBezTo>
                    <a:pt x="141386" y="155129"/>
                    <a:pt x="128279" y="155700"/>
                    <a:pt x="116958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4" name="Google Shape;2351;p37">
              <a:extLst>
                <a:ext uri="{FF2B5EF4-FFF2-40B4-BE49-F238E27FC236}">
                  <a16:creationId xmlns:a16="http://schemas.microsoft.com/office/drawing/2014/main" id="{69097FA3-4F15-4EC4-A595-9FB8F1C4EDB7}"/>
                </a:ext>
              </a:extLst>
            </p:cNvPr>
            <p:cNvSpPr/>
            <p:nvPr/>
          </p:nvSpPr>
          <p:spPr>
            <a:xfrm>
              <a:off x="5537405" y="4243783"/>
              <a:ext cx="341715" cy="197836"/>
            </a:xfrm>
            <a:custGeom>
              <a:avLst/>
              <a:gdLst/>
              <a:ahLst/>
              <a:cxnLst/>
              <a:rect l="l" t="t" r="r" b="b"/>
              <a:pathLst>
                <a:path w="341715" h="197836" extrusionOk="0">
                  <a:moveTo>
                    <a:pt x="192287" y="194194"/>
                  </a:moveTo>
                  <a:lnTo>
                    <a:pt x="6089" y="86466"/>
                  </a:lnTo>
                  <a:cubicBezTo>
                    <a:pt x="-2940" y="81228"/>
                    <a:pt x="-1799" y="72083"/>
                    <a:pt x="8656" y="66083"/>
                  </a:cubicBezTo>
                  <a:lnTo>
                    <a:pt x="114633" y="5028"/>
                  </a:lnTo>
                  <a:cubicBezTo>
                    <a:pt x="125469" y="-1087"/>
                    <a:pt x="138576" y="-1659"/>
                    <a:pt x="149896" y="3504"/>
                  </a:cubicBezTo>
                  <a:lnTo>
                    <a:pt x="335617" y="111517"/>
                  </a:lnTo>
                  <a:cubicBezTo>
                    <a:pt x="344647" y="116756"/>
                    <a:pt x="343506" y="125900"/>
                    <a:pt x="333146" y="131901"/>
                  </a:cubicBezTo>
                  <a:lnTo>
                    <a:pt x="227454" y="193051"/>
                  </a:lnTo>
                  <a:cubicBezTo>
                    <a:pt x="216581" y="199004"/>
                    <a:pt x="203531" y="199423"/>
                    <a:pt x="192287" y="19419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5" name="Google Shape;2352;p37">
              <a:extLst>
                <a:ext uri="{FF2B5EF4-FFF2-40B4-BE49-F238E27FC236}">
                  <a16:creationId xmlns:a16="http://schemas.microsoft.com/office/drawing/2014/main" id="{D7418484-637E-423E-B365-B7DC53D130FA}"/>
                </a:ext>
              </a:extLst>
            </p:cNvPr>
            <p:cNvSpPr/>
            <p:nvPr/>
          </p:nvSpPr>
          <p:spPr>
            <a:xfrm>
              <a:off x="3580766" y="3287750"/>
              <a:ext cx="266442" cy="153846"/>
            </a:xfrm>
            <a:custGeom>
              <a:avLst/>
              <a:gdLst/>
              <a:ahLst/>
              <a:cxnLst/>
              <a:rect l="l" t="t" r="r" b="b"/>
              <a:pathLst>
                <a:path w="266442" h="153846" extrusionOk="0">
                  <a:moveTo>
                    <a:pt x="117013" y="15029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424"/>
                  </a:lnTo>
                  <a:cubicBezTo>
                    <a:pt x="269373" y="72663"/>
                    <a:pt x="268233" y="81807"/>
                    <a:pt x="257873" y="87808"/>
                  </a:cubicBezTo>
                  <a:lnTo>
                    <a:pt x="152181" y="148958"/>
                  </a:lnTo>
                  <a:cubicBezTo>
                    <a:pt x="141336" y="154968"/>
                    <a:pt x="128286" y="155464"/>
                    <a:pt x="117013" y="15029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6" name="Google Shape;2353;p37">
              <a:extLst>
                <a:ext uri="{FF2B5EF4-FFF2-40B4-BE49-F238E27FC236}">
                  <a16:creationId xmlns:a16="http://schemas.microsoft.com/office/drawing/2014/main" id="{333FB884-FFA9-4167-82CC-84C22CAD7314}"/>
                </a:ext>
              </a:extLst>
            </p:cNvPr>
            <p:cNvSpPr/>
            <p:nvPr/>
          </p:nvSpPr>
          <p:spPr>
            <a:xfrm>
              <a:off x="3737968" y="3378809"/>
              <a:ext cx="266343" cy="153636"/>
            </a:xfrm>
            <a:custGeom>
              <a:avLst/>
              <a:gdLst/>
              <a:ahLst/>
              <a:cxnLst/>
              <a:rect l="l" t="t" r="r" b="b"/>
              <a:pathLst>
                <a:path w="266343" h="153636" extrusionOk="0">
                  <a:moveTo>
                    <a:pt x="116733" y="150101"/>
                  </a:moveTo>
                  <a:lnTo>
                    <a:pt x="6098" y="86093"/>
                  </a:lnTo>
                  <a:cubicBezTo>
                    <a:pt x="-2931" y="80854"/>
                    <a:pt x="-1790" y="71710"/>
                    <a:pt x="8570" y="65710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254" y="67138"/>
                  </a:lnTo>
                  <a:cubicBezTo>
                    <a:pt x="269283" y="72377"/>
                    <a:pt x="268143" y="81521"/>
                    <a:pt x="257688" y="87522"/>
                  </a:cubicBezTo>
                  <a:lnTo>
                    <a:pt x="152091" y="148672"/>
                  </a:lnTo>
                  <a:cubicBezTo>
                    <a:pt x="141198" y="154749"/>
                    <a:pt x="128072" y="155273"/>
                    <a:pt x="116733" y="15010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7" name="Google Shape;2354;p37">
              <a:extLst>
                <a:ext uri="{FF2B5EF4-FFF2-40B4-BE49-F238E27FC236}">
                  <a16:creationId xmlns:a16="http://schemas.microsoft.com/office/drawing/2014/main" id="{25672EFC-B453-4E8D-B15F-04E40B0A8417}"/>
                </a:ext>
              </a:extLst>
            </p:cNvPr>
            <p:cNvSpPr/>
            <p:nvPr/>
          </p:nvSpPr>
          <p:spPr>
            <a:xfrm>
              <a:off x="3894706" y="3469202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3" y="72758"/>
                    <a:pt x="268233" y="81902"/>
                    <a:pt x="257873" y="87903"/>
                  </a:cubicBezTo>
                  <a:lnTo>
                    <a:pt x="152181" y="149053"/>
                  </a:lnTo>
                  <a:cubicBezTo>
                    <a:pt x="141345" y="155092"/>
                    <a:pt x="128295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8" name="Google Shape;2355;p37">
              <a:extLst>
                <a:ext uri="{FF2B5EF4-FFF2-40B4-BE49-F238E27FC236}">
                  <a16:creationId xmlns:a16="http://schemas.microsoft.com/office/drawing/2014/main" id="{7A82601B-E15E-4F6B-BEE3-19154E7630C7}"/>
                </a:ext>
              </a:extLst>
            </p:cNvPr>
            <p:cNvSpPr/>
            <p:nvPr/>
          </p:nvSpPr>
          <p:spPr>
            <a:xfrm>
              <a:off x="4051822" y="3559729"/>
              <a:ext cx="266144" cy="154280"/>
            </a:xfrm>
            <a:custGeom>
              <a:avLst/>
              <a:gdLst/>
              <a:ahLst/>
              <a:cxnLst/>
              <a:rect l="l" t="t" r="r" b="b"/>
              <a:pathLst>
                <a:path w="266144" h="154280" extrusionOk="0">
                  <a:moveTo>
                    <a:pt x="116819" y="150823"/>
                  </a:moveTo>
                  <a:lnTo>
                    <a:pt x="6090" y="86720"/>
                  </a:lnTo>
                  <a:cubicBezTo>
                    <a:pt x="-2940" y="81576"/>
                    <a:pt x="-1799" y="72432"/>
                    <a:pt x="8656" y="66336"/>
                  </a:cubicBezTo>
                  <a:lnTo>
                    <a:pt x="114253" y="4995"/>
                  </a:lnTo>
                  <a:cubicBezTo>
                    <a:pt x="125107" y="-1082"/>
                    <a:pt x="138186" y="-1643"/>
                    <a:pt x="149515" y="3471"/>
                  </a:cubicBezTo>
                  <a:lnTo>
                    <a:pt x="260055" y="67860"/>
                  </a:lnTo>
                  <a:cubicBezTo>
                    <a:pt x="269084" y="73099"/>
                    <a:pt x="267944" y="82148"/>
                    <a:pt x="257489" y="88244"/>
                  </a:cubicBezTo>
                  <a:lnTo>
                    <a:pt x="151892" y="149299"/>
                  </a:lnTo>
                  <a:cubicBezTo>
                    <a:pt x="141104" y="155357"/>
                    <a:pt x="128092" y="155919"/>
                    <a:pt x="116819" y="150823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9" name="Google Shape;2356;p37">
              <a:extLst>
                <a:ext uri="{FF2B5EF4-FFF2-40B4-BE49-F238E27FC236}">
                  <a16:creationId xmlns:a16="http://schemas.microsoft.com/office/drawing/2014/main" id="{B338A2B6-851B-465E-8E38-5913E7B2EBC0}"/>
                </a:ext>
              </a:extLst>
            </p:cNvPr>
            <p:cNvSpPr/>
            <p:nvPr/>
          </p:nvSpPr>
          <p:spPr>
            <a:xfrm>
              <a:off x="4207595" y="3649708"/>
              <a:ext cx="266442" cy="154372"/>
            </a:xfrm>
            <a:custGeom>
              <a:avLst/>
              <a:gdLst/>
              <a:ahLst/>
              <a:cxnLst/>
              <a:rect l="l" t="t" r="r" b="b"/>
              <a:pathLst>
                <a:path w="266442" h="154372" extrusionOk="0">
                  <a:moveTo>
                    <a:pt x="116733" y="150950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664" y="72750"/>
                    <a:pt x="268048" y="81894"/>
                    <a:pt x="257593" y="87990"/>
                  </a:cubicBezTo>
                  <a:lnTo>
                    <a:pt x="151805" y="149426"/>
                  </a:lnTo>
                  <a:cubicBezTo>
                    <a:pt x="141008" y="155437"/>
                    <a:pt x="128015" y="155999"/>
                    <a:pt x="116733" y="15095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0" name="Google Shape;2357;p37">
              <a:extLst>
                <a:ext uri="{FF2B5EF4-FFF2-40B4-BE49-F238E27FC236}">
                  <a16:creationId xmlns:a16="http://schemas.microsoft.com/office/drawing/2014/main" id="{46D56B6D-CF0B-430F-ACD1-2D095AE019D2}"/>
                </a:ext>
              </a:extLst>
            </p:cNvPr>
            <p:cNvSpPr/>
            <p:nvPr/>
          </p:nvSpPr>
          <p:spPr>
            <a:xfrm>
              <a:off x="4364526" y="3740759"/>
              <a:ext cx="266248" cy="154101"/>
            </a:xfrm>
            <a:custGeom>
              <a:avLst/>
              <a:gdLst/>
              <a:ahLst/>
              <a:cxnLst/>
              <a:rect l="l" t="t" r="r" b="b"/>
              <a:pathLst>
                <a:path w="266248" h="154101" extrusionOk="0">
                  <a:moveTo>
                    <a:pt x="116819" y="150672"/>
                  </a:moveTo>
                  <a:lnTo>
                    <a:pt x="6089" y="86664"/>
                  </a:lnTo>
                  <a:cubicBezTo>
                    <a:pt x="-2940" y="81426"/>
                    <a:pt x="-1799" y="72282"/>
                    <a:pt x="8656" y="6628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89" y="155159"/>
                    <a:pt x="128130" y="155759"/>
                    <a:pt x="116819" y="15067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1" name="Google Shape;2358;p37">
              <a:extLst>
                <a:ext uri="{FF2B5EF4-FFF2-40B4-BE49-F238E27FC236}">
                  <a16:creationId xmlns:a16="http://schemas.microsoft.com/office/drawing/2014/main" id="{2DEE32DB-AE65-4DD1-8FD0-B3B5E3EACA45}"/>
                </a:ext>
              </a:extLst>
            </p:cNvPr>
            <p:cNvSpPr/>
            <p:nvPr/>
          </p:nvSpPr>
          <p:spPr>
            <a:xfrm>
              <a:off x="4521449" y="3831731"/>
              <a:ext cx="266334" cy="153985"/>
            </a:xfrm>
            <a:custGeom>
              <a:avLst/>
              <a:gdLst/>
              <a:ahLst/>
              <a:cxnLst/>
              <a:rect l="l" t="t" r="r" b="b"/>
              <a:pathLst>
                <a:path w="266334" h="153985" extrusionOk="0">
                  <a:moveTo>
                    <a:pt x="116819" y="150474"/>
                  </a:moveTo>
                  <a:lnTo>
                    <a:pt x="6090" y="86466"/>
                  </a:lnTo>
                  <a:cubicBezTo>
                    <a:pt x="-2940" y="81228"/>
                    <a:pt x="-1799" y="72084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245" y="67607"/>
                  </a:lnTo>
                  <a:cubicBezTo>
                    <a:pt x="269275" y="72750"/>
                    <a:pt x="268134" y="81894"/>
                    <a:pt x="257679" y="87990"/>
                  </a:cubicBezTo>
                  <a:lnTo>
                    <a:pt x="152082" y="149046"/>
                  </a:lnTo>
                  <a:cubicBezTo>
                    <a:pt x="141218" y="155084"/>
                    <a:pt x="128140" y="155618"/>
                    <a:pt x="116819" y="15047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2359;p37">
              <a:extLst>
                <a:ext uri="{FF2B5EF4-FFF2-40B4-BE49-F238E27FC236}">
                  <a16:creationId xmlns:a16="http://schemas.microsoft.com/office/drawing/2014/main" id="{58DF617C-0C07-441E-AE8C-33D628C9A168}"/>
                </a:ext>
              </a:extLst>
            </p:cNvPr>
            <p:cNvSpPr/>
            <p:nvPr/>
          </p:nvSpPr>
          <p:spPr>
            <a:xfrm>
              <a:off x="4678466" y="3922592"/>
              <a:ext cx="266239" cy="153993"/>
            </a:xfrm>
            <a:custGeom>
              <a:avLst/>
              <a:gdLst/>
              <a:ahLst/>
              <a:cxnLst/>
              <a:rect l="l" t="t" r="r" b="b"/>
              <a:pathLst>
                <a:path w="266239" h="153993" extrusionOk="0">
                  <a:moveTo>
                    <a:pt x="116724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1987" y="149053"/>
                  </a:lnTo>
                  <a:cubicBezTo>
                    <a:pt x="141123" y="155092"/>
                    <a:pt x="128044" y="155626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3" name="Google Shape;2360;p37">
              <a:extLst>
                <a:ext uri="{FF2B5EF4-FFF2-40B4-BE49-F238E27FC236}">
                  <a16:creationId xmlns:a16="http://schemas.microsoft.com/office/drawing/2014/main" id="{B4579A83-1244-4A7D-8CFA-C36EE2D203D9}"/>
                </a:ext>
              </a:extLst>
            </p:cNvPr>
            <p:cNvSpPr/>
            <p:nvPr/>
          </p:nvSpPr>
          <p:spPr>
            <a:xfrm>
              <a:off x="4835195" y="4013365"/>
              <a:ext cx="266474" cy="153993"/>
            </a:xfrm>
            <a:custGeom>
              <a:avLst/>
              <a:gdLst/>
              <a:ahLst/>
              <a:cxnLst/>
              <a:rect l="l" t="t" r="r" b="b"/>
              <a:pathLst>
                <a:path w="266474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3" y="72758"/>
                    <a:pt x="268328" y="81902"/>
                    <a:pt x="257873" y="87903"/>
                  </a:cubicBezTo>
                  <a:lnTo>
                    <a:pt x="152276" y="149053"/>
                  </a:lnTo>
                  <a:cubicBezTo>
                    <a:pt x="141412" y="155092"/>
                    <a:pt x="128333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" name="Google Shape;2361;p37">
              <a:extLst>
                <a:ext uri="{FF2B5EF4-FFF2-40B4-BE49-F238E27FC236}">
                  <a16:creationId xmlns:a16="http://schemas.microsoft.com/office/drawing/2014/main" id="{86529D38-3BC0-40B7-BF9C-00FEE06D315F}"/>
                </a:ext>
              </a:extLst>
            </p:cNvPr>
            <p:cNvSpPr/>
            <p:nvPr/>
          </p:nvSpPr>
          <p:spPr>
            <a:xfrm>
              <a:off x="4992397" y="4104213"/>
              <a:ext cx="266533" cy="154079"/>
            </a:xfrm>
            <a:custGeom>
              <a:avLst/>
              <a:gdLst/>
              <a:ahLst/>
              <a:cxnLst/>
              <a:rect l="l" t="t" r="r" b="b"/>
              <a:pathLst>
                <a:path w="266533" h="154079" extrusionOk="0">
                  <a:moveTo>
                    <a:pt x="116733" y="150502"/>
                  </a:moveTo>
                  <a:lnTo>
                    <a:pt x="6098" y="86399"/>
                  </a:lnTo>
                  <a:cubicBezTo>
                    <a:pt x="-2931" y="81255"/>
                    <a:pt x="-1790" y="72111"/>
                    <a:pt x="8570" y="66015"/>
                  </a:cubicBezTo>
                  <a:lnTo>
                    <a:pt x="114262" y="4960"/>
                  </a:lnTo>
                  <a:cubicBezTo>
                    <a:pt x="125088" y="-1069"/>
                    <a:pt x="138119" y="-1631"/>
                    <a:pt x="149429" y="3436"/>
                  </a:cubicBezTo>
                  <a:lnTo>
                    <a:pt x="260444" y="67539"/>
                  </a:lnTo>
                  <a:cubicBezTo>
                    <a:pt x="269474" y="72778"/>
                    <a:pt x="268333" y="81922"/>
                    <a:pt x="257878" y="87923"/>
                  </a:cubicBezTo>
                  <a:lnTo>
                    <a:pt x="152281" y="148978"/>
                  </a:lnTo>
                  <a:cubicBezTo>
                    <a:pt x="141369" y="155198"/>
                    <a:pt x="128139" y="155760"/>
                    <a:pt x="116733" y="15050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5" name="Google Shape;2362;p37">
              <a:extLst>
                <a:ext uri="{FF2B5EF4-FFF2-40B4-BE49-F238E27FC236}">
                  <a16:creationId xmlns:a16="http://schemas.microsoft.com/office/drawing/2014/main" id="{12681397-2D70-4355-8333-2FC5A11F47F8}"/>
                </a:ext>
              </a:extLst>
            </p:cNvPr>
            <p:cNvSpPr/>
            <p:nvPr/>
          </p:nvSpPr>
          <p:spPr>
            <a:xfrm>
              <a:off x="5149329" y="4195292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6" name="Google Shape;2363;p37">
              <a:extLst>
                <a:ext uri="{FF2B5EF4-FFF2-40B4-BE49-F238E27FC236}">
                  <a16:creationId xmlns:a16="http://schemas.microsoft.com/office/drawing/2014/main" id="{0C86DF52-1B4B-483F-A836-4F2F0EB2811E}"/>
                </a:ext>
              </a:extLst>
            </p:cNvPr>
            <p:cNvSpPr/>
            <p:nvPr/>
          </p:nvSpPr>
          <p:spPr>
            <a:xfrm>
              <a:off x="5306305" y="4285820"/>
              <a:ext cx="266280" cy="154040"/>
            </a:xfrm>
            <a:custGeom>
              <a:avLst/>
              <a:gdLst/>
              <a:ahLst/>
              <a:cxnLst/>
              <a:rect l="l" t="t" r="r" b="b"/>
              <a:pathLst>
                <a:path w="266280" h="154040" extrusionOk="0">
                  <a:moveTo>
                    <a:pt x="116765" y="150537"/>
                  </a:moveTo>
                  <a:lnTo>
                    <a:pt x="6130" y="86434"/>
                  </a:lnTo>
                  <a:cubicBezTo>
                    <a:pt x="-2899" y="81195"/>
                    <a:pt x="-1853" y="72147"/>
                    <a:pt x="8602" y="66051"/>
                  </a:cubicBezTo>
                  <a:lnTo>
                    <a:pt x="114199" y="4995"/>
                  </a:lnTo>
                  <a:cubicBezTo>
                    <a:pt x="125053" y="-1081"/>
                    <a:pt x="138132" y="-1644"/>
                    <a:pt x="149461" y="3471"/>
                  </a:cubicBezTo>
                  <a:lnTo>
                    <a:pt x="260191" y="67575"/>
                  </a:lnTo>
                  <a:cubicBezTo>
                    <a:pt x="269221" y="72813"/>
                    <a:pt x="268080" y="81862"/>
                    <a:pt x="257625" y="87958"/>
                  </a:cubicBezTo>
                  <a:lnTo>
                    <a:pt x="152028" y="149013"/>
                  </a:lnTo>
                  <a:cubicBezTo>
                    <a:pt x="141192" y="155128"/>
                    <a:pt x="128085" y="155700"/>
                    <a:pt x="116765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7" name="Google Shape;2364;p37">
              <a:extLst>
                <a:ext uri="{FF2B5EF4-FFF2-40B4-BE49-F238E27FC236}">
                  <a16:creationId xmlns:a16="http://schemas.microsoft.com/office/drawing/2014/main" id="{29BF6688-F809-4E49-B543-EF084CBDDC8A}"/>
                </a:ext>
              </a:extLst>
            </p:cNvPr>
            <p:cNvSpPr/>
            <p:nvPr/>
          </p:nvSpPr>
          <p:spPr>
            <a:xfrm>
              <a:off x="3348561" y="3153075"/>
              <a:ext cx="342095" cy="197622"/>
            </a:xfrm>
            <a:custGeom>
              <a:avLst/>
              <a:gdLst/>
              <a:ahLst/>
              <a:cxnLst/>
              <a:rect l="l" t="t" r="r" b="b"/>
              <a:pathLst>
                <a:path w="342095" h="197622" extrusionOk="0">
                  <a:moveTo>
                    <a:pt x="192200" y="194194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336006" y="111231"/>
                  </a:lnTo>
                  <a:cubicBezTo>
                    <a:pt x="345036" y="116470"/>
                    <a:pt x="343895" y="125614"/>
                    <a:pt x="333440" y="131615"/>
                  </a:cubicBezTo>
                  <a:lnTo>
                    <a:pt x="227463" y="192575"/>
                  </a:lnTo>
                  <a:cubicBezTo>
                    <a:pt x="216627" y="198680"/>
                    <a:pt x="203549" y="199281"/>
                    <a:pt x="192200" y="19419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8" name="Google Shape;2365;p37">
              <a:extLst>
                <a:ext uri="{FF2B5EF4-FFF2-40B4-BE49-F238E27FC236}">
                  <a16:creationId xmlns:a16="http://schemas.microsoft.com/office/drawing/2014/main" id="{F565D374-7E3F-41F7-A80D-725249FB89D1}"/>
                </a:ext>
              </a:extLst>
            </p:cNvPr>
            <p:cNvSpPr/>
            <p:nvPr/>
          </p:nvSpPr>
          <p:spPr>
            <a:xfrm>
              <a:off x="5350264" y="4375807"/>
              <a:ext cx="378572" cy="242223"/>
            </a:xfrm>
            <a:custGeom>
              <a:avLst/>
              <a:gdLst/>
              <a:ahLst/>
              <a:cxnLst/>
              <a:rect l="l" t="t" r="r" b="b"/>
              <a:pathLst>
                <a:path w="378572" h="242223" extrusionOk="0">
                  <a:moveTo>
                    <a:pt x="371823" y="67980"/>
                  </a:moveTo>
                  <a:lnTo>
                    <a:pt x="261189" y="3972"/>
                  </a:lnTo>
                  <a:cubicBezTo>
                    <a:pt x="250867" y="-1324"/>
                    <a:pt x="238625" y="-1324"/>
                    <a:pt x="228303" y="3972"/>
                  </a:cubicBezTo>
                  <a:lnTo>
                    <a:pt x="116718" y="68551"/>
                  </a:lnTo>
                  <a:cubicBezTo>
                    <a:pt x="107213" y="73790"/>
                    <a:pt x="107213" y="82267"/>
                    <a:pt x="116718" y="87601"/>
                  </a:cubicBezTo>
                  <a:lnTo>
                    <a:pt x="125557" y="92745"/>
                  </a:lnTo>
                  <a:cubicBezTo>
                    <a:pt x="133921" y="97507"/>
                    <a:pt x="133826" y="105413"/>
                    <a:pt x="125557" y="110271"/>
                  </a:cubicBezTo>
                  <a:lnTo>
                    <a:pt x="7129" y="178470"/>
                  </a:lnTo>
                  <a:cubicBezTo>
                    <a:pt x="-2376" y="183804"/>
                    <a:pt x="-2376" y="192281"/>
                    <a:pt x="7129" y="197520"/>
                  </a:cubicBezTo>
                  <a:lnTo>
                    <a:pt x="77558" y="238287"/>
                  </a:lnTo>
                  <a:cubicBezTo>
                    <a:pt x="87861" y="243535"/>
                    <a:pt x="100046" y="243535"/>
                    <a:pt x="110349" y="238287"/>
                  </a:cubicBezTo>
                  <a:lnTo>
                    <a:pt x="220794" y="174469"/>
                  </a:lnTo>
                  <a:lnTo>
                    <a:pt x="243605" y="161229"/>
                  </a:lnTo>
                  <a:lnTo>
                    <a:pt x="260048" y="151704"/>
                  </a:lnTo>
                  <a:lnTo>
                    <a:pt x="276587" y="142179"/>
                  </a:lnTo>
                  <a:lnTo>
                    <a:pt x="371633" y="87220"/>
                  </a:lnTo>
                  <a:cubicBezTo>
                    <a:pt x="380853" y="81696"/>
                    <a:pt x="380853" y="73219"/>
                    <a:pt x="371823" y="6798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9" name="Google Shape;2366;p37">
              <a:extLst>
                <a:ext uri="{FF2B5EF4-FFF2-40B4-BE49-F238E27FC236}">
                  <a16:creationId xmlns:a16="http://schemas.microsoft.com/office/drawing/2014/main" id="{6AA2DE53-7462-45B6-BF7C-FB7B407876BB}"/>
                </a:ext>
              </a:extLst>
            </p:cNvPr>
            <p:cNvSpPr/>
            <p:nvPr/>
          </p:nvSpPr>
          <p:spPr>
            <a:xfrm>
              <a:off x="2893378" y="3416909"/>
              <a:ext cx="266442" cy="154101"/>
            </a:xfrm>
            <a:custGeom>
              <a:avLst/>
              <a:gdLst/>
              <a:ahLst/>
              <a:cxnLst/>
              <a:rect l="l" t="t" r="r" b="b"/>
              <a:pathLst>
                <a:path w="266442" h="154101" extrusionOk="0">
                  <a:moveTo>
                    <a:pt x="116927" y="150672"/>
                  </a:moveTo>
                  <a:lnTo>
                    <a:pt x="6292" y="86664"/>
                  </a:lnTo>
                  <a:cubicBezTo>
                    <a:pt x="-3212" y="81426"/>
                    <a:pt x="-1597" y="72282"/>
                    <a:pt x="8763" y="66281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54" y="155159"/>
                    <a:pt x="128275" y="155759"/>
                    <a:pt x="116927" y="15067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0" name="Google Shape;2367;p37">
              <a:extLst>
                <a:ext uri="{FF2B5EF4-FFF2-40B4-BE49-F238E27FC236}">
                  <a16:creationId xmlns:a16="http://schemas.microsoft.com/office/drawing/2014/main" id="{D8D5DF88-EDBF-43D5-B691-B646FCD2AC73}"/>
                </a:ext>
              </a:extLst>
            </p:cNvPr>
            <p:cNvSpPr/>
            <p:nvPr/>
          </p:nvSpPr>
          <p:spPr>
            <a:xfrm>
              <a:off x="3049635" y="3507492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5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1" name="Google Shape;2368;p37">
              <a:extLst>
                <a:ext uri="{FF2B5EF4-FFF2-40B4-BE49-F238E27FC236}">
                  <a16:creationId xmlns:a16="http://schemas.microsoft.com/office/drawing/2014/main" id="{E10B1323-1735-471F-A1D0-C8E6A0E9ED74}"/>
                </a:ext>
              </a:extLst>
            </p:cNvPr>
            <p:cNvSpPr/>
            <p:nvPr/>
          </p:nvSpPr>
          <p:spPr>
            <a:xfrm>
              <a:off x="3205860" y="3597884"/>
              <a:ext cx="266188" cy="153922"/>
            </a:xfrm>
            <a:custGeom>
              <a:avLst/>
              <a:gdLst/>
              <a:ahLst/>
              <a:cxnLst/>
              <a:rect l="l" t="t" r="r" b="b"/>
              <a:pathLst>
                <a:path w="266188" h="153922" extrusionOk="0">
                  <a:moveTo>
                    <a:pt x="116959" y="150482"/>
                  </a:moveTo>
                  <a:lnTo>
                    <a:pt x="6324" y="86474"/>
                  </a:lnTo>
                  <a:cubicBezTo>
                    <a:pt x="-3181" y="81235"/>
                    <a:pt x="-1660" y="72091"/>
                    <a:pt x="8795" y="66091"/>
                  </a:cubicBezTo>
                  <a:lnTo>
                    <a:pt x="114392" y="4940"/>
                  </a:lnTo>
                  <a:cubicBezTo>
                    <a:pt x="125256" y="-1099"/>
                    <a:pt x="138335" y="-1632"/>
                    <a:pt x="149655" y="3511"/>
                  </a:cubicBezTo>
                  <a:lnTo>
                    <a:pt x="260099" y="67519"/>
                  </a:lnTo>
                  <a:cubicBezTo>
                    <a:pt x="269129" y="72758"/>
                    <a:pt x="267988" y="81902"/>
                    <a:pt x="257533" y="87903"/>
                  </a:cubicBezTo>
                  <a:lnTo>
                    <a:pt x="151936" y="149053"/>
                  </a:lnTo>
                  <a:cubicBezTo>
                    <a:pt x="141148" y="154997"/>
                    <a:pt x="128193" y="155530"/>
                    <a:pt x="11695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2" name="Google Shape;2369;p37">
              <a:extLst>
                <a:ext uri="{FF2B5EF4-FFF2-40B4-BE49-F238E27FC236}">
                  <a16:creationId xmlns:a16="http://schemas.microsoft.com/office/drawing/2014/main" id="{C111A945-14C5-4D72-A3E9-589F90A9C2FE}"/>
                </a:ext>
              </a:extLst>
            </p:cNvPr>
            <p:cNvSpPr/>
            <p:nvPr/>
          </p:nvSpPr>
          <p:spPr>
            <a:xfrm>
              <a:off x="4536462" y="4367735"/>
              <a:ext cx="266437" cy="154256"/>
            </a:xfrm>
            <a:custGeom>
              <a:avLst/>
              <a:gdLst/>
              <a:ahLst/>
              <a:cxnLst/>
              <a:rect l="l" t="t" r="r" b="b"/>
              <a:pathLst>
                <a:path w="266437" h="154256" extrusionOk="0">
                  <a:moveTo>
                    <a:pt x="117013" y="150537"/>
                  </a:moveTo>
                  <a:lnTo>
                    <a:pt x="6284" y="86434"/>
                  </a:lnTo>
                  <a:cubicBezTo>
                    <a:pt x="-3221" y="81291"/>
                    <a:pt x="-1605" y="72147"/>
                    <a:pt x="8850" y="66051"/>
                  </a:cubicBezTo>
                  <a:lnTo>
                    <a:pt x="114447" y="4995"/>
                  </a:lnTo>
                  <a:cubicBezTo>
                    <a:pt x="125301" y="-1082"/>
                    <a:pt x="138380" y="-1644"/>
                    <a:pt x="149709" y="3472"/>
                  </a:cubicBezTo>
                  <a:lnTo>
                    <a:pt x="260154" y="67575"/>
                  </a:lnTo>
                  <a:cubicBezTo>
                    <a:pt x="269659" y="72814"/>
                    <a:pt x="268043" y="81862"/>
                    <a:pt x="257588" y="87958"/>
                  </a:cubicBezTo>
                  <a:lnTo>
                    <a:pt x="152181" y="149490"/>
                  </a:lnTo>
                  <a:cubicBezTo>
                    <a:pt x="141298" y="155452"/>
                    <a:pt x="128229" y="155843"/>
                    <a:pt x="117013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3" name="Google Shape;2370;p37">
              <a:extLst>
                <a:ext uri="{FF2B5EF4-FFF2-40B4-BE49-F238E27FC236}">
                  <a16:creationId xmlns:a16="http://schemas.microsoft.com/office/drawing/2014/main" id="{444EF0FE-EDDE-44CF-BC04-97868FC3B8BB}"/>
                </a:ext>
              </a:extLst>
            </p:cNvPr>
            <p:cNvSpPr/>
            <p:nvPr/>
          </p:nvSpPr>
          <p:spPr>
            <a:xfrm>
              <a:off x="4692711" y="4458183"/>
              <a:ext cx="266636" cy="153993"/>
            </a:xfrm>
            <a:custGeom>
              <a:avLst/>
              <a:gdLst/>
              <a:ahLst/>
              <a:cxnLst/>
              <a:rect l="l" t="t" r="r" b="b"/>
              <a:pathLst>
                <a:path w="266636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5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2" y="67519"/>
                  </a:lnTo>
                  <a:cubicBezTo>
                    <a:pt x="269857" y="72758"/>
                    <a:pt x="268242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6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4" name="Google Shape;2371;p37">
              <a:extLst>
                <a:ext uri="{FF2B5EF4-FFF2-40B4-BE49-F238E27FC236}">
                  <a16:creationId xmlns:a16="http://schemas.microsoft.com/office/drawing/2014/main" id="{69D29893-E35F-4268-8293-6A1ED5238C3E}"/>
                </a:ext>
              </a:extLst>
            </p:cNvPr>
            <p:cNvSpPr/>
            <p:nvPr/>
          </p:nvSpPr>
          <p:spPr>
            <a:xfrm>
              <a:off x="4849162" y="4548575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733" y="150482"/>
                  </a:moveTo>
                  <a:lnTo>
                    <a:pt x="6099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663" y="72758"/>
                    <a:pt x="268048" y="81902"/>
                    <a:pt x="257593" y="87903"/>
                  </a:cubicBezTo>
                  <a:lnTo>
                    <a:pt x="151995" y="149053"/>
                  </a:lnTo>
                  <a:cubicBezTo>
                    <a:pt x="141132" y="155092"/>
                    <a:pt x="128053" y="155626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5" name="Google Shape;2372;p37">
              <a:extLst>
                <a:ext uri="{FF2B5EF4-FFF2-40B4-BE49-F238E27FC236}">
                  <a16:creationId xmlns:a16="http://schemas.microsoft.com/office/drawing/2014/main" id="{882FDDAB-07FD-47BE-A88E-465788F28278}"/>
                </a:ext>
              </a:extLst>
            </p:cNvPr>
            <p:cNvSpPr/>
            <p:nvPr/>
          </p:nvSpPr>
          <p:spPr>
            <a:xfrm>
              <a:off x="5005419" y="4638967"/>
              <a:ext cx="266537" cy="154092"/>
            </a:xfrm>
            <a:custGeom>
              <a:avLst/>
              <a:gdLst/>
              <a:ahLst/>
              <a:cxnLst/>
              <a:rect l="l" t="t" r="r" b="b"/>
              <a:pathLst>
                <a:path w="266537" h="154092" extrusionOk="0">
                  <a:moveTo>
                    <a:pt x="116733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357" y="4940"/>
                  </a:lnTo>
                  <a:cubicBezTo>
                    <a:pt x="125192" y="-1099"/>
                    <a:pt x="138242" y="-1632"/>
                    <a:pt x="149524" y="3511"/>
                  </a:cubicBezTo>
                  <a:lnTo>
                    <a:pt x="260254" y="67519"/>
                  </a:lnTo>
                  <a:cubicBezTo>
                    <a:pt x="269759" y="72758"/>
                    <a:pt x="268143" y="81902"/>
                    <a:pt x="257688" y="87903"/>
                  </a:cubicBezTo>
                  <a:lnTo>
                    <a:pt x="152376" y="149053"/>
                  </a:lnTo>
                  <a:cubicBezTo>
                    <a:pt x="141407" y="155226"/>
                    <a:pt x="128158" y="155759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6" name="Google Shape;2373;p37">
              <a:extLst>
                <a:ext uri="{FF2B5EF4-FFF2-40B4-BE49-F238E27FC236}">
                  <a16:creationId xmlns:a16="http://schemas.microsoft.com/office/drawing/2014/main" id="{E10F367A-0D09-4C9B-A9B8-97C8810E64B8}"/>
                </a:ext>
              </a:extLst>
            </p:cNvPr>
            <p:cNvSpPr/>
            <p:nvPr/>
          </p:nvSpPr>
          <p:spPr>
            <a:xfrm>
              <a:off x="3362257" y="3688277"/>
              <a:ext cx="306733" cy="177321"/>
            </a:xfrm>
            <a:custGeom>
              <a:avLst/>
              <a:gdLst/>
              <a:ahLst/>
              <a:cxnLst/>
              <a:rect l="l" t="t" r="r" b="b"/>
              <a:pathLst>
                <a:path w="306733" h="177321" extrusionOk="0">
                  <a:moveTo>
                    <a:pt x="157024" y="173818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6" y="3511"/>
                  </a:cubicBezTo>
                  <a:lnTo>
                    <a:pt x="300450" y="90856"/>
                  </a:lnTo>
                  <a:cubicBezTo>
                    <a:pt x="309955" y="96094"/>
                    <a:pt x="308339" y="105143"/>
                    <a:pt x="297884" y="111239"/>
                  </a:cubicBezTo>
                  <a:lnTo>
                    <a:pt x="192287" y="172294"/>
                  </a:lnTo>
                  <a:cubicBezTo>
                    <a:pt x="181451" y="178409"/>
                    <a:pt x="168344" y="178981"/>
                    <a:pt x="157024" y="17381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7" name="Google Shape;2374;p37">
              <a:extLst>
                <a:ext uri="{FF2B5EF4-FFF2-40B4-BE49-F238E27FC236}">
                  <a16:creationId xmlns:a16="http://schemas.microsoft.com/office/drawing/2014/main" id="{1AE4E711-3EF0-419A-9A67-892EFBA3EB07}"/>
                </a:ext>
              </a:extLst>
            </p:cNvPr>
            <p:cNvSpPr/>
            <p:nvPr/>
          </p:nvSpPr>
          <p:spPr>
            <a:xfrm>
              <a:off x="4339992" y="4254062"/>
              <a:ext cx="306655" cy="177321"/>
            </a:xfrm>
            <a:custGeom>
              <a:avLst/>
              <a:gdLst/>
              <a:ahLst/>
              <a:cxnLst/>
              <a:rect l="l" t="t" r="r" b="b"/>
              <a:pathLst>
                <a:path w="306655" h="177321" extrusionOk="0">
                  <a:moveTo>
                    <a:pt x="157227" y="173818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4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300557" y="90855"/>
                  </a:lnTo>
                  <a:cubicBezTo>
                    <a:pt x="309587" y="96094"/>
                    <a:pt x="308446" y="105143"/>
                    <a:pt x="298086" y="111239"/>
                  </a:cubicBezTo>
                  <a:lnTo>
                    <a:pt x="192394" y="172294"/>
                  </a:lnTo>
                  <a:cubicBezTo>
                    <a:pt x="181587" y="178409"/>
                    <a:pt x="168518" y="178981"/>
                    <a:pt x="157227" y="17381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8" name="Google Shape;2375;p37">
              <a:extLst>
                <a:ext uri="{FF2B5EF4-FFF2-40B4-BE49-F238E27FC236}">
                  <a16:creationId xmlns:a16="http://schemas.microsoft.com/office/drawing/2014/main" id="{91728D1B-982E-4F20-BA29-33AC57FB23AD}"/>
                </a:ext>
              </a:extLst>
            </p:cNvPr>
            <p:cNvSpPr/>
            <p:nvPr/>
          </p:nvSpPr>
          <p:spPr>
            <a:xfrm>
              <a:off x="3558805" y="3802100"/>
              <a:ext cx="891371" cy="515693"/>
            </a:xfrm>
            <a:custGeom>
              <a:avLst/>
              <a:gdLst/>
              <a:ahLst/>
              <a:cxnLst/>
              <a:rect l="l" t="t" r="r" b="b"/>
              <a:pathLst>
                <a:path w="891371" h="515693" extrusionOk="0">
                  <a:moveTo>
                    <a:pt x="741857" y="512051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0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885282" y="429374"/>
                  </a:lnTo>
                  <a:cubicBezTo>
                    <a:pt x="894312" y="434613"/>
                    <a:pt x="893171" y="443757"/>
                    <a:pt x="882716" y="449758"/>
                  </a:cubicBezTo>
                  <a:lnTo>
                    <a:pt x="777119" y="510908"/>
                  </a:lnTo>
                  <a:cubicBezTo>
                    <a:pt x="766208" y="516861"/>
                    <a:pt x="753129" y="517280"/>
                    <a:pt x="741857" y="51205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9" name="Google Shape;2376;p37">
              <a:extLst>
                <a:ext uri="{FF2B5EF4-FFF2-40B4-BE49-F238E27FC236}">
                  <a16:creationId xmlns:a16="http://schemas.microsoft.com/office/drawing/2014/main" id="{2ADC28FA-EFD3-4A2C-B849-FDD16A58191D}"/>
                </a:ext>
              </a:extLst>
            </p:cNvPr>
            <p:cNvSpPr/>
            <p:nvPr/>
          </p:nvSpPr>
          <p:spPr>
            <a:xfrm>
              <a:off x="3471751" y="3400145"/>
              <a:ext cx="266623" cy="154042"/>
            </a:xfrm>
            <a:custGeom>
              <a:avLst/>
              <a:gdLst/>
              <a:ahLst/>
              <a:cxnLst/>
              <a:rect l="l" t="t" r="r" b="b"/>
              <a:pathLst>
                <a:path w="266623" h="154042" extrusionOk="0">
                  <a:moveTo>
                    <a:pt x="116724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340" y="67519"/>
                  </a:lnTo>
                  <a:cubicBezTo>
                    <a:pt x="269845" y="72758"/>
                    <a:pt x="268229" y="81902"/>
                    <a:pt x="257774" y="87903"/>
                  </a:cubicBezTo>
                  <a:lnTo>
                    <a:pt x="152177" y="149053"/>
                  </a:lnTo>
                  <a:cubicBezTo>
                    <a:pt x="141256" y="155159"/>
                    <a:pt x="128092" y="155692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0" name="Google Shape;2377;p37">
              <a:extLst>
                <a:ext uri="{FF2B5EF4-FFF2-40B4-BE49-F238E27FC236}">
                  <a16:creationId xmlns:a16="http://schemas.microsoft.com/office/drawing/2014/main" id="{026F8346-9B71-4469-AE79-5E6192595B6C}"/>
                </a:ext>
              </a:extLst>
            </p:cNvPr>
            <p:cNvSpPr/>
            <p:nvPr/>
          </p:nvSpPr>
          <p:spPr>
            <a:xfrm>
              <a:off x="3628284" y="3490390"/>
              <a:ext cx="266442" cy="154037"/>
            </a:xfrm>
            <a:custGeom>
              <a:avLst/>
              <a:gdLst/>
              <a:ahLst/>
              <a:cxnLst/>
              <a:rect l="l" t="t" r="r" b="b"/>
              <a:pathLst>
                <a:path w="266442" h="154037" extrusionOk="0">
                  <a:moveTo>
                    <a:pt x="116733" y="150534"/>
                  </a:moveTo>
                  <a:lnTo>
                    <a:pt x="6098" y="86431"/>
                  </a:lnTo>
                  <a:cubicBezTo>
                    <a:pt x="-2931" y="81192"/>
                    <a:pt x="-1790" y="72143"/>
                    <a:pt x="8570" y="66047"/>
                  </a:cubicBezTo>
                  <a:lnTo>
                    <a:pt x="114262" y="4992"/>
                  </a:lnTo>
                  <a:cubicBezTo>
                    <a:pt x="125078" y="-1075"/>
                    <a:pt x="138128" y="-1647"/>
                    <a:pt x="149429" y="3468"/>
                  </a:cubicBezTo>
                  <a:lnTo>
                    <a:pt x="260159" y="67571"/>
                  </a:lnTo>
                  <a:cubicBezTo>
                    <a:pt x="269664" y="72810"/>
                    <a:pt x="268048" y="81859"/>
                    <a:pt x="257593" y="87955"/>
                  </a:cubicBezTo>
                  <a:lnTo>
                    <a:pt x="151996" y="149010"/>
                  </a:lnTo>
                  <a:cubicBezTo>
                    <a:pt x="141160" y="155125"/>
                    <a:pt x="128053" y="155697"/>
                    <a:pt x="116733" y="15053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1" name="Google Shape;2378;p37">
              <a:extLst>
                <a:ext uri="{FF2B5EF4-FFF2-40B4-BE49-F238E27FC236}">
                  <a16:creationId xmlns:a16="http://schemas.microsoft.com/office/drawing/2014/main" id="{5B20DC4B-7400-4E76-A8AC-CCDFE169A25C}"/>
                </a:ext>
              </a:extLst>
            </p:cNvPr>
            <p:cNvSpPr/>
            <p:nvPr/>
          </p:nvSpPr>
          <p:spPr>
            <a:xfrm>
              <a:off x="3784546" y="3581216"/>
              <a:ext cx="266667" cy="153993"/>
            </a:xfrm>
            <a:custGeom>
              <a:avLst/>
              <a:gdLst/>
              <a:ahLst/>
              <a:cxnLst/>
              <a:rect l="l" t="t" r="r" b="b"/>
              <a:pathLst>
                <a:path w="266667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849" y="72758"/>
                    <a:pt x="268328" y="81902"/>
                    <a:pt x="257873" y="87903"/>
                  </a:cubicBezTo>
                  <a:lnTo>
                    <a:pt x="152276" y="149053"/>
                  </a:lnTo>
                  <a:cubicBezTo>
                    <a:pt x="141412" y="155092"/>
                    <a:pt x="128333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2" name="Google Shape;2379;p37">
              <a:extLst>
                <a:ext uri="{FF2B5EF4-FFF2-40B4-BE49-F238E27FC236}">
                  <a16:creationId xmlns:a16="http://schemas.microsoft.com/office/drawing/2014/main" id="{EA479750-E9EB-4EFB-B6FE-2F4FB15864A7}"/>
                </a:ext>
              </a:extLst>
            </p:cNvPr>
            <p:cNvSpPr/>
            <p:nvPr/>
          </p:nvSpPr>
          <p:spPr>
            <a:xfrm>
              <a:off x="3941088" y="3671799"/>
              <a:ext cx="266351" cy="153784"/>
            </a:xfrm>
            <a:custGeom>
              <a:avLst/>
              <a:gdLst/>
              <a:ahLst/>
              <a:cxnLst/>
              <a:rect l="l" t="t" r="r" b="b"/>
              <a:pathLst>
                <a:path w="266351" h="153784" extrusionOk="0">
                  <a:moveTo>
                    <a:pt x="117013" y="150101"/>
                  </a:moveTo>
                  <a:lnTo>
                    <a:pt x="6284" y="86093"/>
                  </a:lnTo>
                  <a:cubicBezTo>
                    <a:pt x="-3221" y="80854"/>
                    <a:pt x="-1605" y="71710"/>
                    <a:pt x="8850" y="65710"/>
                  </a:cubicBezTo>
                  <a:lnTo>
                    <a:pt x="114162" y="4940"/>
                  </a:lnTo>
                  <a:cubicBezTo>
                    <a:pt x="125026" y="-1099"/>
                    <a:pt x="138104" y="-1632"/>
                    <a:pt x="149424" y="3511"/>
                  </a:cubicBezTo>
                  <a:lnTo>
                    <a:pt x="260059" y="67519"/>
                  </a:lnTo>
                  <a:cubicBezTo>
                    <a:pt x="269564" y="72758"/>
                    <a:pt x="267948" y="81902"/>
                    <a:pt x="257588" y="87903"/>
                  </a:cubicBezTo>
                  <a:lnTo>
                    <a:pt x="152181" y="149053"/>
                  </a:lnTo>
                  <a:cubicBezTo>
                    <a:pt x="141288" y="154968"/>
                    <a:pt x="128238" y="155359"/>
                    <a:pt x="117013" y="15010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3" name="Google Shape;2380;p37">
              <a:extLst>
                <a:ext uri="{FF2B5EF4-FFF2-40B4-BE49-F238E27FC236}">
                  <a16:creationId xmlns:a16="http://schemas.microsoft.com/office/drawing/2014/main" id="{54A41C38-635F-4999-AB1D-50D76A437A3E}"/>
                </a:ext>
              </a:extLst>
            </p:cNvPr>
            <p:cNvSpPr/>
            <p:nvPr/>
          </p:nvSpPr>
          <p:spPr>
            <a:xfrm>
              <a:off x="4097622" y="3762381"/>
              <a:ext cx="266636" cy="153993"/>
            </a:xfrm>
            <a:custGeom>
              <a:avLst/>
              <a:gdLst/>
              <a:ahLst/>
              <a:cxnLst/>
              <a:rect l="l" t="t" r="r" b="b"/>
              <a:pathLst>
                <a:path w="266636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4" y="66091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857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6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4" name="Google Shape;2381;p37">
              <a:extLst>
                <a:ext uri="{FF2B5EF4-FFF2-40B4-BE49-F238E27FC236}">
                  <a16:creationId xmlns:a16="http://schemas.microsoft.com/office/drawing/2014/main" id="{A3ACA388-418C-414D-A4CA-C5600E4461AB}"/>
                </a:ext>
              </a:extLst>
            </p:cNvPr>
            <p:cNvSpPr/>
            <p:nvPr/>
          </p:nvSpPr>
          <p:spPr>
            <a:xfrm>
              <a:off x="4254133" y="3852876"/>
              <a:ext cx="266854" cy="154172"/>
            </a:xfrm>
            <a:custGeom>
              <a:avLst/>
              <a:gdLst/>
              <a:ahLst/>
              <a:cxnLst/>
              <a:rect l="l" t="t" r="r" b="b"/>
              <a:pathLst>
                <a:path w="266854" h="154172" extrusionOk="0">
                  <a:moveTo>
                    <a:pt x="116959" y="150570"/>
                  </a:moveTo>
                  <a:lnTo>
                    <a:pt x="6324" y="86466"/>
                  </a:lnTo>
                  <a:cubicBezTo>
                    <a:pt x="-3181" y="81228"/>
                    <a:pt x="-1660" y="72179"/>
                    <a:pt x="8795" y="66083"/>
                  </a:cubicBezTo>
                  <a:lnTo>
                    <a:pt x="114772" y="5028"/>
                  </a:lnTo>
                  <a:cubicBezTo>
                    <a:pt x="125608" y="-1087"/>
                    <a:pt x="138715" y="-1659"/>
                    <a:pt x="150035" y="3504"/>
                  </a:cubicBezTo>
                  <a:lnTo>
                    <a:pt x="260764" y="67607"/>
                  </a:lnTo>
                  <a:cubicBezTo>
                    <a:pt x="269794" y="72846"/>
                    <a:pt x="268653" y="81894"/>
                    <a:pt x="258198" y="87990"/>
                  </a:cubicBezTo>
                  <a:lnTo>
                    <a:pt x="152601" y="149046"/>
                  </a:lnTo>
                  <a:cubicBezTo>
                    <a:pt x="141661" y="155294"/>
                    <a:pt x="128383" y="155865"/>
                    <a:pt x="116959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5" name="Google Shape;2382;p37">
              <a:extLst>
                <a:ext uri="{FF2B5EF4-FFF2-40B4-BE49-F238E27FC236}">
                  <a16:creationId xmlns:a16="http://schemas.microsoft.com/office/drawing/2014/main" id="{36EFB980-BE2E-441E-8E58-B6EAD35E2CED}"/>
                </a:ext>
              </a:extLst>
            </p:cNvPr>
            <p:cNvSpPr/>
            <p:nvPr/>
          </p:nvSpPr>
          <p:spPr>
            <a:xfrm>
              <a:off x="4410814" y="3943451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6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6" name="Google Shape;2383;p37">
              <a:extLst>
                <a:ext uri="{FF2B5EF4-FFF2-40B4-BE49-F238E27FC236}">
                  <a16:creationId xmlns:a16="http://schemas.microsoft.com/office/drawing/2014/main" id="{0BC261A9-EC11-4817-B1DA-3CC5910DA7E8}"/>
                </a:ext>
              </a:extLst>
            </p:cNvPr>
            <p:cNvSpPr/>
            <p:nvPr/>
          </p:nvSpPr>
          <p:spPr>
            <a:xfrm>
              <a:off x="4567356" y="4034034"/>
              <a:ext cx="266239" cy="153993"/>
            </a:xfrm>
            <a:custGeom>
              <a:avLst/>
              <a:gdLst/>
              <a:ahLst/>
              <a:cxnLst/>
              <a:rect l="l" t="t" r="r" b="b"/>
              <a:pathLst>
                <a:path w="266239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7" name="Google Shape;2384;p37">
              <a:extLst>
                <a:ext uri="{FF2B5EF4-FFF2-40B4-BE49-F238E27FC236}">
                  <a16:creationId xmlns:a16="http://schemas.microsoft.com/office/drawing/2014/main" id="{96F4E9BA-429A-43D5-A809-491DEB82F4A8}"/>
                </a:ext>
              </a:extLst>
            </p:cNvPr>
            <p:cNvSpPr/>
            <p:nvPr/>
          </p:nvSpPr>
          <p:spPr>
            <a:xfrm>
              <a:off x="4723985" y="4124617"/>
              <a:ext cx="266248" cy="154017"/>
            </a:xfrm>
            <a:custGeom>
              <a:avLst/>
              <a:gdLst/>
              <a:ahLst/>
              <a:cxnLst/>
              <a:rect l="l" t="t" r="r" b="b"/>
              <a:pathLst>
                <a:path w="266248" h="154017" extrusionOk="0">
                  <a:moveTo>
                    <a:pt x="116638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188" y="72758"/>
                    <a:pt x="268048" y="81902"/>
                    <a:pt x="257592" y="87903"/>
                  </a:cubicBezTo>
                  <a:lnTo>
                    <a:pt x="151996" y="149053"/>
                  </a:lnTo>
                  <a:cubicBezTo>
                    <a:pt x="141103" y="155130"/>
                    <a:pt x="127977" y="155654"/>
                    <a:pt x="116638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8" name="Google Shape;2385;p37">
              <a:extLst>
                <a:ext uri="{FF2B5EF4-FFF2-40B4-BE49-F238E27FC236}">
                  <a16:creationId xmlns:a16="http://schemas.microsoft.com/office/drawing/2014/main" id="{502AB52E-A674-4117-A3F7-6A1731709178}"/>
                </a:ext>
              </a:extLst>
            </p:cNvPr>
            <p:cNvSpPr/>
            <p:nvPr/>
          </p:nvSpPr>
          <p:spPr>
            <a:xfrm>
              <a:off x="4880346" y="4215112"/>
              <a:ext cx="266334" cy="154040"/>
            </a:xfrm>
            <a:custGeom>
              <a:avLst/>
              <a:gdLst/>
              <a:ahLst/>
              <a:cxnLst/>
              <a:rect l="l" t="t" r="r" b="b"/>
              <a:pathLst>
                <a:path w="266334" h="154040" extrusionOk="0">
                  <a:moveTo>
                    <a:pt x="116819" y="150570"/>
                  </a:moveTo>
                  <a:lnTo>
                    <a:pt x="6090" y="86466"/>
                  </a:lnTo>
                  <a:cubicBezTo>
                    <a:pt x="-2940" y="81228"/>
                    <a:pt x="-1799" y="72179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245" y="67607"/>
                  </a:lnTo>
                  <a:cubicBezTo>
                    <a:pt x="269275" y="72750"/>
                    <a:pt x="268134" y="81894"/>
                    <a:pt x="257679" y="87990"/>
                  </a:cubicBezTo>
                  <a:lnTo>
                    <a:pt x="152082" y="149046"/>
                  </a:lnTo>
                  <a:cubicBezTo>
                    <a:pt x="141227" y="155122"/>
                    <a:pt x="128149" y="155685"/>
                    <a:pt x="116819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" name="Google Shape;2386;p37">
              <a:extLst>
                <a:ext uri="{FF2B5EF4-FFF2-40B4-BE49-F238E27FC236}">
                  <a16:creationId xmlns:a16="http://schemas.microsoft.com/office/drawing/2014/main" id="{52A6A528-9A15-4333-8D52-4F50EB1CEE7E}"/>
                </a:ext>
              </a:extLst>
            </p:cNvPr>
            <p:cNvSpPr/>
            <p:nvPr/>
          </p:nvSpPr>
          <p:spPr>
            <a:xfrm>
              <a:off x="5036888" y="4305687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0" name="Google Shape;2387;p37">
              <a:extLst>
                <a:ext uri="{FF2B5EF4-FFF2-40B4-BE49-F238E27FC236}">
                  <a16:creationId xmlns:a16="http://schemas.microsoft.com/office/drawing/2014/main" id="{9E07E562-3542-4076-A151-B7C7CB97383A}"/>
                </a:ext>
              </a:extLst>
            </p:cNvPr>
            <p:cNvSpPr/>
            <p:nvPr/>
          </p:nvSpPr>
          <p:spPr>
            <a:xfrm>
              <a:off x="5193145" y="4396270"/>
              <a:ext cx="266239" cy="154284"/>
            </a:xfrm>
            <a:custGeom>
              <a:avLst/>
              <a:gdLst/>
              <a:ahLst/>
              <a:cxnLst/>
              <a:rect l="l" t="t" r="r" b="b"/>
              <a:pathLst>
                <a:path w="266239" h="154284" extrusionOk="0">
                  <a:moveTo>
                    <a:pt x="116724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2272" y="149529"/>
                  </a:lnTo>
                  <a:cubicBezTo>
                    <a:pt x="141256" y="155511"/>
                    <a:pt x="128044" y="155873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1" name="Google Shape;2388;p37">
              <a:extLst>
                <a:ext uri="{FF2B5EF4-FFF2-40B4-BE49-F238E27FC236}">
                  <a16:creationId xmlns:a16="http://schemas.microsoft.com/office/drawing/2014/main" id="{BDCC71AF-A706-42A7-A14A-209B37022807}"/>
                </a:ext>
              </a:extLst>
            </p:cNvPr>
            <p:cNvSpPr/>
            <p:nvPr/>
          </p:nvSpPr>
          <p:spPr>
            <a:xfrm>
              <a:off x="3196776" y="3241078"/>
              <a:ext cx="384874" cy="222382"/>
            </a:xfrm>
            <a:custGeom>
              <a:avLst/>
              <a:gdLst/>
              <a:ahLst/>
              <a:cxnLst/>
              <a:rect l="l" t="t" r="r" b="b"/>
              <a:pathLst>
                <a:path w="384874" h="222382" extrusionOk="0">
                  <a:moveTo>
                    <a:pt x="235252" y="218871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378582" y="135909"/>
                  </a:lnTo>
                  <a:cubicBezTo>
                    <a:pt x="388087" y="141147"/>
                    <a:pt x="386471" y="150291"/>
                    <a:pt x="376111" y="156292"/>
                  </a:cubicBezTo>
                  <a:lnTo>
                    <a:pt x="270419" y="217443"/>
                  </a:lnTo>
                  <a:cubicBezTo>
                    <a:pt x="259584" y="223482"/>
                    <a:pt x="246534" y="224015"/>
                    <a:pt x="235252" y="21887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2" name="Google Shape;2389;p37">
              <a:extLst>
                <a:ext uri="{FF2B5EF4-FFF2-40B4-BE49-F238E27FC236}">
                  <a16:creationId xmlns:a16="http://schemas.microsoft.com/office/drawing/2014/main" id="{16DEFDA9-D2C2-4B07-AC59-EA29F058EF27}"/>
                </a:ext>
              </a:extLst>
            </p:cNvPr>
            <p:cNvSpPr/>
            <p:nvPr/>
          </p:nvSpPr>
          <p:spPr>
            <a:xfrm>
              <a:off x="3242171" y="3443016"/>
              <a:ext cx="266280" cy="153882"/>
            </a:xfrm>
            <a:custGeom>
              <a:avLst/>
              <a:gdLst/>
              <a:ahLst/>
              <a:cxnLst/>
              <a:rect l="l" t="t" r="r" b="b"/>
              <a:pathLst>
                <a:path w="266280" h="153882" extrusionOk="0">
                  <a:moveTo>
                    <a:pt x="116765" y="150284"/>
                  </a:moveTo>
                  <a:lnTo>
                    <a:pt x="6131" y="86466"/>
                  </a:lnTo>
                  <a:cubicBezTo>
                    <a:pt x="-2899" y="81228"/>
                    <a:pt x="-1853" y="72179"/>
                    <a:pt x="8602" y="66083"/>
                  </a:cubicBezTo>
                  <a:lnTo>
                    <a:pt x="114199" y="5028"/>
                  </a:lnTo>
                  <a:cubicBezTo>
                    <a:pt x="125034" y="-1087"/>
                    <a:pt x="138141" y="-1659"/>
                    <a:pt x="149461" y="3504"/>
                  </a:cubicBezTo>
                  <a:lnTo>
                    <a:pt x="260191" y="67607"/>
                  </a:lnTo>
                  <a:cubicBezTo>
                    <a:pt x="269220" y="72750"/>
                    <a:pt x="268080" y="81894"/>
                    <a:pt x="257625" y="87990"/>
                  </a:cubicBezTo>
                  <a:lnTo>
                    <a:pt x="152028" y="149046"/>
                  </a:lnTo>
                  <a:cubicBezTo>
                    <a:pt x="141135" y="155027"/>
                    <a:pt x="128057" y="155484"/>
                    <a:pt x="116765" y="15028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3" name="Google Shape;2390;p37">
              <a:extLst>
                <a:ext uri="{FF2B5EF4-FFF2-40B4-BE49-F238E27FC236}">
                  <a16:creationId xmlns:a16="http://schemas.microsoft.com/office/drawing/2014/main" id="{4CD5B3C8-D93C-4AF8-A037-C44D1F71484E}"/>
                </a:ext>
              </a:extLst>
            </p:cNvPr>
            <p:cNvSpPr/>
            <p:nvPr/>
          </p:nvSpPr>
          <p:spPr>
            <a:xfrm>
              <a:off x="3398660" y="3533591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4" name="Google Shape;2391;p37">
              <a:extLst>
                <a:ext uri="{FF2B5EF4-FFF2-40B4-BE49-F238E27FC236}">
                  <a16:creationId xmlns:a16="http://schemas.microsoft.com/office/drawing/2014/main" id="{02921737-C372-4EB2-9DB6-096016ADDAEE}"/>
                </a:ext>
              </a:extLst>
            </p:cNvPr>
            <p:cNvSpPr/>
            <p:nvPr/>
          </p:nvSpPr>
          <p:spPr>
            <a:xfrm>
              <a:off x="3554723" y="3624118"/>
              <a:ext cx="266722" cy="153784"/>
            </a:xfrm>
            <a:custGeom>
              <a:avLst/>
              <a:gdLst/>
              <a:ahLst/>
              <a:cxnLst/>
              <a:rect l="l" t="t" r="r" b="b"/>
              <a:pathLst>
                <a:path w="266722" h="153784" extrusionOk="0">
                  <a:moveTo>
                    <a:pt x="117203" y="150156"/>
                  </a:moveTo>
                  <a:lnTo>
                    <a:pt x="6284" y="86434"/>
                  </a:lnTo>
                  <a:cubicBezTo>
                    <a:pt x="-3221" y="81195"/>
                    <a:pt x="-1605" y="72147"/>
                    <a:pt x="8850" y="66051"/>
                  </a:cubicBezTo>
                  <a:lnTo>
                    <a:pt x="114447" y="4995"/>
                  </a:lnTo>
                  <a:cubicBezTo>
                    <a:pt x="125301" y="-1081"/>
                    <a:pt x="138380" y="-1644"/>
                    <a:pt x="149709" y="3471"/>
                  </a:cubicBezTo>
                  <a:lnTo>
                    <a:pt x="260439" y="67575"/>
                  </a:lnTo>
                  <a:cubicBezTo>
                    <a:pt x="269944" y="72813"/>
                    <a:pt x="268328" y="81862"/>
                    <a:pt x="257873" y="87958"/>
                  </a:cubicBezTo>
                  <a:lnTo>
                    <a:pt x="152276" y="149013"/>
                  </a:lnTo>
                  <a:cubicBezTo>
                    <a:pt x="141431" y="154947"/>
                    <a:pt x="128409" y="155367"/>
                    <a:pt x="117203" y="150156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5" name="Google Shape;2392;p37">
              <a:extLst>
                <a:ext uri="{FF2B5EF4-FFF2-40B4-BE49-F238E27FC236}">
                  <a16:creationId xmlns:a16="http://schemas.microsoft.com/office/drawing/2014/main" id="{387F4793-73CC-4816-8442-C7D66F6FCF94}"/>
                </a:ext>
              </a:extLst>
            </p:cNvPr>
            <p:cNvSpPr/>
            <p:nvPr/>
          </p:nvSpPr>
          <p:spPr>
            <a:xfrm>
              <a:off x="3711455" y="3714661"/>
              <a:ext cx="266433" cy="153993"/>
            </a:xfrm>
            <a:custGeom>
              <a:avLst/>
              <a:gdLst/>
              <a:ahLst/>
              <a:cxnLst/>
              <a:rect l="l" t="t" r="r" b="b"/>
              <a:pathLst>
                <a:path w="266433" h="153993" extrusionOk="0">
                  <a:moveTo>
                    <a:pt x="116918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282" y="-1099"/>
                    <a:pt x="138332" y="-1632"/>
                    <a:pt x="149614" y="3511"/>
                  </a:cubicBezTo>
                  <a:lnTo>
                    <a:pt x="260344" y="67519"/>
                  </a:lnTo>
                  <a:cubicBezTo>
                    <a:pt x="269373" y="72758"/>
                    <a:pt x="268233" y="81902"/>
                    <a:pt x="257778" y="87903"/>
                  </a:cubicBezTo>
                  <a:lnTo>
                    <a:pt x="152181" y="149053"/>
                  </a:lnTo>
                  <a:cubicBezTo>
                    <a:pt x="141317" y="155092"/>
                    <a:pt x="128238" y="155625"/>
                    <a:pt x="116918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6" name="Google Shape;2393;p37">
              <a:extLst>
                <a:ext uri="{FF2B5EF4-FFF2-40B4-BE49-F238E27FC236}">
                  <a16:creationId xmlns:a16="http://schemas.microsoft.com/office/drawing/2014/main" id="{F57D6FA9-62E6-44D7-9AE4-67E6876E7384}"/>
                </a:ext>
              </a:extLst>
            </p:cNvPr>
            <p:cNvSpPr/>
            <p:nvPr/>
          </p:nvSpPr>
          <p:spPr>
            <a:xfrm>
              <a:off x="3868572" y="3805244"/>
              <a:ext cx="266280" cy="154106"/>
            </a:xfrm>
            <a:custGeom>
              <a:avLst/>
              <a:gdLst/>
              <a:ahLst/>
              <a:cxnLst/>
              <a:rect l="l" t="t" r="r" b="b"/>
              <a:pathLst>
                <a:path w="266280" h="154106" extrusionOk="0">
                  <a:moveTo>
                    <a:pt x="116344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134" y="81902"/>
                    <a:pt x="257679" y="87903"/>
                  </a:cubicBezTo>
                  <a:lnTo>
                    <a:pt x="152082" y="148958"/>
                  </a:lnTo>
                  <a:cubicBezTo>
                    <a:pt x="141123" y="155235"/>
                    <a:pt x="127797" y="155807"/>
                    <a:pt x="11634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7" name="Google Shape;2394;p37">
              <a:extLst>
                <a:ext uri="{FF2B5EF4-FFF2-40B4-BE49-F238E27FC236}">
                  <a16:creationId xmlns:a16="http://schemas.microsoft.com/office/drawing/2014/main" id="{714ACAF2-46B7-4A1A-A44D-0DB785A8F77A}"/>
                </a:ext>
              </a:extLst>
            </p:cNvPr>
            <p:cNvSpPr/>
            <p:nvPr/>
          </p:nvSpPr>
          <p:spPr>
            <a:xfrm>
              <a:off x="4024630" y="3895731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733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188" y="72758"/>
                    <a:pt x="268048" y="81902"/>
                    <a:pt x="257593" y="87903"/>
                  </a:cubicBezTo>
                  <a:lnTo>
                    <a:pt x="151996" y="149053"/>
                  </a:lnTo>
                  <a:cubicBezTo>
                    <a:pt x="141132" y="155092"/>
                    <a:pt x="128053" y="155626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8" name="Google Shape;2395;p37">
              <a:extLst>
                <a:ext uri="{FF2B5EF4-FFF2-40B4-BE49-F238E27FC236}">
                  <a16:creationId xmlns:a16="http://schemas.microsoft.com/office/drawing/2014/main" id="{F2045ED8-594D-4533-902A-2CD6F10F86D0}"/>
                </a:ext>
              </a:extLst>
            </p:cNvPr>
            <p:cNvSpPr/>
            <p:nvPr/>
          </p:nvSpPr>
          <p:spPr>
            <a:xfrm>
              <a:off x="4181086" y="398631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" name="Google Shape;2396;p37">
              <a:extLst>
                <a:ext uri="{FF2B5EF4-FFF2-40B4-BE49-F238E27FC236}">
                  <a16:creationId xmlns:a16="http://schemas.microsoft.com/office/drawing/2014/main" id="{644C7321-4183-48F0-9218-25D929A563A2}"/>
                </a:ext>
              </a:extLst>
            </p:cNvPr>
            <p:cNvSpPr/>
            <p:nvPr/>
          </p:nvSpPr>
          <p:spPr>
            <a:xfrm>
              <a:off x="4337714" y="4076809"/>
              <a:ext cx="266248" cy="154040"/>
            </a:xfrm>
            <a:custGeom>
              <a:avLst/>
              <a:gdLst/>
              <a:ahLst/>
              <a:cxnLst/>
              <a:rect l="l" t="t" r="r" b="b"/>
              <a:pathLst>
                <a:path w="266248" h="154040" extrusionOk="0">
                  <a:moveTo>
                    <a:pt x="116733" y="150570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188" y="72750"/>
                    <a:pt x="268048" y="81894"/>
                    <a:pt x="257593" y="87990"/>
                  </a:cubicBezTo>
                  <a:lnTo>
                    <a:pt x="151995" y="149046"/>
                  </a:lnTo>
                  <a:cubicBezTo>
                    <a:pt x="141141" y="155122"/>
                    <a:pt x="128063" y="155684"/>
                    <a:pt x="116733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0" name="Google Shape;2397;p37">
              <a:extLst>
                <a:ext uri="{FF2B5EF4-FFF2-40B4-BE49-F238E27FC236}">
                  <a16:creationId xmlns:a16="http://schemas.microsoft.com/office/drawing/2014/main" id="{AC649377-8CC3-4C29-B87F-F39A6A62E88F}"/>
                </a:ext>
              </a:extLst>
            </p:cNvPr>
            <p:cNvSpPr/>
            <p:nvPr/>
          </p:nvSpPr>
          <p:spPr>
            <a:xfrm>
              <a:off x="4494075" y="416738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6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1" name="Google Shape;2398;p37">
              <a:extLst>
                <a:ext uri="{FF2B5EF4-FFF2-40B4-BE49-F238E27FC236}">
                  <a16:creationId xmlns:a16="http://schemas.microsoft.com/office/drawing/2014/main" id="{29A4E6FA-0F8D-47F6-9108-5FF24B639966}"/>
                </a:ext>
              </a:extLst>
            </p:cNvPr>
            <p:cNvSpPr/>
            <p:nvPr/>
          </p:nvSpPr>
          <p:spPr>
            <a:xfrm>
              <a:off x="4650609" y="4257915"/>
              <a:ext cx="266153" cy="154012"/>
            </a:xfrm>
            <a:custGeom>
              <a:avLst/>
              <a:gdLst/>
              <a:ahLst/>
              <a:cxnLst/>
              <a:rect l="l" t="t" r="r" b="b"/>
              <a:pathLst>
                <a:path w="266153" h="154012" extrusionOk="0">
                  <a:moveTo>
                    <a:pt x="116733" y="150534"/>
                  </a:moveTo>
                  <a:lnTo>
                    <a:pt x="6098" y="86431"/>
                  </a:lnTo>
                  <a:cubicBezTo>
                    <a:pt x="-2931" y="81287"/>
                    <a:pt x="-1790" y="72144"/>
                    <a:pt x="8570" y="66047"/>
                  </a:cubicBezTo>
                  <a:lnTo>
                    <a:pt x="114262" y="4992"/>
                  </a:lnTo>
                  <a:cubicBezTo>
                    <a:pt x="125078" y="-1075"/>
                    <a:pt x="138128" y="-1647"/>
                    <a:pt x="149429" y="3468"/>
                  </a:cubicBezTo>
                  <a:lnTo>
                    <a:pt x="260064" y="67571"/>
                  </a:lnTo>
                  <a:cubicBezTo>
                    <a:pt x="269093" y="72810"/>
                    <a:pt x="267953" y="81859"/>
                    <a:pt x="257498" y="87955"/>
                  </a:cubicBezTo>
                  <a:lnTo>
                    <a:pt x="151900" y="149010"/>
                  </a:lnTo>
                  <a:cubicBezTo>
                    <a:pt x="141084" y="155097"/>
                    <a:pt x="128034" y="155659"/>
                    <a:pt x="116733" y="15053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2" name="Google Shape;2399;p37">
              <a:extLst>
                <a:ext uri="{FF2B5EF4-FFF2-40B4-BE49-F238E27FC236}">
                  <a16:creationId xmlns:a16="http://schemas.microsoft.com/office/drawing/2014/main" id="{17CF4F65-738A-476B-B941-331A22B322BB}"/>
                </a:ext>
              </a:extLst>
            </p:cNvPr>
            <p:cNvSpPr/>
            <p:nvPr/>
          </p:nvSpPr>
          <p:spPr>
            <a:xfrm>
              <a:off x="4807065" y="434845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3" name="Google Shape;2400;p37">
              <a:extLst>
                <a:ext uri="{FF2B5EF4-FFF2-40B4-BE49-F238E27FC236}">
                  <a16:creationId xmlns:a16="http://schemas.microsoft.com/office/drawing/2014/main" id="{E4AA838D-87D3-4E1C-89D2-7140CC8C05ED}"/>
                </a:ext>
              </a:extLst>
            </p:cNvPr>
            <p:cNvSpPr/>
            <p:nvPr/>
          </p:nvSpPr>
          <p:spPr>
            <a:xfrm>
              <a:off x="4963756" y="4439037"/>
              <a:ext cx="459701" cy="266038"/>
            </a:xfrm>
            <a:custGeom>
              <a:avLst/>
              <a:gdLst/>
              <a:ahLst/>
              <a:cxnLst/>
              <a:rect l="l" t="t" r="r" b="b"/>
              <a:pathLst>
                <a:path w="459701" h="266038" extrusionOk="0">
                  <a:moveTo>
                    <a:pt x="310281" y="262591"/>
                  </a:moveTo>
                  <a:lnTo>
                    <a:pt x="6131" y="86474"/>
                  </a:lnTo>
                  <a:cubicBezTo>
                    <a:pt x="-2899" y="81235"/>
                    <a:pt x="-1853" y="72091"/>
                    <a:pt x="8602" y="66091"/>
                  </a:cubicBezTo>
                  <a:lnTo>
                    <a:pt x="114199" y="4940"/>
                  </a:lnTo>
                  <a:cubicBezTo>
                    <a:pt x="125063" y="-1099"/>
                    <a:pt x="138141" y="-1632"/>
                    <a:pt x="149461" y="3511"/>
                  </a:cubicBezTo>
                  <a:lnTo>
                    <a:pt x="453611" y="179629"/>
                  </a:lnTo>
                  <a:cubicBezTo>
                    <a:pt x="462641" y="184772"/>
                    <a:pt x="461500" y="193916"/>
                    <a:pt x="451045" y="200012"/>
                  </a:cubicBezTo>
                  <a:lnTo>
                    <a:pt x="345448" y="261067"/>
                  </a:lnTo>
                  <a:cubicBezTo>
                    <a:pt x="334622" y="267106"/>
                    <a:pt x="321582" y="267678"/>
                    <a:pt x="310281" y="26259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4" name="Google Shape;2401;p37">
              <a:extLst>
                <a:ext uri="{FF2B5EF4-FFF2-40B4-BE49-F238E27FC236}">
                  <a16:creationId xmlns:a16="http://schemas.microsoft.com/office/drawing/2014/main" id="{74E69216-140A-4441-966E-567DB35A1F9E}"/>
                </a:ext>
              </a:extLst>
            </p:cNvPr>
            <p:cNvSpPr/>
            <p:nvPr/>
          </p:nvSpPr>
          <p:spPr>
            <a:xfrm>
              <a:off x="3045263" y="3329192"/>
              <a:ext cx="306655" cy="177371"/>
            </a:xfrm>
            <a:custGeom>
              <a:avLst/>
              <a:gdLst/>
              <a:ahLst/>
              <a:cxnLst/>
              <a:rect l="l" t="t" r="r" b="b"/>
              <a:pathLst>
                <a:path w="306655" h="177371" extrusionOk="0">
                  <a:moveTo>
                    <a:pt x="157227" y="173811"/>
                  </a:moveTo>
                  <a:lnTo>
                    <a:pt x="6292" y="86466"/>
                  </a:lnTo>
                  <a:cubicBezTo>
                    <a:pt x="-3212" y="81228"/>
                    <a:pt x="-1597" y="72084"/>
                    <a:pt x="8763" y="66083"/>
                  </a:cubicBezTo>
                  <a:lnTo>
                    <a:pt x="114456" y="5028"/>
                  </a:lnTo>
                  <a:cubicBezTo>
                    <a:pt x="125262" y="-1088"/>
                    <a:pt x="138331" y="-1659"/>
                    <a:pt x="149623" y="3504"/>
                  </a:cubicBezTo>
                  <a:lnTo>
                    <a:pt x="300557" y="90848"/>
                  </a:lnTo>
                  <a:cubicBezTo>
                    <a:pt x="309587" y="96087"/>
                    <a:pt x="308446" y="105231"/>
                    <a:pt x="298086" y="111232"/>
                  </a:cubicBezTo>
                  <a:lnTo>
                    <a:pt x="192584" y="172382"/>
                  </a:lnTo>
                  <a:cubicBezTo>
                    <a:pt x="181701" y="178487"/>
                    <a:pt x="168566" y="179021"/>
                    <a:pt x="157227" y="17381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5" name="Google Shape;2402;p37">
              <a:extLst>
                <a:ext uri="{FF2B5EF4-FFF2-40B4-BE49-F238E27FC236}">
                  <a16:creationId xmlns:a16="http://schemas.microsoft.com/office/drawing/2014/main" id="{C8D172CA-9084-46E2-A1CD-525D87F5C682}"/>
                </a:ext>
              </a:extLst>
            </p:cNvPr>
            <p:cNvSpPr/>
            <p:nvPr/>
          </p:nvSpPr>
          <p:spPr>
            <a:xfrm>
              <a:off x="3658039" y="3005282"/>
              <a:ext cx="2325529" cy="1345328"/>
            </a:xfrm>
            <a:custGeom>
              <a:avLst/>
              <a:gdLst/>
              <a:ahLst/>
              <a:cxnLst/>
              <a:rect l="l" t="t" r="r" b="b"/>
              <a:pathLst>
                <a:path w="2325529" h="1345328" extrusionOk="0">
                  <a:moveTo>
                    <a:pt x="2228861" y="1341731"/>
                  </a:moveTo>
                  <a:lnTo>
                    <a:pt x="6284" y="55856"/>
                  </a:lnTo>
                  <a:cubicBezTo>
                    <a:pt x="-3221" y="50712"/>
                    <a:pt x="-1605" y="41568"/>
                    <a:pt x="8850" y="35472"/>
                  </a:cubicBezTo>
                  <a:lnTo>
                    <a:pt x="61696" y="4992"/>
                  </a:lnTo>
                  <a:cubicBezTo>
                    <a:pt x="72512" y="-1075"/>
                    <a:pt x="85562" y="-1647"/>
                    <a:pt x="96863" y="3468"/>
                  </a:cubicBezTo>
                  <a:lnTo>
                    <a:pt x="2319440" y="1289343"/>
                  </a:lnTo>
                  <a:cubicBezTo>
                    <a:pt x="2328470" y="1294582"/>
                    <a:pt x="2327329" y="1303631"/>
                    <a:pt x="2316874" y="1309727"/>
                  </a:cubicBezTo>
                  <a:lnTo>
                    <a:pt x="2264123" y="1340492"/>
                  </a:lnTo>
                  <a:cubicBezTo>
                    <a:pt x="2253231" y="1346474"/>
                    <a:pt x="2240152" y="1346931"/>
                    <a:pt x="2228861" y="134173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6" name="Google Shape;2403;p37">
              <a:extLst>
                <a:ext uri="{FF2B5EF4-FFF2-40B4-BE49-F238E27FC236}">
                  <a16:creationId xmlns:a16="http://schemas.microsoft.com/office/drawing/2014/main" id="{C57FAA9C-EFE8-465D-AC92-8CE5D03BCCB9}"/>
                </a:ext>
              </a:extLst>
            </p:cNvPr>
            <p:cNvSpPr/>
            <p:nvPr/>
          </p:nvSpPr>
          <p:spPr>
            <a:xfrm>
              <a:off x="2758377" y="3858961"/>
              <a:ext cx="1752611" cy="1013632"/>
            </a:xfrm>
            <a:custGeom>
              <a:avLst/>
              <a:gdLst/>
              <a:ahLst/>
              <a:cxnLst/>
              <a:rect l="l" t="t" r="r" b="b"/>
              <a:pathLst>
                <a:path w="1752611" h="1013632" extrusionOk="0">
                  <a:moveTo>
                    <a:pt x="1751672" y="634261"/>
                  </a:moveTo>
                  <a:cubicBezTo>
                    <a:pt x="1748498" y="641186"/>
                    <a:pt x="1743071" y="646834"/>
                    <a:pt x="1736275" y="650263"/>
                  </a:cubicBezTo>
                  <a:lnTo>
                    <a:pt x="1124743" y="1004117"/>
                  </a:lnTo>
                  <a:cubicBezTo>
                    <a:pt x="1103871" y="1015747"/>
                    <a:pt x="1078721" y="1016775"/>
                    <a:pt x="1056974" y="1006879"/>
                  </a:cubicBezTo>
                  <a:lnTo>
                    <a:pt x="11458" y="402136"/>
                  </a:lnTo>
                  <a:cubicBezTo>
                    <a:pt x="6990" y="399812"/>
                    <a:pt x="3390" y="396107"/>
                    <a:pt x="1193" y="391564"/>
                  </a:cubicBezTo>
                  <a:cubicBezTo>
                    <a:pt x="-2609" y="382039"/>
                    <a:pt x="2714" y="371466"/>
                    <a:pt x="16591" y="363465"/>
                  </a:cubicBezTo>
                  <a:lnTo>
                    <a:pt x="628218" y="9516"/>
                  </a:lnTo>
                  <a:cubicBezTo>
                    <a:pt x="649090" y="-2114"/>
                    <a:pt x="674240" y="-3143"/>
                    <a:pt x="695986" y="6754"/>
                  </a:cubicBezTo>
                  <a:lnTo>
                    <a:pt x="1741502" y="611496"/>
                  </a:lnTo>
                  <a:cubicBezTo>
                    <a:pt x="1750266" y="615306"/>
                    <a:pt x="1754676" y="625174"/>
                    <a:pt x="1751672" y="634261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7" name="Google Shape;2404;p37">
              <a:extLst>
                <a:ext uri="{FF2B5EF4-FFF2-40B4-BE49-F238E27FC236}">
                  <a16:creationId xmlns:a16="http://schemas.microsoft.com/office/drawing/2014/main" id="{5B83A5DE-F533-4492-9EBD-DA65079022EE}"/>
                </a:ext>
              </a:extLst>
            </p:cNvPr>
            <p:cNvSpPr/>
            <p:nvPr/>
          </p:nvSpPr>
          <p:spPr>
            <a:xfrm>
              <a:off x="2759571" y="3871207"/>
              <a:ext cx="1750478" cy="1001386"/>
            </a:xfrm>
            <a:custGeom>
              <a:avLst/>
              <a:gdLst/>
              <a:ahLst/>
              <a:cxnLst/>
              <a:rect l="l" t="t" r="r" b="b"/>
              <a:pathLst>
                <a:path w="1750478" h="1001386" extrusionOk="0">
                  <a:moveTo>
                    <a:pt x="1750479" y="622015"/>
                  </a:moveTo>
                  <a:cubicBezTo>
                    <a:pt x="1747304" y="628939"/>
                    <a:pt x="1741877" y="634588"/>
                    <a:pt x="1735081" y="638017"/>
                  </a:cubicBezTo>
                  <a:lnTo>
                    <a:pt x="1123550" y="991870"/>
                  </a:lnTo>
                  <a:cubicBezTo>
                    <a:pt x="1102677" y="1003501"/>
                    <a:pt x="1077528" y="1004529"/>
                    <a:pt x="1055781" y="994633"/>
                  </a:cubicBezTo>
                  <a:lnTo>
                    <a:pt x="10265" y="389890"/>
                  </a:lnTo>
                  <a:cubicBezTo>
                    <a:pt x="5797" y="387566"/>
                    <a:pt x="2197" y="383861"/>
                    <a:pt x="0" y="379318"/>
                  </a:cubicBezTo>
                  <a:cubicBezTo>
                    <a:pt x="3240" y="372460"/>
                    <a:pt x="8654" y="366869"/>
                    <a:pt x="15398" y="363411"/>
                  </a:cubicBezTo>
                  <a:lnTo>
                    <a:pt x="627024" y="9557"/>
                  </a:lnTo>
                  <a:cubicBezTo>
                    <a:pt x="647887" y="-2092"/>
                    <a:pt x="673027" y="-3149"/>
                    <a:pt x="694793" y="6700"/>
                  </a:cubicBezTo>
                  <a:lnTo>
                    <a:pt x="1740309" y="611537"/>
                  </a:lnTo>
                  <a:cubicBezTo>
                    <a:pt x="1744748" y="613823"/>
                    <a:pt x="1748321" y="617509"/>
                    <a:pt x="1750479" y="622015"/>
                  </a:cubicBezTo>
                  <a:close/>
                </a:path>
              </a:pathLst>
            </a:custGeom>
            <a:solidFill>
              <a:srgbClr val="C3C6D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8" name="Google Shape;2405;p37">
              <a:extLst>
                <a:ext uri="{FF2B5EF4-FFF2-40B4-BE49-F238E27FC236}">
                  <a16:creationId xmlns:a16="http://schemas.microsoft.com/office/drawing/2014/main" id="{CD141586-72AC-435E-BFD6-64E3C4FD3241}"/>
                </a:ext>
              </a:extLst>
            </p:cNvPr>
            <p:cNvSpPr/>
            <p:nvPr/>
          </p:nvSpPr>
          <p:spPr>
            <a:xfrm>
              <a:off x="3817633" y="2891711"/>
              <a:ext cx="2255273" cy="1359741"/>
            </a:xfrm>
            <a:custGeom>
              <a:avLst/>
              <a:gdLst/>
              <a:ahLst/>
              <a:cxnLst/>
              <a:rect l="l" t="t" r="r" b="b"/>
              <a:pathLst>
                <a:path w="2255273" h="1359741" extrusionOk="0">
                  <a:moveTo>
                    <a:pt x="2238450" y="1357766"/>
                  </a:moveTo>
                  <a:lnTo>
                    <a:pt x="15873" y="71891"/>
                  </a:lnTo>
                  <a:cubicBezTo>
                    <a:pt x="5950" y="64538"/>
                    <a:pt x="67" y="52927"/>
                    <a:pt x="0" y="40554"/>
                  </a:cubicBezTo>
                  <a:lnTo>
                    <a:pt x="0" y="14360"/>
                  </a:lnTo>
                  <a:cubicBezTo>
                    <a:pt x="0" y="2263"/>
                    <a:pt x="7319" y="-3261"/>
                    <a:pt x="16348" y="1978"/>
                  </a:cubicBezTo>
                  <a:lnTo>
                    <a:pt x="2238925" y="1287852"/>
                  </a:lnTo>
                  <a:cubicBezTo>
                    <a:pt x="2249028" y="1295063"/>
                    <a:pt x="2255092" y="1306664"/>
                    <a:pt x="2255273" y="1319094"/>
                  </a:cubicBezTo>
                  <a:lnTo>
                    <a:pt x="2255273" y="1345288"/>
                  </a:lnTo>
                  <a:cubicBezTo>
                    <a:pt x="2254798" y="1357480"/>
                    <a:pt x="2247479" y="1363005"/>
                    <a:pt x="2238450" y="1357766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9" name="Google Shape;2406;p37">
              <a:extLst>
                <a:ext uri="{FF2B5EF4-FFF2-40B4-BE49-F238E27FC236}">
                  <a16:creationId xmlns:a16="http://schemas.microsoft.com/office/drawing/2014/main" id="{6D962543-9E72-4576-8472-92D5B0CCAD54}"/>
                </a:ext>
              </a:extLst>
            </p:cNvPr>
            <p:cNvSpPr/>
            <p:nvPr/>
          </p:nvSpPr>
          <p:spPr>
            <a:xfrm>
              <a:off x="3899944" y="2334804"/>
              <a:ext cx="319167" cy="507819"/>
            </a:xfrm>
            <a:custGeom>
              <a:avLst/>
              <a:gdLst/>
              <a:ahLst/>
              <a:cxnLst/>
              <a:rect l="l" t="t" r="r" b="b"/>
              <a:pathLst>
                <a:path w="319167" h="507819" extrusionOk="0">
                  <a:moveTo>
                    <a:pt x="269363" y="501829"/>
                  </a:moveTo>
                  <a:lnTo>
                    <a:pt x="49804" y="375052"/>
                  </a:lnTo>
                  <a:cubicBezTo>
                    <a:pt x="22336" y="359145"/>
                    <a:pt x="0" y="316378"/>
                    <a:pt x="0" y="279802"/>
                  </a:cubicBezTo>
                  <a:lnTo>
                    <a:pt x="0" y="43867"/>
                  </a:lnTo>
                  <a:cubicBezTo>
                    <a:pt x="0" y="7101"/>
                    <a:pt x="22336" y="-9758"/>
                    <a:pt x="49804" y="5767"/>
                  </a:cubicBezTo>
                  <a:lnTo>
                    <a:pt x="269363" y="132926"/>
                  </a:lnTo>
                  <a:cubicBezTo>
                    <a:pt x="296926" y="148833"/>
                    <a:pt x="319168" y="191600"/>
                    <a:pt x="319168" y="228176"/>
                  </a:cubicBezTo>
                  <a:lnTo>
                    <a:pt x="319168" y="464110"/>
                  </a:lnTo>
                  <a:cubicBezTo>
                    <a:pt x="318787" y="500877"/>
                    <a:pt x="296546" y="517736"/>
                    <a:pt x="269363" y="50182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0" name="Google Shape;2407;p37">
              <a:extLst>
                <a:ext uri="{FF2B5EF4-FFF2-40B4-BE49-F238E27FC236}">
                  <a16:creationId xmlns:a16="http://schemas.microsoft.com/office/drawing/2014/main" id="{375D641E-16C9-4F67-B28F-EF54DC475632}"/>
                </a:ext>
              </a:extLst>
            </p:cNvPr>
            <p:cNvSpPr/>
            <p:nvPr/>
          </p:nvSpPr>
          <p:spPr>
            <a:xfrm>
              <a:off x="3899468" y="1737396"/>
              <a:ext cx="318787" cy="562544"/>
            </a:xfrm>
            <a:custGeom>
              <a:avLst/>
              <a:gdLst/>
              <a:ahLst/>
              <a:cxnLst/>
              <a:rect l="l" t="t" r="r" b="b"/>
              <a:pathLst>
                <a:path w="318787" h="562544" extrusionOk="0">
                  <a:moveTo>
                    <a:pt x="268983" y="558884"/>
                  </a:moveTo>
                  <a:lnTo>
                    <a:pt x="49805" y="432106"/>
                  </a:lnTo>
                  <a:cubicBezTo>
                    <a:pt x="22336" y="416200"/>
                    <a:pt x="0" y="351144"/>
                    <a:pt x="0" y="319330"/>
                  </a:cubicBezTo>
                  <a:lnTo>
                    <a:pt x="0" y="43867"/>
                  </a:lnTo>
                  <a:cubicBezTo>
                    <a:pt x="0" y="7101"/>
                    <a:pt x="22336" y="-9758"/>
                    <a:pt x="49805" y="5767"/>
                  </a:cubicBezTo>
                  <a:lnTo>
                    <a:pt x="268983" y="132545"/>
                  </a:lnTo>
                  <a:cubicBezTo>
                    <a:pt x="296546" y="148452"/>
                    <a:pt x="318787" y="191219"/>
                    <a:pt x="318787" y="227795"/>
                  </a:cubicBezTo>
                  <a:lnTo>
                    <a:pt x="318787" y="503258"/>
                  </a:lnTo>
                  <a:cubicBezTo>
                    <a:pt x="318787" y="535643"/>
                    <a:pt x="296546" y="574791"/>
                    <a:pt x="268983" y="5588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" name="Google Shape;2408;p37">
              <a:extLst>
                <a:ext uri="{FF2B5EF4-FFF2-40B4-BE49-F238E27FC236}">
                  <a16:creationId xmlns:a16="http://schemas.microsoft.com/office/drawing/2014/main" id="{4F79B6B6-B55F-45EA-93BD-7D52579F0078}"/>
                </a:ext>
              </a:extLst>
            </p:cNvPr>
            <p:cNvSpPr/>
            <p:nvPr/>
          </p:nvSpPr>
          <p:spPr>
            <a:xfrm>
              <a:off x="3979213" y="1913870"/>
              <a:ext cx="161864" cy="209418"/>
            </a:xfrm>
            <a:custGeom>
              <a:avLst/>
              <a:gdLst/>
              <a:ahLst/>
              <a:cxnLst/>
              <a:rect l="l" t="t" r="r" b="b"/>
              <a:pathLst>
                <a:path w="161864" h="209418" extrusionOk="0">
                  <a:moveTo>
                    <a:pt x="80885" y="198388"/>
                  </a:moveTo>
                  <a:cubicBezTo>
                    <a:pt x="36308" y="172575"/>
                    <a:pt x="0" y="109519"/>
                    <a:pt x="0" y="57894"/>
                  </a:cubicBezTo>
                  <a:cubicBezTo>
                    <a:pt x="0" y="6268"/>
                    <a:pt x="36308" y="-14782"/>
                    <a:pt x="80885" y="11031"/>
                  </a:cubicBezTo>
                  <a:cubicBezTo>
                    <a:pt x="125462" y="36844"/>
                    <a:pt x="161865" y="99899"/>
                    <a:pt x="161865" y="151525"/>
                  </a:cubicBezTo>
                  <a:cubicBezTo>
                    <a:pt x="161865" y="203150"/>
                    <a:pt x="125557" y="224200"/>
                    <a:pt x="80885" y="198388"/>
                  </a:cubicBezTo>
                  <a:close/>
                  <a:moveTo>
                    <a:pt x="80885" y="35034"/>
                  </a:moveTo>
                  <a:cubicBezTo>
                    <a:pt x="47714" y="15984"/>
                    <a:pt x="20720" y="31510"/>
                    <a:pt x="20720" y="69895"/>
                  </a:cubicBezTo>
                  <a:cubicBezTo>
                    <a:pt x="22916" y="112443"/>
                    <a:pt x="45280" y="151382"/>
                    <a:pt x="80885" y="174670"/>
                  </a:cubicBezTo>
                  <a:cubicBezTo>
                    <a:pt x="114151" y="193720"/>
                    <a:pt x="141145" y="178290"/>
                    <a:pt x="141145" y="139904"/>
                  </a:cubicBezTo>
                  <a:cubicBezTo>
                    <a:pt x="138949" y="97299"/>
                    <a:pt x="116556" y="58322"/>
                    <a:pt x="80885" y="3503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" name="Google Shape;2409;p37">
              <a:extLst>
                <a:ext uri="{FF2B5EF4-FFF2-40B4-BE49-F238E27FC236}">
                  <a16:creationId xmlns:a16="http://schemas.microsoft.com/office/drawing/2014/main" id="{BAA73EE8-A60E-4E2C-AE00-7EFFE0AE5559}"/>
                </a:ext>
              </a:extLst>
            </p:cNvPr>
            <p:cNvSpPr/>
            <p:nvPr/>
          </p:nvSpPr>
          <p:spPr>
            <a:xfrm>
              <a:off x="4045651" y="1966906"/>
              <a:ext cx="50374" cy="107156"/>
            </a:xfrm>
            <a:custGeom>
              <a:avLst/>
              <a:gdLst/>
              <a:ahLst/>
              <a:cxnLst/>
              <a:rect l="l" t="t" r="r" b="b"/>
              <a:pathLst>
                <a:path w="50374" h="107156" extrusionOk="0">
                  <a:moveTo>
                    <a:pt x="36688" y="107156"/>
                  </a:moveTo>
                  <a:lnTo>
                    <a:pt x="0" y="48673"/>
                  </a:lnTo>
                  <a:lnTo>
                    <a:pt x="0" y="0"/>
                  </a:lnTo>
                  <a:lnTo>
                    <a:pt x="20720" y="12001"/>
                  </a:lnTo>
                  <a:lnTo>
                    <a:pt x="20720" y="49816"/>
                  </a:lnTo>
                  <a:lnTo>
                    <a:pt x="50375" y="96964"/>
                  </a:lnTo>
                  <a:lnTo>
                    <a:pt x="36688" y="10715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2410;p37">
              <a:extLst>
                <a:ext uri="{FF2B5EF4-FFF2-40B4-BE49-F238E27FC236}">
                  <a16:creationId xmlns:a16="http://schemas.microsoft.com/office/drawing/2014/main" id="{5AE29B02-5671-444F-9E82-73AE4407749A}"/>
                </a:ext>
              </a:extLst>
            </p:cNvPr>
            <p:cNvSpPr/>
            <p:nvPr/>
          </p:nvSpPr>
          <p:spPr>
            <a:xfrm>
              <a:off x="3899183" y="1178204"/>
              <a:ext cx="318787" cy="538687"/>
            </a:xfrm>
            <a:custGeom>
              <a:avLst/>
              <a:gdLst/>
              <a:ahLst/>
              <a:cxnLst/>
              <a:rect l="l" t="t" r="r" b="b"/>
              <a:pathLst>
                <a:path w="318787" h="538687" extrusionOk="0">
                  <a:moveTo>
                    <a:pt x="268983" y="535432"/>
                  </a:moveTo>
                  <a:lnTo>
                    <a:pt x="49805" y="408655"/>
                  </a:lnTo>
                  <a:cubicBezTo>
                    <a:pt x="22336" y="392653"/>
                    <a:pt x="0" y="321025"/>
                    <a:pt x="0" y="289116"/>
                  </a:cubicBezTo>
                  <a:lnTo>
                    <a:pt x="0" y="35560"/>
                  </a:lnTo>
                  <a:cubicBezTo>
                    <a:pt x="0" y="3747"/>
                    <a:pt x="22336" y="-9207"/>
                    <a:pt x="49805" y="6985"/>
                  </a:cubicBezTo>
                  <a:lnTo>
                    <a:pt x="268983" y="133858"/>
                  </a:lnTo>
                  <a:cubicBezTo>
                    <a:pt x="298400" y="153033"/>
                    <a:pt x="316905" y="185135"/>
                    <a:pt x="318787" y="220250"/>
                  </a:cubicBezTo>
                  <a:lnTo>
                    <a:pt x="318787" y="473901"/>
                  </a:lnTo>
                  <a:cubicBezTo>
                    <a:pt x="318787" y="505429"/>
                    <a:pt x="296546" y="551339"/>
                    <a:pt x="268983" y="53543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4" name="Google Shape;2411;p37">
              <a:extLst>
                <a:ext uri="{FF2B5EF4-FFF2-40B4-BE49-F238E27FC236}">
                  <a16:creationId xmlns:a16="http://schemas.microsoft.com/office/drawing/2014/main" id="{30CA7063-D3E6-4935-98D7-A7EC4BD47084}"/>
                </a:ext>
              </a:extLst>
            </p:cNvPr>
            <p:cNvSpPr/>
            <p:nvPr/>
          </p:nvSpPr>
          <p:spPr>
            <a:xfrm>
              <a:off x="3979213" y="1338206"/>
              <a:ext cx="159393" cy="203465"/>
            </a:xfrm>
            <a:custGeom>
              <a:avLst/>
              <a:gdLst/>
              <a:ahLst/>
              <a:cxnLst/>
              <a:rect l="l" t="t" r="r" b="b"/>
              <a:pathLst>
                <a:path w="159393" h="203465" extrusionOk="0">
                  <a:moveTo>
                    <a:pt x="79364" y="71487"/>
                  </a:moveTo>
                  <a:cubicBezTo>
                    <a:pt x="66153" y="63867"/>
                    <a:pt x="55507" y="70059"/>
                    <a:pt x="55507" y="85394"/>
                  </a:cubicBezTo>
                  <a:cubicBezTo>
                    <a:pt x="56401" y="102231"/>
                    <a:pt x="65259" y="117629"/>
                    <a:pt x="79364" y="126828"/>
                  </a:cubicBezTo>
                  <a:cubicBezTo>
                    <a:pt x="92576" y="134448"/>
                    <a:pt x="103316" y="128256"/>
                    <a:pt x="103316" y="113016"/>
                  </a:cubicBezTo>
                  <a:cubicBezTo>
                    <a:pt x="102356" y="96150"/>
                    <a:pt x="93469" y="80738"/>
                    <a:pt x="79364" y="71487"/>
                  </a:cubicBezTo>
                  <a:close/>
                  <a:moveTo>
                    <a:pt x="143141" y="81012"/>
                  </a:moveTo>
                  <a:lnTo>
                    <a:pt x="124131" y="69963"/>
                  </a:lnTo>
                  <a:cubicBezTo>
                    <a:pt x="121052" y="67857"/>
                    <a:pt x="118828" y="64715"/>
                    <a:pt x="117858" y="61105"/>
                  </a:cubicBezTo>
                  <a:lnTo>
                    <a:pt x="112916" y="41007"/>
                  </a:lnTo>
                  <a:cubicBezTo>
                    <a:pt x="111880" y="37405"/>
                    <a:pt x="109627" y="34274"/>
                    <a:pt x="106548" y="32149"/>
                  </a:cubicBezTo>
                  <a:lnTo>
                    <a:pt x="52371" y="812"/>
                  </a:lnTo>
                  <a:cubicBezTo>
                    <a:pt x="49709" y="-712"/>
                    <a:pt x="46953" y="-45"/>
                    <a:pt x="46098" y="2431"/>
                  </a:cubicBezTo>
                  <a:lnTo>
                    <a:pt x="41155" y="16719"/>
                  </a:lnTo>
                  <a:cubicBezTo>
                    <a:pt x="40271" y="18799"/>
                    <a:pt x="37867" y="19765"/>
                    <a:pt x="35795" y="18876"/>
                  </a:cubicBezTo>
                  <a:cubicBezTo>
                    <a:pt x="35462" y="18737"/>
                    <a:pt x="35158" y="18556"/>
                    <a:pt x="34882" y="18338"/>
                  </a:cubicBezTo>
                  <a:lnTo>
                    <a:pt x="15873" y="7289"/>
                  </a:lnTo>
                  <a:cubicBezTo>
                    <a:pt x="7129" y="2145"/>
                    <a:pt x="0" y="6336"/>
                    <a:pt x="0" y="16814"/>
                  </a:cubicBezTo>
                  <a:lnTo>
                    <a:pt x="0" y="99872"/>
                  </a:lnTo>
                  <a:cubicBezTo>
                    <a:pt x="608" y="111084"/>
                    <a:pt x="6501" y="121337"/>
                    <a:pt x="15873" y="127494"/>
                  </a:cubicBezTo>
                  <a:lnTo>
                    <a:pt x="143426" y="201313"/>
                  </a:lnTo>
                  <a:cubicBezTo>
                    <a:pt x="152170" y="206361"/>
                    <a:pt x="159394" y="202266"/>
                    <a:pt x="159394" y="191788"/>
                  </a:cubicBezTo>
                  <a:lnTo>
                    <a:pt x="159394" y="108444"/>
                  </a:lnTo>
                  <a:cubicBezTo>
                    <a:pt x="158700" y="97136"/>
                    <a:pt x="152655" y="86841"/>
                    <a:pt x="143141" y="80727"/>
                  </a:cubicBezTo>
                  <a:close/>
                  <a:moveTo>
                    <a:pt x="79364" y="145592"/>
                  </a:moveTo>
                  <a:cubicBezTo>
                    <a:pt x="55878" y="130194"/>
                    <a:pt x="41089" y="104524"/>
                    <a:pt x="39540" y="76440"/>
                  </a:cubicBezTo>
                  <a:cubicBezTo>
                    <a:pt x="39540" y="50913"/>
                    <a:pt x="57408" y="40626"/>
                    <a:pt x="79364" y="53390"/>
                  </a:cubicBezTo>
                  <a:cubicBezTo>
                    <a:pt x="102907" y="68733"/>
                    <a:pt x="117716" y="94435"/>
                    <a:pt x="119189" y="122541"/>
                  </a:cubicBezTo>
                  <a:cubicBezTo>
                    <a:pt x="119189" y="147687"/>
                    <a:pt x="101415" y="158070"/>
                    <a:pt x="79364" y="145306"/>
                  </a:cubicBezTo>
                  <a:close/>
                  <a:moveTo>
                    <a:pt x="137533" y="109111"/>
                  </a:moveTo>
                  <a:cubicBezTo>
                    <a:pt x="134292" y="106996"/>
                    <a:pt x="132239" y="103459"/>
                    <a:pt x="132020" y="99586"/>
                  </a:cubicBezTo>
                  <a:cubicBezTo>
                    <a:pt x="132020" y="95967"/>
                    <a:pt x="134491" y="94538"/>
                    <a:pt x="137533" y="96348"/>
                  </a:cubicBezTo>
                  <a:cubicBezTo>
                    <a:pt x="140812" y="98441"/>
                    <a:pt x="142903" y="101982"/>
                    <a:pt x="143141" y="105873"/>
                  </a:cubicBezTo>
                  <a:cubicBezTo>
                    <a:pt x="143141" y="109206"/>
                    <a:pt x="140669" y="110635"/>
                    <a:pt x="137533" y="10882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5" name="Google Shape;2412;p37">
              <a:extLst>
                <a:ext uri="{FF2B5EF4-FFF2-40B4-BE49-F238E27FC236}">
                  <a16:creationId xmlns:a16="http://schemas.microsoft.com/office/drawing/2014/main" id="{40EDA964-47FF-45E9-8D03-6F480C7E2759}"/>
                </a:ext>
              </a:extLst>
            </p:cNvPr>
            <p:cNvSpPr/>
            <p:nvPr/>
          </p:nvSpPr>
          <p:spPr>
            <a:xfrm>
              <a:off x="3993280" y="2480040"/>
              <a:ext cx="134491" cy="224767"/>
            </a:xfrm>
            <a:custGeom>
              <a:avLst/>
              <a:gdLst/>
              <a:ahLst/>
              <a:cxnLst/>
              <a:rect l="l" t="t" r="r" b="b"/>
              <a:pathLst>
                <a:path w="134491" h="224767" extrusionOk="0">
                  <a:moveTo>
                    <a:pt x="134491" y="125994"/>
                  </a:moveTo>
                  <a:cubicBezTo>
                    <a:pt x="134491" y="168951"/>
                    <a:pt x="67293" y="224768"/>
                    <a:pt x="67293" y="224768"/>
                  </a:cubicBezTo>
                  <a:cubicBezTo>
                    <a:pt x="67293" y="224768"/>
                    <a:pt x="0" y="91418"/>
                    <a:pt x="0" y="48174"/>
                  </a:cubicBezTo>
                  <a:cubicBezTo>
                    <a:pt x="0" y="4931"/>
                    <a:pt x="30130" y="-12214"/>
                    <a:pt x="67293" y="9217"/>
                  </a:cubicBezTo>
                  <a:cubicBezTo>
                    <a:pt x="106975" y="35192"/>
                    <a:pt x="131935" y="78559"/>
                    <a:pt x="134491" y="12599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6" name="Google Shape;2413;p37">
              <a:extLst>
                <a:ext uri="{FF2B5EF4-FFF2-40B4-BE49-F238E27FC236}">
                  <a16:creationId xmlns:a16="http://schemas.microsoft.com/office/drawing/2014/main" id="{06541F9A-B75B-45E9-8CE3-C9337869F339}"/>
                </a:ext>
              </a:extLst>
            </p:cNvPr>
            <p:cNvSpPr/>
            <p:nvPr/>
          </p:nvSpPr>
          <p:spPr>
            <a:xfrm rot="-1801764">
              <a:off x="4024636" y="2501896"/>
              <a:ext cx="71791" cy="124475"/>
            </a:xfrm>
            <a:custGeom>
              <a:avLst/>
              <a:gdLst/>
              <a:ahLst/>
              <a:cxnLst/>
              <a:rect l="l" t="t" r="r" b="b"/>
              <a:pathLst>
                <a:path w="71855" h="124586" extrusionOk="0">
                  <a:moveTo>
                    <a:pt x="71855" y="62293"/>
                  </a:moveTo>
                  <a:cubicBezTo>
                    <a:pt x="71855" y="96697"/>
                    <a:pt x="55770" y="124587"/>
                    <a:pt x="35928" y="124587"/>
                  </a:cubicBezTo>
                  <a:cubicBezTo>
                    <a:pt x="16085" y="124587"/>
                    <a:pt x="0" y="96697"/>
                    <a:pt x="0" y="62293"/>
                  </a:cubicBezTo>
                  <a:cubicBezTo>
                    <a:pt x="0" y="27890"/>
                    <a:pt x="16085" y="0"/>
                    <a:pt x="35928" y="0"/>
                  </a:cubicBezTo>
                  <a:cubicBezTo>
                    <a:pt x="55770" y="0"/>
                    <a:pt x="71855" y="27890"/>
                    <a:pt x="71855" y="62293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Google Shape;2414;p37">
              <a:extLst>
                <a:ext uri="{FF2B5EF4-FFF2-40B4-BE49-F238E27FC236}">
                  <a16:creationId xmlns:a16="http://schemas.microsoft.com/office/drawing/2014/main" id="{827A70D6-6703-48BF-8928-EB0137E5D3EE}"/>
                </a:ext>
              </a:extLst>
            </p:cNvPr>
            <p:cNvSpPr/>
            <p:nvPr/>
          </p:nvSpPr>
          <p:spPr>
            <a:xfrm>
              <a:off x="4492846" y="2048739"/>
              <a:ext cx="559351" cy="469824"/>
            </a:xfrm>
            <a:custGeom>
              <a:avLst/>
              <a:gdLst/>
              <a:ahLst/>
              <a:cxnLst/>
              <a:rect l="l" t="t" r="r" b="b"/>
              <a:pathLst>
                <a:path w="559351" h="469824" extrusionOk="0">
                  <a:moveTo>
                    <a:pt x="514299" y="464425"/>
                  </a:moveTo>
                  <a:lnTo>
                    <a:pt x="45147" y="192963"/>
                  </a:lnTo>
                  <a:cubicBezTo>
                    <a:pt x="20245" y="178580"/>
                    <a:pt x="0" y="139908"/>
                    <a:pt x="0" y="106571"/>
                  </a:cubicBezTo>
                  <a:lnTo>
                    <a:pt x="0" y="39610"/>
                  </a:lnTo>
                  <a:cubicBezTo>
                    <a:pt x="0" y="6273"/>
                    <a:pt x="20245" y="-8968"/>
                    <a:pt x="45147" y="5415"/>
                  </a:cubicBezTo>
                  <a:lnTo>
                    <a:pt x="514299" y="276878"/>
                  </a:lnTo>
                  <a:cubicBezTo>
                    <a:pt x="539201" y="291261"/>
                    <a:pt x="559351" y="329932"/>
                    <a:pt x="559351" y="363270"/>
                  </a:cubicBezTo>
                  <a:lnTo>
                    <a:pt x="559351" y="430135"/>
                  </a:lnTo>
                  <a:cubicBezTo>
                    <a:pt x="559351" y="463473"/>
                    <a:pt x="539201" y="478808"/>
                    <a:pt x="514299" y="46442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2415;p37">
              <a:extLst>
                <a:ext uri="{FF2B5EF4-FFF2-40B4-BE49-F238E27FC236}">
                  <a16:creationId xmlns:a16="http://schemas.microsoft.com/office/drawing/2014/main" id="{61B71273-ACE2-4C74-9C60-67A62722CEE2}"/>
                </a:ext>
              </a:extLst>
            </p:cNvPr>
            <p:cNvSpPr/>
            <p:nvPr/>
          </p:nvSpPr>
          <p:spPr>
            <a:xfrm>
              <a:off x="4353888" y="2645824"/>
              <a:ext cx="1638988" cy="1231605"/>
            </a:xfrm>
            <a:custGeom>
              <a:avLst/>
              <a:gdLst/>
              <a:ahLst/>
              <a:cxnLst/>
              <a:rect l="l" t="t" r="r" b="b"/>
              <a:pathLst>
                <a:path w="1638988" h="1231605" extrusionOk="0">
                  <a:moveTo>
                    <a:pt x="1638989" y="734496"/>
                  </a:moveTo>
                  <a:cubicBezTo>
                    <a:pt x="1638989" y="734496"/>
                    <a:pt x="1138757" y="844986"/>
                    <a:pt x="734332" y="394835"/>
                  </a:cubicBezTo>
                  <a:cubicBezTo>
                    <a:pt x="329908" y="-55317"/>
                    <a:pt x="0" y="2405"/>
                    <a:pt x="0" y="2405"/>
                  </a:cubicBezTo>
                  <a:lnTo>
                    <a:pt x="0" y="283392"/>
                  </a:lnTo>
                  <a:lnTo>
                    <a:pt x="1638989" y="1231606"/>
                  </a:ln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2416;p37">
              <a:extLst>
                <a:ext uri="{FF2B5EF4-FFF2-40B4-BE49-F238E27FC236}">
                  <a16:creationId xmlns:a16="http://schemas.microsoft.com/office/drawing/2014/main" id="{EDAE6B01-59E6-4212-ADF8-7512F0217ECB}"/>
                </a:ext>
              </a:extLst>
            </p:cNvPr>
            <p:cNvSpPr/>
            <p:nvPr/>
          </p:nvSpPr>
          <p:spPr>
            <a:xfrm>
              <a:off x="4353888" y="2645824"/>
              <a:ext cx="1638988" cy="746475"/>
            </a:xfrm>
            <a:custGeom>
              <a:avLst/>
              <a:gdLst/>
              <a:ahLst/>
              <a:cxnLst/>
              <a:rect l="l" t="t" r="r" b="b"/>
              <a:pathLst>
                <a:path w="1638988" h="746475" extrusionOk="0">
                  <a:moveTo>
                    <a:pt x="1638989" y="734496"/>
                  </a:moveTo>
                  <a:cubicBezTo>
                    <a:pt x="1638989" y="734496"/>
                    <a:pt x="1138757" y="844986"/>
                    <a:pt x="734332" y="394835"/>
                  </a:cubicBezTo>
                  <a:cubicBezTo>
                    <a:pt x="329908" y="-55317"/>
                    <a:pt x="0" y="2405"/>
                    <a:pt x="0" y="2405"/>
                  </a:cubicBezTo>
                </a:path>
              </a:pathLst>
            </a:custGeom>
            <a:noFill/>
            <a:ln w="10075" cap="flat" cmpd="sng">
              <a:solidFill>
                <a:srgbClr val="CCCEDD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Google Shape;2417;p37">
              <a:extLst>
                <a:ext uri="{FF2B5EF4-FFF2-40B4-BE49-F238E27FC236}">
                  <a16:creationId xmlns:a16="http://schemas.microsoft.com/office/drawing/2014/main" id="{35813CAA-2EBF-47C8-B056-4BA6FD233B6B}"/>
                </a:ext>
              </a:extLst>
            </p:cNvPr>
            <p:cNvSpPr/>
            <p:nvPr/>
          </p:nvSpPr>
          <p:spPr>
            <a:xfrm>
              <a:off x="4257005" y="773645"/>
              <a:ext cx="165344" cy="325643"/>
            </a:xfrm>
            <a:custGeom>
              <a:avLst/>
              <a:gdLst/>
              <a:ahLst/>
              <a:cxnLst/>
              <a:rect l="l" t="t" r="r" b="b"/>
              <a:pathLst>
                <a:path w="165344" h="325643" extrusionOk="0">
                  <a:moveTo>
                    <a:pt x="94696" y="251714"/>
                  </a:moveTo>
                  <a:cubicBezTo>
                    <a:pt x="80068" y="277923"/>
                    <a:pt x="62295" y="302235"/>
                    <a:pt x="41755" y="324104"/>
                  </a:cubicBezTo>
                  <a:cubicBezTo>
                    <a:pt x="36052" y="330772"/>
                    <a:pt x="-7955" y="313912"/>
                    <a:pt x="1265" y="309150"/>
                  </a:cubicBezTo>
                  <a:cubicBezTo>
                    <a:pt x="10485" y="304387"/>
                    <a:pt x="39284" y="264192"/>
                    <a:pt x="53731" y="237331"/>
                  </a:cubicBezTo>
                  <a:cubicBezTo>
                    <a:pt x="65821" y="205263"/>
                    <a:pt x="76095" y="172541"/>
                    <a:pt x="84526" y="139319"/>
                  </a:cubicBezTo>
                  <a:cubicBezTo>
                    <a:pt x="93556" y="106458"/>
                    <a:pt x="101349" y="58261"/>
                    <a:pt x="108003" y="35592"/>
                  </a:cubicBezTo>
                  <a:cubicBezTo>
                    <a:pt x="111481" y="18487"/>
                    <a:pt x="124655" y="5022"/>
                    <a:pt x="141649" y="1207"/>
                  </a:cubicBezTo>
                  <a:cubicBezTo>
                    <a:pt x="157522" y="-2508"/>
                    <a:pt x="167787" y="1873"/>
                    <a:pt x="164841" y="21114"/>
                  </a:cubicBezTo>
                  <a:cubicBezTo>
                    <a:pt x="159423" y="54642"/>
                    <a:pt x="133475" y="185515"/>
                    <a:pt x="94696" y="25171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2418;p37">
              <a:extLst>
                <a:ext uri="{FF2B5EF4-FFF2-40B4-BE49-F238E27FC236}">
                  <a16:creationId xmlns:a16="http://schemas.microsoft.com/office/drawing/2014/main" id="{1B1D1AA4-313C-442E-BAF4-D921FBEB9ED1}"/>
                </a:ext>
              </a:extLst>
            </p:cNvPr>
            <p:cNvSpPr/>
            <p:nvPr/>
          </p:nvSpPr>
          <p:spPr>
            <a:xfrm>
              <a:off x="4272441" y="1538278"/>
              <a:ext cx="113451" cy="88273"/>
            </a:xfrm>
            <a:custGeom>
              <a:avLst/>
              <a:gdLst/>
              <a:ahLst/>
              <a:cxnLst/>
              <a:rect l="l" t="t" r="r" b="b"/>
              <a:pathLst>
                <a:path w="113451" h="88273" extrusionOk="0">
                  <a:moveTo>
                    <a:pt x="104448" y="2"/>
                  </a:moveTo>
                  <a:cubicBezTo>
                    <a:pt x="90856" y="11146"/>
                    <a:pt x="70706" y="955"/>
                    <a:pt x="69660" y="2002"/>
                  </a:cubicBezTo>
                  <a:cubicBezTo>
                    <a:pt x="53645" y="16871"/>
                    <a:pt x="36860" y="30892"/>
                    <a:pt x="19381" y="44008"/>
                  </a:cubicBezTo>
                  <a:cubicBezTo>
                    <a:pt x="10827" y="50675"/>
                    <a:pt x="-2385" y="59629"/>
                    <a:pt x="371" y="72583"/>
                  </a:cubicBezTo>
                  <a:cubicBezTo>
                    <a:pt x="4648" y="95538"/>
                    <a:pt x="41432" y="88490"/>
                    <a:pt x="55308" y="81441"/>
                  </a:cubicBezTo>
                  <a:cubicBezTo>
                    <a:pt x="69185" y="74392"/>
                    <a:pt x="80591" y="62391"/>
                    <a:pt x="93327" y="54581"/>
                  </a:cubicBezTo>
                  <a:cubicBezTo>
                    <a:pt x="102832" y="48675"/>
                    <a:pt x="112337" y="45722"/>
                    <a:pt x="113382" y="33816"/>
                  </a:cubicBezTo>
                  <a:cubicBezTo>
                    <a:pt x="114238" y="26672"/>
                    <a:pt x="106919" y="-283"/>
                    <a:pt x="10444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Google Shape;2419;p37">
              <a:extLst>
                <a:ext uri="{FF2B5EF4-FFF2-40B4-BE49-F238E27FC236}">
                  <a16:creationId xmlns:a16="http://schemas.microsoft.com/office/drawing/2014/main" id="{6E65E42C-452A-4313-9A9A-515D86D47A7F}"/>
                </a:ext>
              </a:extLst>
            </p:cNvPr>
            <p:cNvSpPr/>
            <p:nvPr/>
          </p:nvSpPr>
          <p:spPr>
            <a:xfrm>
              <a:off x="4272622" y="1567332"/>
              <a:ext cx="113035" cy="59179"/>
            </a:xfrm>
            <a:custGeom>
              <a:avLst/>
              <a:gdLst/>
              <a:ahLst/>
              <a:cxnLst/>
              <a:rect l="l" t="t" r="r" b="b"/>
              <a:pathLst>
                <a:path w="113035" h="59179" extrusionOk="0">
                  <a:moveTo>
                    <a:pt x="113011" y="0"/>
                  </a:moveTo>
                  <a:cubicBezTo>
                    <a:pt x="111205" y="11335"/>
                    <a:pt x="102080" y="14478"/>
                    <a:pt x="92766" y="20288"/>
                  </a:cubicBezTo>
                  <a:cubicBezTo>
                    <a:pt x="79459" y="28575"/>
                    <a:pt x="67674" y="40576"/>
                    <a:pt x="53797" y="47625"/>
                  </a:cubicBezTo>
                  <a:cubicBezTo>
                    <a:pt x="39920" y="54673"/>
                    <a:pt x="9030" y="60579"/>
                    <a:pt x="0" y="44101"/>
                  </a:cubicBezTo>
                  <a:cubicBezTo>
                    <a:pt x="4847" y="66294"/>
                    <a:pt x="41060" y="59341"/>
                    <a:pt x="54747" y="52388"/>
                  </a:cubicBezTo>
                  <a:cubicBezTo>
                    <a:pt x="68434" y="45434"/>
                    <a:pt x="80029" y="33338"/>
                    <a:pt x="92766" y="25527"/>
                  </a:cubicBezTo>
                  <a:cubicBezTo>
                    <a:pt x="102271" y="19621"/>
                    <a:pt x="111775" y="16669"/>
                    <a:pt x="112821" y="4763"/>
                  </a:cubicBezTo>
                  <a:cubicBezTo>
                    <a:pt x="113011" y="3181"/>
                    <a:pt x="113077" y="1591"/>
                    <a:pt x="11301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" name="Google Shape;2420;p37">
              <a:extLst>
                <a:ext uri="{FF2B5EF4-FFF2-40B4-BE49-F238E27FC236}">
                  <a16:creationId xmlns:a16="http://schemas.microsoft.com/office/drawing/2014/main" id="{DCB9A06A-4AE4-4AF5-BC08-A67145D9BB66}"/>
                </a:ext>
              </a:extLst>
            </p:cNvPr>
            <p:cNvSpPr/>
            <p:nvPr/>
          </p:nvSpPr>
          <p:spPr>
            <a:xfrm>
              <a:off x="4135669" y="1458312"/>
              <a:ext cx="113522" cy="85076"/>
            </a:xfrm>
            <a:custGeom>
              <a:avLst/>
              <a:gdLst/>
              <a:ahLst/>
              <a:cxnLst/>
              <a:rect l="l" t="t" r="r" b="b"/>
              <a:pathLst>
                <a:path w="113522" h="85076" extrusionOk="0">
                  <a:moveTo>
                    <a:pt x="102832" y="54"/>
                  </a:moveTo>
                  <a:cubicBezTo>
                    <a:pt x="89240" y="11198"/>
                    <a:pt x="65383" y="-898"/>
                    <a:pt x="64338" y="54"/>
                  </a:cubicBezTo>
                  <a:cubicBezTo>
                    <a:pt x="50176" y="14503"/>
                    <a:pt x="35168" y="28084"/>
                    <a:pt x="19381" y="40726"/>
                  </a:cubicBezTo>
                  <a:cubicBezTo>
                    <a:pt x="10827" y="47489"/>
                    <a:pt x="-2385" y="56442"/>
                    <a:pt x="371" y="69301"/>
                  </a:cubicBezTo>
                  <a:cubicBezTo>
                    <a:pt x="4648" y="92351"/>
                    <a:pt x="41432" y="85303"/>
                    <a:pt x="55403" y="78254"/>
                  </a:cubicBezTo>
                  <a:cubicBezTo>
                    <a:pt x="69375" y="71206"/>
                    <a:pt x="80591" y="59204"/>
                    <a:pt x="93422" y="51299"/>
                  </a:cubicBezTo>
                  <a:cubicBezTo>
                    <a:pt x="102927" y="45488"/>
                    <a:pt x="112432" y="42440"/>
                    <a:pt x="113477" y="30629"/>
                  </a:cubicBezTo>
                  <a:cubicBezTo>
                    <a:pt x="114238" y="23486"/>
                    <a:pt x="105303" y="-232"/>
                    <a:pt x="102832" y="5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" name="Google Shape;2421;p37">
              <a:extLst>
                <a:ext uri="{FF2B5EF4-FFF2-40B4-BE49-F238E27FC236}">
                  <a16:creationId xmlns:a16="http://schemas.microsoft.com/office/drawing/2014/main" id="{6CFFB06D-24B2-48F3-B048-A378319D9DD0}"/>
                </a:ext>
              </a:extLst>
            </p:cNvPr>
            <p:cNvSpPr/>
            <p:nvPr/>
          </p:nvSpPr>
          <p:spPr>
            <a:xfrm>
              <a:off x="4135660" y="1485798"/>
              <a:ext cx="113035" cy="59179"/>
            </a:xfrm>
            <a:custGeom>
              <a:avLst/>
              <a:gdLst/>
              <a:ahLst/>
              <a:cxnLst/>
              <a:rect l="l" t="t" r="r" b="b"/>
              <a:pathLst>
                <a:path w="113035" h="59179" extrusionOk="0">
                  <a:moveTo>
                    <a:pt x="113011" y="0"/>
                  </a:moveTo>
                  <a:cubicBezTo>
                    <a:pt x="111205" y="11335"/>
                    <a:pt x="102080" y="14478"/>
                    <a:pt x="92766" y="20288"/>
                  </a:cubicBezTo>
                  <a:cubicBezTo>
                    <a:pt x="79459" y="28575"/>
                    <a:pt x="67673" y="40577"/>
                    <a:pt x="53796" y="47625"/>
                  </a:cubicBezTo>
                  <a:cubicBezTo>
                    <a:pt x="39920" y="54674"/>
                    <a:pt x="8934" y="60579"/>
                    <a:pt x="0" y="44101"/>
                  </a:cubicBezTo>
                  <a:cubicBezTo>
                    <a:pt x="4847" y="66294"/>
                    <a:pt x="40965" y="59341"/>
                    <a:pt x="54747" y="52388"/>
                  </a:cubicBezTo>
                  <a:cubicBezTo>
                    <a:pt x="68529" y="45434"/>
                    <a:pt x="79934" y="33338"/>
                    <a:pt x="92766" y="25432"/>
                  </a:cubicBezTo>
                  <a:cubicBezTo>
                    <a:pt x="102270" y="19622"/>
                    <a:pt x="111775" y="16669"/>
                    <a:pt x="112821" y="4763"/>
                  </a:cubicBezTo>
                  <a:cubicBezTo>
                    <a:pt x="113011" y="3183"/>
                    <a:pt x="113077" y="1590"/>
                    <a:pt x="11301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Google Shape;2422;p37">
              <a:extLst>
                <a:ext uri="{FF2B5EF4-FFF2-40B4-BE49-F238E27FC236}">
                  <a16:creationId xmlns:a16="http://schemas.microsoft.com/office/drawing/2014/main" id="{97C4FA58-DAFF-455E-83B8-BFA74DA5397E}"/>
                </a:ext>
              </a:extLst>
            </p:cNvPr>
            <p:cNvSpPr/>
            <p:nvPr/>
          </p:nvSpPr>
          <p:spPr>
            <a:xfrm>
              <a:off x="4163850" y="1066881"/>
              <a:ext cx="398264" cy="482949"/>
            </a:xfrm>
            <a:custGeom>
              <a:avLst/>
              <a:gdLst/>
              <a:ahLst/>
              <a:cxnLst/>
              <a:rect l="l" t="t" r="r" b="b"/>
              <a:pathLst>
                <a:path w="398264" h="482949" extrusionOk="0">
                  <a:moveTo>
                    <a:pt x="395149" y="33155"/>
                  </a:moveTo>
                  <a:cubicBezTo>
                    <a:pt x="410261" y="127833"/>
                    <a:pt x="368346" y="163171"/>
                    <a:pt x="313789" y="183269"/>
                  </a:cubicBezTo>
                  <a:cubicBezTo>
                    <a:pt x="274630" y="197747"/>
                    <a:pt x="218742" y="220035"/>
                    <a:pt x="218742" y="220035"/>
                  </a:cubicBezTo>
                  <a:cubicBezTo>
                    <a:pt x="218742" y="220035"/>
                    <a:pt x="219502" y="240800"/>
                    <a:pt x="219882" y="287377"/>
                  </a:cubicBezTo>
                  <a:cubicBezTo>
                    <a:pt x="219882" y="328430"/>
                    <a:pt x="214940" y="477877"/>
                    <a:pt x="214940" y="477877"/>
                  </a:cubicBezTo>
                  <a:cubicBezTo>
                    <a:pt x="201814" y="484641"/>
                    <a:pt x="186245" y="484641"/>
                    <a:pt x="173119" y="477877"/>
                  </a:cubicBezTo>
                  <a:cubicBezTo>
                    <a:pt x="173119" y="477877"/>
                    <a:pt x="151164" y="363101"/>
                    <a:pt x="146506" y="311285"/>
                  </a:cubicBezTo>
                  <a:cubicBezTo>
                    <a:pt x="140138" y="241085"/>
                    <a:pt x="129398" y="195080"/>
                    <a:pt x="133010" y="179935"/>
                  </a:cubicBezTo>
                  <a:cubicBezTo>
                    <a:pt x="136146" y="166600"/>
                    <a:pt x="212754" y="128881"/>
                    <a:pt x="237086" y="108688"/>
                  </a:cubicBezTo>
                  <a:lnTo>
                    <a:pt x="76552" y="162599"/>
                  </a:lnTo>
                  <a:cubicBezTo>
                    <a:pt x="79745" y="180037"/>
                    <a:pt x="81304" y="197735"/>
                    <a:pt x="81209" y="215463"/>
                  </a:cubicBezTo>
                  <a:cubicBezTo>
                    <a:pt x="79783" y="271184"/>
                    <a:pt x="76647" y="391866"/>
                    <a:pt x="76647" y="391866"/>
                  </a:cubicBezTo>
                  <a:cubicBezTo>
                    <a:pt x="76647" y="391866"/>
                    <a:pt x="54691" y="407773"/>
                    <a:pt x="35872" y="391866"/>
                  </a:cubicBezTo>
                  <a:cubicBezTo>
                    <a:pt x="35872" y="391866"/>
                    <a:pt x="-4523" y="153074"/>
                    <a:pt x="419" y="121451"/>
                  </a:cubicBezTo>
                  <a:cubicBezTo>
                    <a:pt x="5077" y="91448"/>
                    <a:pt x="146506" y="30107"/>
                    <a:pt x="171504" y="8961"/>
                  </a:cubicBezTo>
                  <a:cubicBezTo>
                    <a:pt x="180286" y="1807"/>
                    <a:pt x="191692" y="-1275"/>
                    <a:pt x="202869" y="4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6" name="Google Shape;2423;p37">
              <a:extLst>
                <a:ext uri="{FF2B5EF4-FFF2-40B4-BE49-F238E27FC236}">
                  <a16:creationId xmlns:a16="http://schemas.microsoft.com/office/drawing/2014/main" id="{9384D996-FF7C-47FF-A039-B34CA734D1BA}"/>
                </a:ext>
              </a:extLst>
            </p:cNvPr>
            <p:cNvSpPr/>
            <p:nvPr/>
          </p:nvSpPr>
          <p:spPr>
            <a:xfrm>
              <a:off x="4403391" y="743705"/>
              <a:ext cx="125692" cy="122150"/>
            </a:xfrm>
            <a:custGeom>
              <a:avLst/>
              <a:gdLst/>
              <a:ahLst/>
              <a:cxnLst/>
              <a:rect l="l" t="t" r="r" b="b"/>
              <a:pathLst>
                <a:path w="125692" h="122150" extrusionOk="0">
                  <a:moveTo>
                    <a:pt x="100101" y="0"/>
                  </a:moveTo>
                  <a:cubicBezTo>
                    <a:pt x="100101" y="0"/>
                    <a:pt x="97725" y="45053"/>
                    <a:pt x="98770" y="49054"/>
                  </a:cubicBezTo>
                  <a:cubicBezTo>
                    <a:pt x="99816" y="53054"/>
                    <a:pt x="119395" y="66294"/>
                    <a:pt x="125098" y="71057"/>
                  </a:cubicBezTo>
                  <a:cubicBezTo>
                    <a:pt x="130801" y="75819"/>
                    <a:pt x="94018" y="112205"/>
                    <a:pt x="76149" y="120396"/>
                  </a:cubicBezTo>
                  <a:cubicBezTo>
                    <a:pt x="58280" y="128588"/>
                    <a:pt x="1442" y="106966"/>
                    <a:pt x="112" y="78962"/>
                  </a:cubicBezTo>
                  <a:cubicBezTo>
                    <a:pt x="-1219" y="50959"/>
                    <a:pt x="9616" y="27622"/>
                    <a:pt x="18550" y="26384"/>
                  </a:cubicBezTo>
                  <a:cubicBezTo>
                    <a:pt x="27485" y="25146"/>
                    <a:pt x="100101" y="0"/>
                    <a:pt x="100101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7" name="Google Shape;2424;p37">
              <a:extLst>
                <a:ext uri="{FF2B5EF4-FFF2-40B4-BE49-F238E27FC236}">
                  <a16:creationId xmlns:a16="http://schemas.microsoft.com/office/drawing/2014/main" id="{EB14524B-2E28-4625-A3A7-38445F88FC41}"/>
                </a:ext>
              </a:extLst>
            </p:cNvPr>
            <p:cNvSpPr/>
            <p:nvPr/>
          </p:nvSpPr>
          <p:spPr>
            <a:xfrm>
              <a:off x="4358991" y="760843"/>
              <a:ext cx="203859" cy="398340"/>
            </a:xfrm>
            <a:custGeom>
              <a:avLst/>
              <a:gdLst/>
              <a:ahLst/>
              <a:cxnLst/>
              <a:rect l="l" t="t" r="r" b="b"/>
              <a:pathLst>
                <a:path w="203859" h="398340" extrusionOk="0">
                  <a:moveTo>
                    <a:pt x="149443" y="39726"/>
                  </a:moveTo>
                  <a:cubicBezTo>
                    <a:pt x="149443" y="39726"/>
                    <a:pt x="116842" y="88494"/>
                    <a:pt x="71315" y="93066"/>
                  </a:cubicBezTo>
                  <a:cubicBezTo>
                    <a:pt x="56963" y="78874"/>
                    <a:pt x="55632" y="28392"/>
                    <a:pt x="75497" y="12294"/>
                  </a:cubicBezTo>
                  <a:cubicBezTo>
                    <a:pt x="75497" y="12294"/>
                    <a:pt x="57248" y="-2565"/>
                    <a:pt x="44702" y="388"/>
                  </a:cubicBezTo>
                  <a:cubicBezTo>
                    <a:pt x="31110" y="8435"/>
                    <a:pt x="20959" y="21220"/>
                    <a:pt x="16187" y="36297"/>
                  </a:cubicBezTo>
                  <a:cubicBezTo>
                    <a:pt x="4525" y="69955"/>
                    <a:pt x="-912" y="105459"/>
                    <a:pt x="125" y="141073"/>
                  </a:cubicBezTo>
                  <a:cubicBezTo>
                    <a:pt x="885" y="188697"/>
                    <a:pt x="125" y="309760"/>
                    <a:pt x="125" y="309760"/>
                  </a:cubicBezTo>
                  <a:cubicBezTo>
                    <a:pt x="5533" y="338651"/>
                    <a:pt x="22993" y="363848"/>
                    <a:pt x="48123" y="379007"/>
                  </a:cubicBezTo>
                  <a:cubicBezTo>
                    <a:pt x="81028" y="397713"/>
                    <a:pt x="119827" y="403098"/>
                    <a:pt x="156572" y="394057"/>
                  </a:cubicBezTo>
                  <a:cubicBezTo>
                    <a:pt x="179668" y="388627"/>
                    <a:pt x="188222" y="375769"/>
                    <a:pt x="196206" y="358909"/>
                  </a:cubicBezTo>
                  <a:cubicBezTo>
                    <a:pt x="194115" y="325476"/>
                    <a:pt x="180904" y="256420"/>
                    <a:pt x="186702" y="214224"/>
                  </a:cubicBezTo>
                  <a:cubicBezTo>
                    <a:pt x="192499" y="172029"/>
                    <a:pt x="201149" y="140596"/>
                    <a:pt x="203430" y="106592"/>
                  </a:cubicBezTo>
                  <a:cubicBezTo>
                    <a:pt x="205711" y="72588"/>
                    <a:pt x="198963" y="73159"/>
                    <a:pt x="181854" y="60967"/>
                  </a:cubicBezTo>
                  <a:cubicBezTo>
                    <a:pt x="171580" y="53111"/>
                    <a:pt x="160744" y="46012"/>
                    <a:pt x="149443" y="39726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2425;p37">
              <a:extLst>
                <a:ext uri="{FF2B5EF4-FFF2-40B4-BE49-F238E27FC236}">
                  <a16:creationId xmlns:a16="http://schemas.microsoft.com/office/drawing/2014/main" id="{FB6C52FF-51D1-4A18-A5DE-25CC38991161}"/>
                </a:ext>
              </a:extLst>
            </p:cNvPr>
            <p:cNvSpPr/>
            <p:nvPr/>
          </p:nvSpPr>
          <p:spPr>
            <a:xfrm>
              <a:off x="4398650" y="616917"/>
              <a:ext cx="135166" cy="164844"/>
            </a:xfrm>
            <a:custGeom>
              <a:avLst/>
              <a:gdLst/>
              <a:ahLst/>
              <a:cxnLst/>
              <a:rect l="l" t="t" r="r" b="b"/>
              <a:pathLst>
                <a:path w="135166" h="164844" extrusionOk="0">
                  <a:moveTo>
                    <a:pt x="2951" y="59542"/>
                  </a:moveTo>
                  <a:lnTo>
                    <a:pt x="2951" y="59542"/>
                  </a:lnTo>
                  <a:cubicBezTo>
                    <a:pt x="8369" y="24585"/>
                    <a:pt x="33556" y="-1894"/>
                    <a:pt x="69484" y="106"/>
                  </a:cubicBezTo>
                  <a:cubicBezTo>
                    <a:pt x="107645" y="2052"/>
                    <a:pt x="137015" y="34634"/>
                    <a:pt x="135076" y="72881"/>
                  </a:cubicBezTo>
                  <a:cubicBezTo>
                    <a:pt x="133974" y="94625"/>
                    <a:pt x="122739" y="114587"/>
                    <a:pt x="104747" y="126789"/>
                  </a:cubicBezTo>
                  <a:cubicBezTo>
                    <a:pt x="103473" y="132100"/>
                    <a:pt x="101591" y="137245"/>
                    <a:pt x="99139" y="142124"/>
                  </a:cubicBezTo>
                  <a:cubicBezTo>
                    <a:pt x="86498" y="156983"/>
                    <a:pt x="48003" y="166508"/>
                    <a:pt x="36788" y="164603"/>
                  </a:cubicBezTo>
                  <a:cubicBezTo>
                    <a:pt x="23358" y="163381"/>
                    <a:pt x="12047" y="154047"/>
                    <a:pt x="8274" y="141076"/>
                  </a:cubicBezTo>
                  <a:cubicBezTo>
                    <a:pt x="-3702" y="113644"/>
                    <a:pt x="5" y="76878"/>
                    <a:pt x="2951" y="595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" name="Google Shape;2426;p37">
              <a:extLst>
                <a:ext uri="{FF2B5EF4-FFF2-40B4-BE49-F238E27FC236}">
                  <a16:creationId xmlns:a16="http://schemas.microsoft.com/office/drawing/2014/main" id="{A36251F9-1BE7-45BF-ABCA-30A3316C25CF}"/>
                </a:ext>
              </a:extLst>
            </p:cNvPr>
            <p:cNvSpPr/>
            <p:nvPr/>
          </p:nvSpPr>
          <p:spPr>
            <a:xfrm>
              <a:off x="4403852" y="602477"/>
              <a:ext cx="142520" cy="141227"/>
            </a:xfrm>
            <a:custGeom>
              <a:avLst/>
              <a:gdLst/>
              <a:ahLst/>
              <a:cxnLst/>
              <a:rect l="l" t="t" r="r" b="b"/>
              <a:pathLst>
                <a:path w="142520" h="141227" extrusionOk="0">
                  <a:moveTo>
                    <a:pt x="99640" y="141228"/>
                  </a:moveTo>
                  <a:lnTo>
                    <a:pt x="99640" y="141228"/>
                  </a:lnTo>
                  <a:lnTo>
                    <a:pt x="96313" y="110653"/>
                  </a:lnTo>
                  <a:cubicBezTo>
                    <a:pt x="96313" y="110653"/>
                    <a:pt x="121215" y="46073"/>
                    <a:pt x="62381" y="58456"/>
                  </a:cubicBezTo>
                  <a:cubicBezTo>
                    <a:pt x="23602" y="66647"/>
                    <a:pt x="13812" y="70267"/>
                    <a:pt x="2027" y="44168"/>
                  </a:cubicBezTo>
                  <a:cubicBezTo>
                    <a:pt x="-9759" y="18070"/>
                    <a:pt x="31586" y="-5457"/>
                    <a:pt x="81296" y="1115"/>
                  </a:cubicBezTo>
                  <a:cubicBezTo>
                    <a:pt x="116615" y="4775"/>
                    <a:pt x="143238" y="34972"/>
                    <a:pt x="142506" y="70552"/>
                  </a:cubicBezTo>
                  <a:cubicBezTo>
                    <a:pt x="141270" y="89793"/>
                    <a:pt x="136138" y="128655"/>
                    <a:pt x="99640" y="141228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0" name="Google Shape;2427;p37">
              <a:extLst>
                <a:ext uri="{FF2B5EF4-FFF2-40B4-BE49-F238E27FC236}">
                  <a16:creationId xmlns:a16="http://schemas.microsoft.com/office/drawing/2014/main" id="{F8D75C08-C91E-4768-BF05-DFF6CEADCC66}"/>
                </a:ext>
              </a:extLst>
            </p:cNvPr>
            <p:cNvSpPr/>
            <p:nvPr/>
          </p:nvSpPr>
          <p:spPr>
            <a:xfrm>
              <a:off x="4338015" y="761231"/>
              <a:ext cx="65677" cy="95630"/>
            </a:xfrm>
            <a:custGeom>
              <a:avLst/>
              <a:gdLst/>
              <a:ahLst/>
              <a:cxnLst/>
              <a:rect l="l" t="t" r="r" b="b"/>
              <a:pathLst>
                <a:path w="65677" h="95630" extrusionOk="0">
                  <a:moveTo>
                    <a:pt x="23762" y="95631"/>
                  </a:moveTo>
                  <a:cubicBezTo>
                    <a:pt x="14780" y="95307"/>
                    <a:pt x="6264" y="91519"/>
                    <a:pt x="0" y="85058"/>
                  </a:cubicBezTo>
                  <a:cubicBezTo>
                    <a:pt x="1331" y="68294"/>
                    <a:pt x="22716" y="4667"/>
                    <a:pt x="65677" y="0"/>
                  </a:cubicBezTo>
                  <a:cubicBezTo>
                    <a:pt x="53987" y="8214"/>
                    <a:pt x="44729" y="19435"/>
                    <a:pt x="38874" y="32480"/>
                  </a:cubicBezTo>
                  <a:cubicBezTo>
                    <a:pt x="32192" y="53100"/>
                    <a:pt x="27136" y="74216"/>
                    <a:pt x="23762" y="9563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" name="Google Shape;2428;p37">
              <a:extLst>
                <a:ext uri="{FF2B5EF4-FFF2-40B4-BE49-F238E27FC236}">
                  <a16:creationId xmlns:a16="http://schemas.microsoft.com/office/drawing/2014/main" id="{11002500-71EE-4611-A1B1-3331DE633344}"/>
                </a:ext>
              </a:extLst>
            </p:cNvPr>
            <p:cNvSpPr/>
            <p:nvPr/>
          </p:nvSpPr>
          <p:spPr>
            <a:xfrm>
              <a:off x="5408528" y="1603174"/>
              <a:ext cx="974325" cy="1973896"/>
            </a:xfrm>
            <a:custGeom>
              <a:avLst/>
              <a:gdLst/>
              <a:ahLst/>
              <a:cxnLst/>
              <a:rect l="l" t="t" r="r" b="b"/>
              <a:pathLst>
                <a:path w="974325" h="1973896" extrusionOk="0">
                  <a:moveTo>
                    <a:pt x="884126" y="1962979"/>
                  </a:moveTo>
                  <a:lnTo>
                    <a:pt x="90295" y="1503684"/>
                  </a:lnTo>
                  <a:cubicBezTo>
                    <a:pt x="40395" y="1475109"/>
                    <a:pt x="0" y="1397480"/>
                    <a:pt x="0" y="1330900"/>
                  </a:cubicBezTo>
                  <a:lnTo>
                    <a:pt x="0" y="79220"/>
                  </a:lnTo>
                  <a:cubicBezTo>
                    <a:pt x="0" y="12545"/>
                    <a:pt x="40395" y="-17935"/>
                    <a:pt x="90295" y="10831"/>
                  </a:cubicBezTo>
                  <a:lnTo>
                    <a:pt x="884126" y="470221"/>
                  </a:lnTo>
                  <a:cubicBezTo>
                    <a:pt x="933931" y="498796"/>
                    <a:pt x="974326" y="576425"/>
                    <a:pt x="974326" y="643005"/>
                  </a:cubicBezTo>
                  <a:lnTo>
                    <a:pt x="974326" y="1894876"/>
                  </a:lnTo>
                  <a:cubicBezTo>
                    <a:pt x="974326" y="1961551"/>
                    <a:pt x="933931" y="1991840"/>
                    <a:pt x="884126" y="1962979"/>
                  </a:cubicBez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" name="Google Shape;2429;p37">
              <a:extLst>
                <a:ext uri="{FF2B5EF4-FFF2-40B4-BE49-F238E27FC236}">
                  <a16:creationId xmlns:a16="http://schemas.microsoft.com/office/drawing/2014/main" id="{02638216-DB4F-48AC-BA20-A4012CE5CDD1}"/>
                </a:ext>
              </a:extLst>
            </p:cNvPr>
            <p:cNvSpPr/>
            <p:nvPr/>
          </p:nvSpPr>
          <p:spPr>
            <a:xfrm>
              <a:off x="6324400" y="3534911"/>
              <a:ext cx="27183" cy="49530"/>
            </a:xfrm>
            <a:custGeom>
              <a:avLst/>
              <a:gdLst/>
              <a:ahLst/>
              <a:cxnLst/>
              <a:rect l="l" t="t" r="r" b="b"/>
              <a:pathLst>
                <a:path w="27183" h="49530" extrusionOk="0">
                  <a:moveTo>
                    <a:pt x="0" y="49530"/>
                  </a:moveTo>
                  <a:lnTo>
                    <a:pt x="27184" y="36100"/>
                  </a:lnTo>
                  <a:lnTo>
                    <a:pt x="8840" y="0"/>
                  </a:lnTo>
                  <a:lnTo>
                    <a:pt x="0" y="49530"/>
                  </a:ln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3" name="Google Shape;2430;p37">
              <a:extLst>
                <a:ext uri="{FF2B5EF4-FFF2-40B4-BE49-F238E27FC236}">
                  <a16:creationId xmlns:a16="http://schemas.microsoft.com/office/drawing/2014/main" id="{36457BEB-8570-4B6B-B662-6B7B1FD9E0C2}"/>
                </a:ext>
              </a:extLst>
            </p:cNvPr>
            <p:cNvSpPr/>
            <p:nvPr/>
          </p:nvSpPr>
          <p:spPr>
            <a:xfrm>
              <a:off x="5423355" y="1605432"/>
              <a:ext cx="45242" cy="39909"/>
            </a:xfrm>
            <a:custGeom>
              <a:avLst/>
              <a:gdLst/>
              <a:ahLst/>
              <a:cxnLst/>
              <a:rect l="l" t="t" r="r" b="b"/>
              <a:pathLst>
                <a:path w="45242" h="39909" extrusionOk="0">
                  <a:moveTo>
                    <a:pt x="0" y="12097"/>
                  </a:moveTo>
                  <a:cubicBezTo>
                    <a:pt x="7993" y="7334"/>
                    <a:pt x="16396" y="3286"/>
                    <a:pt x="25092" y="0"/>
                  </a:cubicBezTo>
                  <a:lnTo>
                    <a:pt x="45242" y="39910"/>
                  </a:ln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4" name="Google Shape;2431;p37">
              <a:extLst>
                <a:ext uri="{FF2B5EF4-FFF2-40B4-BE49-F238E27FC236}">
                  <a16:creationId xmlns:a16="http://schemas.microsoft.com/office/drawing/2014/main" id="{30D3F231-9C09-4BE5-8F3F-252EA254FDAE}"/>
                </a:ext>
              </a:extLst>
            </p:cNvPr>
            <p:cNvSpPr/>
            <p:nvPr/>
          </p:nvSpPr>
          <p:spPr>
            <a:xfrm>
              <a:off x="5387713" y="1613611"/>
              <a:ext cx="974325" cy="1973876"/>
            </a:xfrm>
            <a:custGeom>
              <a:avLst/>
              <a:gdLst/>
              <a:ahLst/>
              <a:cxnLst/>
              <a:rect l="l" t="t" r="r" b="b"/>
              <a:pathLst>
                <a:path w="974325" h="1973876" extrusionOk="0">
                  <a:moveTo>
                    <a:pt x="884126" y="1963020"/>
                  </a:moveTo>
                  <a:lnTo>
                    <a:pt x="90199" y="1503439"/>
                  </a:lnTo>
                  <a:cubicBezTo>
                    <a:pt x="40395" y="1474864"/>
                    <a:pt x="0" y="1397235"/>
                    <a:pt x="0" y="1330655"/>
                  </a:cubicBezTo>
                  <a:lnTo>
                    <a:pt x="0" y="79261"/>
                  </a:lnTo>
                  <a:cubicBezTo>
                    <a:pt x="0" y="12586"/>
                    <a:pt x="40395" y="-17990"/>
                    <a:pt x="90199" y="10871"/>
                  </a:cubicBezTo>
                  <a:lnTo>
                    <a:pt x="884126" y="470262"/>
                  </a:lnTo>
                  <a:cubicBezTo>
                    <a:pt x="933931" y="498837"/>
                    <a:pt x="974326" y="576370"/>
                    <a:pt x="974326" y="642950"/>
                  </a:cubicBezTo>
                  <a:lnTo>
                    <a:pt x="974326" y="1894630"/>
                  </a:lnTo>
                  <a:cubicBezTo>
                    <a:pt x="974326" y="1961210"/>
                    <a:pt x="933931" y="1991881"/>
                    <a:pt x="884126" y="1963020"/>
                  </a:cubicBezTo>
                  <a:close/>
                </a:path>
              </a:pathLst>
            </a:custGeom>
            <a:solidFill>
              <a:srgbClr val="2E245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5" name="Google Shape;2432;p37">
              <a:extLst>
                <a:ext uri="{FF2B5EF4-FFF2-40B4-BE49-F238E27FC236}">
                  <a16:creationId xmlns:a16="http://schemas.microsoft.com/office/drawing/2014/main" id="{D5C65310-8FFD-4C0A-9252-17D16D3668D5}"/>
                </a:ext>
              </a:extLst>
            </p:cNvPr>
            <p:cNvSpPr/>
            <p:nvPr/>
          </p:nvSpPr>
          <p:spPr>
            <a:xfrm>
              <a:off x="5477912" y="1749736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6" name="Google Shape;2433;p37">
              <a:extLst>
                <a:ext uri="{FF2B5EF4-FFF2-40B4-BE49-F238E27FC236}">
                  <a16:creationId xmlns:a16="http://schemas.microsoft.com/office/drawing/2014/main" id="{9BDC5983-8AF4-4C8F-B6BF-3D6AE78CE376}"/>
                </a:ext>
              </a:extLst>
            </p:cNvPr>
            <p:cNvSpPr/>
            <p:nvPr/>
          </p:nvSpPr>
          <p:spPr>
            <a:xfrm>
              <a:off x="5649377" y="1848986"/>
              <a:ext cx="613432" cy="407098"/>
            </a:xfrm>
            <a:custGeom>
              <a:avLst/>
              <a:gdLst/>
              <a:ahLst/>
              <a:cxnLst/>
              <a:rect l="l" t="t" r="r" b="b"/>
              <a:pathLst>
                <a:path w="613432" h="407098" extrusionOk="0">
                  <a:moveTo>
                    <a:pt x="613433" y="407099"/>
                  </a:moveTo>
                  <a:lnTo>
                    <a:pt x="0" y="52102"/>
                  </a:lnTo>
                  <a:lnTo>
                    <a:pt x="0" y="0"/>
                  </a:lnTo>
                  <a:lnTo>
                    <a:pt x="613433" y="354902"/>
                  </a:lnTo>
                  <a:lnTo>
                    <a:pt x="613433" y="40709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7" name="Google Shape;2434;p37">
              <a:extLst>
                <a:ext uri="{FF2B5EF4-FFF2-40B4-BE49-F238E27FC236}">
                  <a16:creationId xmlns:a16="http://schemas.microsoft.com/office/drawing/2014/main" id="{8D4B6FDC-7D24-421B-81FE-59D1B53542E2}"/>
                </a:ext>
              </a:extLst>
            </p:cNvPr>
            <p:cNvSpPr/>
            <p:nvPr/>
          </p:nvSpPr>
          <p:spPr>
            <a:xfrm>
              <a:off x="5477912" y="1916804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8" name="Google Shape;2435;p37">
              <a:extLst>
                <a:ext uri="{FF2B5EF4-FFF2-40B4-BE49-F238E27FC236}">
                  <a16:creationId xmlns:a16="http://schemas.microsoft.com/office/drawing/2014/main" id="{81CC60CA-A95C-48B2-8913-D4D528D59A6D}"/>
                </a:ext>
              </a:extLst>
            </p:cNvPr>
            <p:cNvSpPr/>
            <p:nvPr/>
          </p:nvSpPr>
          <p:spPr>
            <a:xfrm>
              <a:off x="5649377" y="2015959"/>
              <a:ext cx="405945" cy="287083"/>
            </a:xfrm>
            <a:custGeom>
              <a:avLst/>
              <a:gdLst/>
              <a:ahLst/>
              <a:cxnLst/>
              <a:rect l="l" t="t" r="r" b="b"/>
              <a:pathLst>
                <a:path w="405945" h="287083" extrusionOk="0">
                  <a:moveTo>
                    <a:pt x="405945" y="287084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05945" y="234887"/>
                  </a:lnTo>
                  <a:lnTo>
                    <a:pt x="405945" y="287084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9" name="Google Shape;2436;p37">
              <a:extLst>
                <a:ext uri="{FF2B5EF4-FFF2-40B4-BE49-F238E27FC236}">
                  <a16:creationId xmlns:a16="http://schemas.microsoft.com/office/drawing/2014/main" id="{BC7FFE06-7939-43AE-AF4B-67EA6513CCD7}"/>
                </a:ext>
              </a:extLst>
            </p:cNvPr>
            <p:cNvSpPr/>
            <p:nvPr/>
          </p:nvSpPr>
          <p:spPr>
            <a:xfrm>
              <a:off x="5477912" y="2000338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439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0" name="Google Shape;2437;p37">
              <a:extLst>
                <a:ext uri="{FF2B5EF4-FFF2-40B4-BE49-F238E27FC236}">
                  <a16:creationId xmlns:a16="http://schemas.microsoft.com/office/drawing/2014/main" id="{455D63E1-929C-40EA-8913-7AA63968924C}"/>
                </a:ext>
              </a:extLst>
            </p:cNvPr>
            <p:cNvSpPr/>
            <p:nvPr/>
          </p:nvSpPr>
          <p:spPr>
            <a:xfrm>
              <a:off x="5649377" y="2099494"/>
              <a:ext cx="505174" cy="344519"/>
            </a:xfrm>
            <a:custGeom>
              <a:avLst/>
              <a:gdLst/>
              <a:ahLst/>
              <a:cxnLst/>
              <a:rect l="l" t="t" r="r" b="b"/>
              <a:pathLst>
                <a:path w="505174" h="344519" extrusionOk="0">
                  <a:moveTo>
                    <a:pt x="505174" y="344519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505174" y="292322"/>
                  </a:lnTo>
                  <a:lnTo>
                    <a:pt x="505174" y="344519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1" name="Google Shape;2438;p37">
              <a:extLst>
                <a:ext uri="{FF2B5EF4-FFF2-40B4-BE49-F238E27FC236}">
                  <a16:creationId xmlns:a16="http://schemas.microsoft.com/office/drawing/2014/main" id="{427CBA9A-F36B-42E8-AA09-7EC4C10C7AEA}"/>
                </a:ext>
              </a:extLst>
            </p:cNvPr>
            <p:cNvSpPr/>
            <p:nvPr/>
          </p:nvSpPr>
          <p:spPr>
            <a:xfrm>
              <a:off x="5477912" y="2083778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2" name="Google Shape;2439;p37">
              <a:extLst>
                <a:ext uri="{FF2B5EF4-FFF2-40B4-BE49-F238E27FC236}">
                  <a16:creationId xmlns:a16="http://schemas.microsoft.com/office/drawing/2014/main" id="{FF9CA767-C15A-4C11-9241-473F655E6CC7}"/>
                </a:ext>
              </a:extLst>
            </p:cNvPr>
            <p:cNvSpPr/>
            <p:nvPr/>
          </p:nvSpPr>
          <p:spPr>
            <a:xfrm>
              <a:off x="5649377" y="2183028"/>
              <a:ext cx="351863" cy="255746"/>
            </a:xfrm>
            <a:custGeom>
              <a:avLst/>
              <a:gdLst/>
              <a:ahLst/>
              <a:cxnLst/>
              <a:rect l="l" t="t" r="r" b="b"/>
              <a:pathLst>
                <a:path w="351863" h="255746" extrusionOk="0">
                  <a:moveTo>
                    <a:pt x="351864" y="25574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51864" y="203549"/>
                  </a:lnTo>
                  <a:lnTo>
                    <a:pt x="351864" y="25574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3" name="Google Shape;2440;p37">
              <a:extLst>
                <a:ext uri="{FF2B5EF4-FFF2-40B4-BE49-F238E27FC236}">
                  <a16:creationId xmlns:a16="http://schemas.microsoft.com/office/drawing/2014/main" id="{E28478F0-B3A2-4830-9CF5-B33743E9ADE2}"/>
                </a:ext>
              </a:extLst>
            </p:cNvPr>
            <p:cNvSpPr/>
            <p:nvPr/>
          </p:nvSpPr>
          <p:spPr>
            <a:xfrm>
              <a:off x="5477912" y="1833270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4" name="Google Shape;2441;p37">
              <a:extLst>
                <a:ext uri="{FF2B5EF4-FFF2-40B4-BE49-F238E27FC236}">
                  <a16:creationId xmlns:a16="http://schemas.microsoft.com/office/drawing/2014/main" id="{3D8A542F-A918-4DD7-8790-70FCC80AF988}"/>
                </a:ext>
              </a:extLst>
            </p:cNvPr>
            <p:cNvSpPr/>
            <p:nvPr/>
          </p:nvSpPr>
          <p:spPr>
            <a:xfrm>
              <a:off x="5649377" y="1932425"/>
              <a:ext cx="306716" cy="229742"/>
            </a:xfrm>
            <a:custGeom>
              <a:avLst/>
              <a:gdLst/>
              <a:ahLst/>
              <a:cxnLst/>
              <a:rect l="l" t="t" r="r" b="b"/>
              <a:pathLst>
                <a:path w="306716" h="229742" extrusionOk="0">
                  <a:moveTo>
                    <a:pt x="306716" y="229743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06716" y="177451"/>
                  </a:lnTo>
                  <a:lnTo>
                    <a:pt x="306716" y="229743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5" name="Google Shape;2442;p37">
              <a:extLst>
                <a:ext uri="{FF2B5EF4-FFF2-40B4-BE49-F238E27FC236}">
                  <a16:creationId xmlns:a16="http://schemas.microsoft.com/office/drawing/2014/main" id="{F890066D-3F6A-4932-9FC6-D00E34D82012}"/>
                </a:ext>
              </a:extLst>
            </p:cNvPr>
            <p:cNvSpPr/>
            <p:nvPr/>
          </p:nvSpPr>
          <p:spPr>
            <a:xfrm>
              <a:off x="5477912" y="2167312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6" name="Google Shape;2443;p37">
              <a:extLst>
                <a:ext uri="{FF2B5EF4-FFF2-40B4-BE49-F238E27FC236}">
                  <a16:creationId xmlns:a16="http://schemas.microsoft.com/office/drawing/2014/main" id="{75B1CE55-2CD9-46D0-B131-ABB2AB894500}"/>
                </a:ext>
              </a:extLst>
            </p:cNvPr>
            <p:cNvSpPr/>
            <p:nvPr/>
          </p:nvSpPr>
          <p:spPr>
            <a:xfrm>
              <a:off x="5649377" y="2266467"/>
              <a:ext cx="180399" cy="156591"/>
            </a:xfrm>
            <a:custGeom>
              <a:avLst/>
              <a:gdLst/>
              <a:ahLst/>
              <a:cxnLst/>
              <a:rect l="l" t="t" r="r" b="b"/>
              <a:pathLst>
                <a:path w="180399" h="156591" extrusionOk="0">
                  <a:moveTo>
                    <a:pt x="180399" y="15659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80399" y="104394"/>
                  </a:lnTo>
                  <a:lnTo>
                    <a:pt x="180399" y="15659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7" name="Google Shape;2444;p37">
              <a:extLst>
                <a:ext uri="{FF2B5EF4-FFF2-40B4-BE49-F238E27FC236}">
                  <a16:creationId xmlns:a16="http://schemas.microsoft.com/office/drawing/2014/main" id="{D8EECBB3-FF4E-4429-B362-A9FDD588FB47}"/>
                </a:ext>
              </a:extLst>
            </p:cNvPr>
            <p:cNvSpPr/>
            <p:nvPr/>
          </p:nvSpPr>
          <p:spPr>
            <a:xfrm>
              <a:off x="5477912" y="2334380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8" name="Google Shape;2445;p37">
              <a:extLst>
                <a:ext uri="{FF2B5EF4-FFF2-40B4-BE49-F238E27FC236}">
                  <a16:creationId xmlns:a16="http://schemas.microsoft.com/office/drawing/2014/main" id="{C6035A35-8757-4936-B41B-E989102844D4}"/>
                </a:ext>
              </a:extLst>
            </p:cNvPr>
            <p:cNvSpPr/>
            <p:nvPr/>
          </p:nvSpPr>
          <p:spPr>
            <a:xfrm>
              <a:off x="5649377" y="2433536"/>
              <a:ext cx="568380" cy="381000"/>
            </a:xfrm>
            <a:custGeom>
              <a:avLst/>
              <a:gdLst/>
              <a:ahLst/>
              <a:cxnLst/>
              <a:rect l="l" t="t" r="r" b="b"/>
              <a:pathLst>
                <a:path w="568380" h="381000" extrusionOk="0">
                  <a:moveTo>
                    <a:pt x="568380" y="381000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568380" y="328803"/>
                  </a:lnTo>
                  <a:lnTo>
                    <a:pt x="568380" y="381000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9" name="Google Shape;2446;p37">
              <a:extLst>
                <a:ext uri="{FF2B5EF4-FFF2-40B4-BE49-F238E27FC236}">
                  <a16:creationId xmlns:a16="http://schemas.microsoft.com/office/drawing/2014/main" id="{D84E155D-AC4F-419C-925D-FA36CBBF7E69}"/>
                </a:ext>
              </a:extLst>
            </p:cNvPr>
            <p:cNvSpPr/>
            <p:nvPr/>
          </p:nvSpPr>
          <p:spPr>
            <a:xfrm>
              <a:off x="5477912" y="2417819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0" name="Google Shape;2447;p37">
              <a:extLst>
                <a:ext uri="{FF2B5EF4-FFF2-40B4-BE49-F238E27FC236}">
                  <a16:creationId xmlns:a16="http://schemas.microsoft.com/office/drawing/2014/main" id="{2C6C88E2-DA25-4709-B05E-FC63B7CE2A71}"/>
                </a:ext>
              </a:extLst>
            </p:cNvPr>
            <p:cNvSpPr/>
            <p:nvPr/>
          </p:nvSpPr>
          <p:spPr>
            <a:xfrm>
              <a:off x="5649377" y="2517070"/>
              <a:ext cx="171369" cy="151352"/>
            </a:xfrm>
            <a:custGeom>
              <a:avLst/>
              <a:gdLst/>
              <a:ahLst/>
              <a:cxnLst/>
              <a:rect l="l" t="t" r="r" b="b"/>
              <a:pathLst>
                <a:path w="171369" h="151352" extrusionOk="0">
                  <a:moveTo>
                    <a:pt x="171370" y="151352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71370" y="99155"/>
                  </a:lnTo>
                  <a:lnTo>
                    <a:pt x="171370" y="151352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1" name="Google Shape;2448;p37">
              <a:extLst>
                <a:ext uri="{FF2B5EF4-FFF2-40B4-BE49-F238E27FC236}">
                  <a16:creationId xmlns:a16="http://schemas.microsoft.com/office/drawing/2014/main" id="{A1807F90-C5A0-4295-B696-FA397DBC9011}"/>
                </a:ext>
              </a:extLst>
            </p:cNvPr>
            <p:cNvSpPr/>
            <p:nvPr/>
          </p:nvSpPr>
          <p:spPr>
            <a:xfrm>
              <a:off x="5477912" y="2501354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2" name="Google Shape;2449;p37">
              <a:extLst>
                <a:ext uri="{FF2B5EF4-FFF2-40B4-BE49-F238E27FC236}">
                  <a16:creationId xmlns:a16="http://schemas.microsoft.com/office/drawing/2014/main" id="{37AF5E36-D520-4304-9504-13C1F574B79C}"/>
                </a:ext>
              </a:extLst>
            </p:cNvPr>
            <p:cNvSpPr/>
            <p:nvPr/>
          </p:nvSpPr>
          <p:spPr>
            <a:xfrm>
              <a:off x="5649377" y="2600604"/>
              <a:ext cx="505174" cy="344424"/>
            </a:xfrm>
            <a:custGeom>
              <a:avLst/>
              <a:gdLst/>
              <a:ahLst/>
              <a:cxnLst/>
              <a:rect l="l" t="t" r="r" b="b"/>
              <a:pathLst>
                <a:path w="505174" h="344424" extrusionOk="0">
                  <a:moveTo>
                    <a:pt x="505174" y="344424"/>
                  </a:moveTo>
                  <a:lnTo>
                    <a:pt x="0" y="52102"/>
                  </a:lnTo>
                  <a:lnTo>
                    <a:pt x="0" y="0"/>
                  </a:lnTo>
                  <a:lnTo>
                    <a:pt x="505174" y="292227"/>
                  </a:lnTo>
                  <a:lnTo>
                    <a:pt x="505174" y="344424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3" name="Google Shape;2450;p37">
              <a:extLst>
                <a:ext uri="{FF2B5EF4-FFF2-40B4-BE49-F238E27FC236}">
                  <a16:creationId xmlns:a16="http://schemas.microsoft.com/office/drawing/2014/main" id="{0F0FE4A2-15AC-4B2E-961F-189D700DB051}"/>
                </a:ext>
              </a:extLst>
            </p:cNvPr>
            <p:cNvSpPr/>
            <p:nvPr/>
          </p:nvSpPr>
          <p:spPr>
            <a:xfrm>
              <a:off x="5477912" y="2250846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" name="Google Shape;2451;p37">
              <a:extLst>
                <a:ext uri="{FF2B5EF4-FFF2-40B4-BE49-F238E27FC236}">
                  <a16:creationId xmlns:a16="http://schemas.microsoft.com/office/drawing/2014/main" id="{63DEC257-2F2A-4744-8CC0-D47A0F62ACA8}"/>
                </a:ext>
              </a:extLst>
            </p:cNvPr>
            <p:cNvSpPr/>
            <p:nvPr/>
          </p:nvSpPr>
          <p:spPr>
            <a:xfrm>
              <a:off x="5649377" y="2350001"/>
              <a:ext cx="478085" cy="328898"/>
            </a:xfrm>
            <a:custGeom>
              <a:avLst/>
              <a:gdLst/>
              <a:ahLst/>
              <a:cxnLst/>
              <a:rect l="l" t="t" r="r" b="b"/>
              <a:pathLst>
                <a:path w="478085" h="328898" extrusionOk="0">
                  <a:moveTo>
                    <a:pt x="478086" y="328898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78086" y="276701"/>
                  </a:lnTo>
                  <a:lnTo>
                    <a:pt x="478086" y="328898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5" name="Google Shape;2452;p37">
              <a:extLst>
                <a:ext uri="{FF2B5EF4-FFF2-40B4-BE49-F238E27FC236}">
                  <a16:creationId xmlns:a16="http://schemas.microsoft.com/office/drawing/2014/main" id="{4B6D37B7-1177-4EBC-A056-A53DCC592FD1}"/>
                </a:ext>
              </a:extLst>
            </p:cNvPr>
            <p:cNvSpPr/>
            <p:nvPr/>
          </p:nvSpPr>
          <p:spPr>
            <a:xfrm>
              <a:off x="5477912" y="2584888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6" name="Google Shape;2453;p37">
              <a:extLst>
                <a:ext uri="{FF2B5EF4-FFF2-40B4-BE49-F238E27FC236}">
                  <a16:creationId xmlns:a16="http://schemas.microsoft.com/office/drawing/2014/main" id="{FE0CFA92-9E66-457A-A13A-239D99886D81}"/>
                </a:ext>
              </a:extLst>
            </p:cNvPr>
            <p:cNvSpPr/>
            <p:nvPr/>
          </p:nvSpPr>
          <p:spPr>
            <a:xfrm>
              <a:off x="5649377" y="2684043"/>
              <a:ext cx="63110" cy="88773"/>
            </a:xfrm>
            <a:custGeom>
              <a:avLst/>
              <a:gdLst/>
              <a:ahLst/>
              <a:cxnLst/>
              <a:rect l="l" t="t" r="r" b="b"/>
              <a:pathLst>
                <a:path w="63110" h="88773" extrusionOk="0">
                  <a:moveTo>
                    <a:pt x="63111" y="88773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63111" y="36576"/>
                  </a:lnTo>
                  <a:lnTo>
                    <a:pt x="63111" y="8877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7" name="Google Shape;2454;p37">
              <a:extLst>
                <a:ext uri="{FF2B5EF4-FFF2-40B4-BE49-F238E27FC236}">
                  <a16:creationId xmlns:a16="http://schemas.microsoft.com/office/drawing/2014/main" id="{F491AC4B-6982-4ADE-B496-6F2DA8A4651C}"/>
                </a:ext>
              </a:extLst>
            </p:cNvPr>
            <p:cNvSpPr/>
            <p:nvPr/>
          </p:nvSpPr>
          <p:spPr>
            <a:xfrm>
              <a:off x="5477912" y="2751956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8" name="Google Shape;2455;p37">
              <a:extLst>
                <a:ext uri="{FF2B5EF4-FFF2-40B4-BE49-F238E27FC236}">
                  <a16:creationId xmlns:a16="http://schemas.microsoft.com/office/drawing/2014/main" id="{F7B069D7-8AD6-486E-BFDD-E4B00E02C28F}"/>
                </a:ext>
              </a:extLst>
            </p:cNvPr>
            <p:cNvSpPr/>
            <p:nvPr/>
          </p:nvSpPr>
          <p:spPr>
            <a:xfrm>
              <a:off x="5649377" y="2851112"/>
              <a:ext cx="117287" cy="120014"/>
            </a:xfrm>
            <a:custGeom>
              <a:avLst/>
              <a:gdLst/>
              <a:ahLst/>
              <a:cxnLst/>
              <a:rect l="l" t="t" r="r" b="b"/>
              <a:pathLst>
                <a:path w="117287" h="120014" extrusionOk="0">
                  <a:moveTo>
                    <a:pt x="117288" y="120015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17288" y="67818"/>
                  </a:lnTo>
                  <a:lnTo>
                    <a:pt x="117288" y="120015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9" name="Google Shape;2456;p37">
              <a:extLst>
                <a:ext uri="{FF2B5EF4-FFF2-40B4-BE49-F238E27FC236}">
                  <a16:creationId xmlns:a16="http://schemas.microsoft.com/office/drawing/2014/main" id="{3761E45C-882C-4E82-B418-283D8B37D304}"/>
                </a:ext>
              </a:extLst>
            </p:cNvPr>
            <p:cNvSpPr/>
            <p:nvPr/>
          </p:nvSpPr>
          <p:spPr>
            <a:xfrm>
              <a:off x="5477912" y="2835395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0" name="Google Shape;2457;p37">
              <a:extLst>
                <a:ext uri="{FF2B5EF4-FFF2-40B4-BE49-F238E27FC236}">
                  <a16:creationId xmlns:a16="http://schemas.microsoft.com/office/drawing/2014/main" id="{750550F4-070B-43D2-A893-7A697585D658}"/>
                </a:ext>
              </a:extLst>
            </p:cNvPr>
            <p:cNvSpPr/>
            <p:nvPr/>
          </p:nvSpPr>
          <p:spPr>
            <a:xfrm>
              <a:off x="5649377" y="2934646"/>
              <a:ext cx="306716" cy="229647"/>
            </a:xfrm>
            <a:custGeom>
              <a:avLst/>
              <a:gdLst/>
              <a:ahLst/>
              <a:cxnLst/>
              <a:rect l="l" t="t" r="r" b="b"/>
              <a:pathLst>
                <a:path w="306716" h="229647" extrusionOk="0">
                  <a:moveTo>
                    <a:pt x="306716" y="229648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06716" y="177451"/>
                  </a:lnTo>
                  <a:lnTo>
                    <a:pt x="306716" y="229648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1" name="Google Shape;2458;p37">
              <a:extLst>
                <a:ext uri="{FF2B5EF4-FFF2-40B4-BE49-F238E27FC236}">
                  <a16:creationId xmlns:a16="http://schemas.microsoft.com/office/drawing/2014/main" id="{75193A90-1659-4713-96EE-E1C7D70DE4A9}"/>
                </a:ext>
              </a:extLst>
            </p:cNvPr>
            <p:cNvSpPr/>
            <p:nvPr/>
          </p:nvSpPr>
          <p:spPr>
            <a:xfrm>
              <a:off x="5477912" y="2918929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2" name="Google Shape;2459;p37">
              <a:extLst>
                <a:ext uri="{FF2B5EF4-FFF2-40B4-BE49-F238E27FC236}">
                  <a16:creationId xmlns:a16="http://schemas.microsoft.com/office/drawing/2014/main" id="{AC263321-0A63-46B5-AD4F-4E7F9324A17B}"/>
                </a:ext>
              </a:extLst>
            </p:cNvPr>
            <p:cNvSpPr/>
            <p:nvPr/>
          </p:nvSpPr>
          <p:spPr>
            <a:xfrm>
              <a:off x="5649377" y="3018085"/>
              <a:ext cx="487115" cy="334137"/>
            </a:xfrm>
            <a:custGeom>
              <a:avLst/>
              <a:gdLst/>
              <a:ahLst/>
              <a:cxnLst/>
              <a:rect l="l" t="t" r="r" b="b"/>
              <a:pathLst>
                <a:path w="487115" h="334137" extrusionOk="0">
                  <a:moveTo>
                    <a:pt x="487115" y="334137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87115" y="281940"/>
                  </a:lnTo>
                  <a:lnTo>
                    <a:pt x="487115" y="334137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3" name="Google Shape;2460;p37">
              <a:extLst>
                <a:ext uri="{FF2B5EF4-FFF2-40B4-BE49-F238E27FC236}">
                  <a16:creationId xmlns:a16="http://schemas.microsoft.com/office/drawing/2014/main" id="{4A44637B-A10C-4C1F-BE95-DC4F7E8DA048}"/>
                </a:ext>
              </a:extLst>
            </p:cNvPr>
            <p:cNvSpPr/>
            <p:nvPr/>
          </p:nvSpPr>
          <p:spPr>
            <a:xfrm>
              <a:off x="5477912" y="2668422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4" name="Google Shape;2461;p37">
              <a:extLst>
                <a:ext uri="{FF2B5EF4-FFF2-40B4-BE49-F238E27FC236}">
                  <a16:creationId xmlns:a16="http://schemas.microsoft.com/office/drawing/2014/main" id="{04619841-B122-4CF0-AC9C-06A73EB585B6}"/>
                </a:ext>
              </a:extLst>
            </p:cNvPr>
            <p:cNvSpPr/>
            <p:nvPr/>
          </p:nvSpPr>
          <p:spPr>
            <a:xfrm>
              <a:off x="5649377" y="2767577"/>
              <a:ext cx="613432" cy="407193"/>
            </a:xfrm>
            <a:custGeom>
              <a:avLst/>
              <a:gdLst/>
              <a:ahLst/>
              <a:cxnLst/>
              <a:rect l="l" t="t" r="r" b="b"/>
              <a:pathLst>
                <a:path w="613432" h="407193" extrusionOk="0">
                  <a:moveTo>
                    <a:pt x="613433" y="407194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613433" y="354902"/>
                  </a:lnTo>
                  <a:lnTo>
                    <a:pt x="613433" y="407194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6" name="Google Shape;2462;p37">
              <a:extLst>
                <a:ext uri="{FF2B5EF4-FFF2-40B4-BE49-F238E27FC236}">
                  <a16:creationId xmlns:a16="http://schemas.microsoft.com/office/drawing/2014/main" id="{B6F8D730-195F-4B5C-A6A3-E1012497979C}"/>
                </a:ext>
              </a:extLst>
            </p:cNvPr>
            <p:cNvSpPr/>
            <p:nvPr/>
          </p:nvSpPr>
          <p:spPr>
            <a:xfrm>
              <a:off x="1926580" y="1674106"/>
              <a:ext cx="1230952" cy="1017480"/>
            </a:xfrm>
            <a:custGeom>
              <a:avLst/>
              <a:gdLst/>
              <a:ahLst/>
              <a:cxnLst/>
              <a:rect l="l" t="t" r="r" b="b"/>
              <a:pathLst>
                <a:path w="1230952" h="1017480" extrusionOk="0">
                  <a:moveTo>
                    <a:pt x="342929" y="947072"/>
                  </a:moveTo>
                  <a:lnTo>
                    <a:pt x="256246" y="902495"/>
                  </a:lnTo>
                  <a:lnTo>
                    <a:pt x="74612" y="1007270"/>
                  </a:lnTo>
                  <a:cubicBezTo>
                    <a:pt x="33457" y="1031082"/>
                    <a:pt x="0" y="1011842"/>
                    <a:pt x="0" y="964122"/>
                  </a:cubicBezTo>
                  <a:lnTo>
                    <a:pt x="0" y="765811"/>
                  </a:lnTo>
                  <a:cubicBezTo>
                    <a:pt x="2848" y="713186"/>
                    <a:pt x="30561" y="665065"/>
                    <a:pt x="74612" y="636271"/>
                  </a:cubicBezTo>
                  <a:lnTo>
                    <a:pt x="1156341" y="10193"/>
                  </a:lnTo>
                  <a:cubicBezTo>
                    <a:pt x="1197496" y="-13620"/>
                    <a:pt x="1230953" y="5716"/>
                    <a:pt x="1230953" y="53341"/>
                  </a:cubicBezTo>
                  <a:lnTo>
                    <a:pt x="1230953" y="252318"/>
                  </a:lnTo>
                  <a:cubicBezTo>
                    <a:pt x="1228101" y="304944"/>
                    <a:pt x="1200395" y="353064"/>
                    <a:pt x="1156341" y="381859"/>
                  </a:cubicBezTo>
                  <a:lnTo>
                    <a:pt x="429042" y="802292"/>
                  </a:lnTo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4" name="Google Shape;2463;p37">
              <a:extLst>
                <a:ext uri="{FF2B5EF4-FFF2-40B4-BE49-F238E27FC236}">
                  <a16:creationId xmlns:a16="http://schemas.microsoft.com/office/drawing/2014/main" id="{F3558E3B-A302-4D50-A6F3-FA9721FC54D5}"/>
                </a:ext>
              </a:extLst>
            </p:cNvPr>
            <p:cNvSpPr/>
            <p:nvPr/>
          </p:nvSpPr>
          <p:spPr>
            <a:xfrm>
              <a:off x="3112195" y="1676584"/>
              <a:ext cx="59119" cy="52197"/>
            </a:xfrm>
            <a:custGeom>
              <a:avLst/>
              <a:gdLst/>
              <a:ahLst/>
              <a:cxnLst/>
              <a:rect l="l" t="t" r="r" b="b"/>
              <a:pathLst>
                <a:path w="59119" h="52197" extrusionOk="0">
                  <a:moveTo>
                    <a:pt x="18249" y="0"/>
                  </a:moveTo>
                  <a:lnTo>
                    <a:pt x="59119" y="16574"/>
                  </a:lnTo>
                  <a:lnTo>
                    <a:pt x="24522" y="52197"/>
                  </a:lnTo>
                  <a:lnTo>
                    <a:pt x="0" y="12859"/>
                  </a:lnTo>
                  <a:lnTo>
                    <a:pt x="18249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5" name="Google Shape;2464;p37">
              <a:extLst>
                <a:ext uri="{FF2B5EF4-FFF2-40B4-BE49-F238E27FC236}">
                  <a16:creationId xmlns:a16="http://schemas.microsoft.com/office/drawing/2014/main" id="{12DCCA13-D631-4436-8BF5-699EE1FB51B6}"/>
                </a:ext>
              </a:extLst>
            </p:cNvPr>
            <p:cNvSpPr/>
            <p:nvPr/>
          </p:nvSpPr>
          <p:spPr>
            <a:xfrm>
              <a:off x="2269509" y="2593746"/>
              <a:ext cx="43151" cy="44767"/>
            </a:xfrm>
            <a:custGeom>
              <a:avLst/>
              <a:gdLst/>
              <a:ahLst/>
              <a:cxnLst/>
              <a:rect l="l" t="t" r="r" b="b"/>
              <a:pathLst>
                <a:path w="43151" h="44767" extrusionOk="0">
                  <a:moveTo>
                    <a:pt x="0" y="27432"/>
                  </a:moveTo>
                  <a:lnTo>
                    <a:pt x="43056" y="44767"/>
                  </a:lnTo>
                  <a:lnTo>
                    <a:pt x="43151" y="7620"/>
                  </a:lnTo>
                  <a:lnTo>
                    <a:pt x="5038" y="0"/>
                  </a:lnTo>
                  <a:lnTo>
                    <a:pt x="0" y="2743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6" name="Google Shape;2465;p37">
              <a:extLst>
                <a:ext uri="{FF2B5EF4-FFF2-40B4-BE49-F238E27FC236}">
                  <a16:creationId xmlns:a16="http://schemas.microsoft.com/office/drawing/2014/main" id="{47FAAE54-32C6-4560-8E7C-25754D1034D1}"/>
                </a:ext>
              </a:extLst>
            </p:cNvPr>
            <p:cNvSpPr/>
            <p:nvPr/>
          </p:nvSpPr>
          <p:spPr>
            <a:xfrm>
              <a:off x="1950116" y="2650325"/>
              <a:ext cx="58584" cy="57547"/>
            </a:xfrm>
            <a:custGeom>
              <a:avLst/>
              <a:gdLst/>
              <a:ahLst/>
              <a:cxnLst/>
              <a:rect l="l" t="t" r="r" b="b"/>
              <a:pathLst>
                <a:path w="58584" h="57547" extrusionOk="0">
                  <a:moveTo>
                    <a:pt x="48415" y="57150"/>
                  </a:moveTo>
                  <a:cubicBezTo>
                    <a:pt x="50030" y="60579"/>
                    <a:pt x="1747" y="40767"/>
                    <a:pt x="36" y="38100"/>
                  </a:cubicBezTo>
                  <a:cubicBezTo>
                    <a:pt x="-1675" y="35433"/>
                    <a:pt x="58585" y="0"/>
                    <a:pt x="5858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7" name="Google Shape;2466;p37">
              <a:extLst>
                <a:ext uri="{FF2B5EF4-FFF2-40B4-BE49-F238E27FC236}">
                  <a16:creationId xmlns:a16="http://schemas.microsoft.com/office/drawing/2014/main" id="{3ABB1EE8-8A8E-479C-92E2-9C77258BF3B0}"/>
                </a:ext>
              </a:extLst>
            </p:cNvPr>
            <p:cNvSpPr/>
            <p:nvPr/>
          </p:nvSpPr>
          <p:spPr>
            <a:xfrm>
              <a:off x="1969256" y="1691533"/>
              <a:ext cx="1231332" cy="1017436"/>
            </a:xfrm>
            <a:custGeom>
              <a:avLst/>
              <a:gdLst/>
              <a:ahLst/>
              <a:cxnLst/>
              <a:rect l="l" t="t" r="r" b="b"/>
              <a:pathLst>
                <a:path w="1231332" h="1017436" extrusionOk="0">
                  <a:moveTo>
                    <a:pt x="429422" y="802106"/>
                  </a:moveTo>
                  <a:lnTo>
                    <a:pt x="1156721" y="381386"/>
                  </a:lnTo>
                  <a:cubicBezTo>
                    <a:pt x="1200737" y="352554"/>
                    <a:pt x="1228443" y="304462"/>
                    <a:pt x="1231333" y="251846"/>
                  </a:cubicBezTo>
                  <a:lnTo>
                    <a:pt x="1231333" y="53250"/>
                  </a:lnTo>
                  <a:cubicBezTo>
                    <a:pt x="1231333" y="5625"/>
                    <a:pt x="1197876" y="-13425"/>
                    <a:pt x="1156721" y="10007"/>
                  </a:cubicBezTo>
                  <a:lnTo>
                    <a:pt x="74612" y="636085"/>
                  </a:lnTo>
                  <a:cubicBezTo>
                    <a:pt x="30584" y="664898"/>
                    <a:pt x="2878" y="713009"/>
                    <a:pt x="0" y="765625"/>
                  </a:cubicBezTo>
                  <a:lnTo>
                    <a:pt x="0" y="964221"/>
                  </a:lnTo>
                  <a:cubicBezTo>
                    <a:pt x="0" y="1011846"/>
                    <a:pt x="33457" y="1030896"/>
                    <a:pt x="74612" y="1007369"/>
                  </a:cubicBezTo>
                  <a:lnTo>
                    <a:pt x="256246" y="902594"/>
                  </a:lnTo>
                  <a:lnTo>
                    <a:pt x="343309" y="94726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8" name="Google Shape;2467;p37">
              <a:extLst>
                <a:ext uri="{FF2B5EF4-FFF2-40B4-BE49-F238E27FC236}">
                  <a16:creationId xmlns:a16="http://schemas.microsoft.com/office/drawing/2014/main" id="{A0F4738E-105D-4BC3-B289-495DD474F542}"/>
                </a:ext>
              </a:extLst>
            </p:cNvPr>
            <p:cNvSpPr/>
            <p:nvPr/>
          </p:nvSpPr>
          <p:spPr>
            <a:xfrm>
              <a:off x="2066299" y="1805171"/>
              <a:ext cx="1037246" cy="669226"/>
            </a:xfrm>
            <a:custGeom>
              <a:avLst/>
              <a:gdLst/>
              <a:ahLst/>
              <a:cxnLst/>
              <a:rect l="l" t="t" r="r" b="b"/>
              <a:pathLst>
                <a:path w="1037246" h="669226" extrusionOk="0">
                  <a:moveTo>
                    <a:pt x="1037247" y="69152"/>
                  </a:moveTo>
                  <a:lnTo>
                    <a:pt x="0" y="669227"/>
                  </a:lnTo>
                  <a:lnTo>
                    <a:pt x="0" y="600170"/>
                  </a:lnTo>
                  <a:lnTo>
                    <a:pt x="1037247" y="0"/>
                  </a:lnTo>
                  <a:lnTo>
                    <a:pt x="1037247" y="6915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9" name="Google Shape;2468;p37">
              <a:extLst>
                <a:ext uri="{FF2B5EF4-FFF2-40B4-BE49-F238E27FC236}">
                  <a16:creationId xmlns:a16="http://schemas.microsoft.com/office/drawing/2014/main" id="{9FB0F66F-75E3-4F0E-A11B-983DF33450CE}"/>
                </a:ext>
              </a:extLst>
            </p:cNvPr>
            <p:cNvSpPr/>
            <p:nvPr/>
          </p:nvSpPr>
          <p:spPr>
            <a:xfrm>
              <a:off x="2066299" y="2133308"/>
              <a:ext cx="679110" cy="462057"/>
            </a:xfrm>
            <a:custGeom>
              <a:avLst/>
              <a:gdLst/>
              <a:ahLst/>
              <a:cxnLst/>
              <a:rect l="l" t="t" r="r" b="b"/>
              <a:pathLst>
                <a:path w="679110" h="462057" extrusionOk="0">
                  <a:moveTo>
                    <a:pt x="679110" y="69151"/>
                  </a:moveTo>
                  <a:lnTo>
                    <a:pt x="0" y="462058"/>
                  </a:lnTo>
                  <a:lnTo>
                    <a:pt x="0" y="392906"/>
                  </a:lnTo>
                  <a:lnTo>
                    <a:pt x="679110" y="0"/>
                  </a:lnTo>
                  <a:lnTo>
                    <a:pt x="679110" y="6915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20" name="Google Shape;2469;p37">
              <a:extLst>
                <a:ext uri="{FF2B5EF4-FFF2-40B4-BE49-F238E27FC236}">
                  <a16:creationId xmlns:a16="http://schemas.microsoft.com/office/drawing/2014/main" id="{8FB5DE80-EF74-4936-A56F-E389DCFEF430}"/>
                </a:ext>
              </a:extLst>
            </p:cNvPr>
            <p:cNvGrpSpPr/>
            <p:nvPr/>
          </p:nvGrpSpPr>
          <p:grpSpPr>
            <a:xfrm>
              <a:off x="4146745" y="1006881"/>
              <a:ext cx="330894" cy="250785"/>
              <a:chOff x="6621095" y="1452181"/>
              <a:chExt cx="330894" cy="250785"/>
            </a:xfrm>
          </p:grpSpPr>
          <p:sp>
            <p:nvSpPr>
              <p:cNvPr id="523" name="Google Shape;2470;p37">
                <a:extLst>
                  <a:ext uri="{FF2B5EF4-FFF2-40B4-BE49-F238E27FC236}">
                    <a16:creationId xmlns:a16="http://schemas.microsoft.com/office/drawing/2014/main" id="{743A9BC6-90EC-4F2C-9022-B1FF998A7C90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4" name="Google Shape;2471;p37">
                <a:extLst>
                  <a:ext uri="{FF2B5EF4-FFF2-40B4-BE49-F238E27FC236}">
                    <a16:creationId xmlns:a16="http://schemas.microsoft.com/office/drawing/2014/main" id="{898844C4-C82E-4B80-8435-1FDE31C29CEA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5" name="Google Shape;2472;p37">
                <a:extLst>
                  <a:ext uri="{FF2B5EF4-FFF2-40B4-BE49-F238E27FC236}">
                    <a16:creationId xmlns:a16="http://schemas.microsoft.com/office/drawing/2014/main" id="{0CD91C2A-E9AA-44BE-9D7C-E1FA0E3BBCDA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6" name="Google Shape;2473;p37">
                <a:extLst>
                  <a:ext uri="{FF2B5EF4-FFF2-40B4-BE49-F238E27FC236}">
                    <a16:creationId xmlns:a16="http://schemas.microsoft.com/office/drawing/2014/main" id="{8B9E99E4-2D61-4DB3-B171-A8C8AE5ED1B6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7" name="Google Shape;2474;p37">
                <a:extLst>
                  <a:ext uri="{FF2B5EF4-FFF2-40B4-BE49-F238E27FC236}">
                    <a16:creationId xmlns:a16="http://schemas.microsoft.com/office/drawing/2014/main" id="{76B2D881-713B-4522-B34B-F1A770BE7F5B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21" name="Google Shape;2475;p37">
              <a:extLst>
                <a:ext uri="{FF2B5EF4-FFF2-40B4-BE49-F238E27FC236}">
                  <a16:creationId xmlns:a16="http://schemas.microsoft.com/office/drawing/2014/main" id="{223C11A1-43A0-447E-A8F7-DFA2230320A4}"/>
                </a:ext>
              </a:extLst>
            </p:cNvPr>
            <p:cNvSpPr/>
            <p:nvPr/>
          </p:nvSpPr>
          <p:spPr>
            <a:xfrm>
              <a:off x="4444588" y="826743"/>
              <a:ext cx="153590" cy="431871"/>
            </a:xfrm>
            <a:custGeom>
              <a:avLst/>
              <a:gdLst/>
              <a:ahLst/>
              <a:cxnLst/>
              <a:rect l="l" t="t" r="r" b="b"/>
              <a:pathLst>
                <a:path w="153590" h="431871" extrusionOk="0">
                  <a:moveTo>
                    <a:pt x="11570" y="362351"/>
                  </a:moveTo>
                  <a:cubicBezTo>
                    <a:pt x="19754" y="356891"/>
                    <a:pt x="28299" y="351990"/>
                    <a:pt x="37138" y="347682"/>
                  </a:cubicBezTo>
                  <a:cubicBezTo>
                    <a:pt x="45379" y="345048"/>
                    <a:pt x="52878" y="340475"/>
                    <a:pt x="58999" y="334347"/>
                  </a:cubicBezTo>
                  <a:cubicBezTo>
                    <a:pt x="66983" y="326537"/>
                    <a:pt x="80099" y="296819"/>
                    <a:pt x="89509" y="267672"/>
                  </a:cubicBezTo>
                  <a:cubicBezTo>
                    <a:pt x="98871" y="234986"/>
                    <a:pt x="102568" y="200933"/>
                    <a:pt x="100439" y="166993"/>
                  </a:cubicBezTo>
                  <a:cubicBezTo>
                    <a:pt x="96542" y="126321"/>
                    <a:pt x="81905" y="69457"/>
                    <a:pt x="78198" y="46121"/>
                  </a:cubicBezTo>
                  <a:cubicBezTo>
                    <a:pt x="74491" y="22785"/>
                    <a:pt x="82000" y="13355"/>
                    <a:pt x="92930" y="4782"/>
                  </a:cubicBezTo>
                  <a:cubicBezTo>
                    <a:pt x="105667" y="-5314"/>
                    <a:pt x="123250" y="-837"/>
                    <a:pt x="132660" y="31929"/>
                  </a:cubicBezTo>
                  <a:cubicBezTo>
                    <a:pt x="144779" y="77261"/>
                    <a:pt x="151793" y="123811"/>
                    <a:pt x="153570" y="170708"/>
                  </a:cubicBezTo>
                  <a:cubicBezTo>
                    <a:pt x="153960" y="205545"/>
                    <a:pt x="148599" y="240208"/>
                    <a:pt x="137698" y="273292"/>
                  </a:cubicBezTo>
                  <a:cubicBezTo>
                    <a:pt x="128012" y="301634"/>
                    <a:pt x="114924" y="328691"/>
                    <a:pt x="98728" y="353874"/>
                  </a:cubicBezTo>
                  <a:cubicBezTo>
                    <a:pt x="94261" y="361398"/>
                    <a:pt x="92740" y="368161"/>
                    <a:pt x="85897" y="383592"/>
                  </a:cubicBezTo>
                  <a:cubicBezTo>
                    <a:pt x="79329" y="399096"/>
                    <a:pt x="69083" y="412763"/>
                    <a:pt x="56052" y="423406"/>
                  </a:cubicBezTo>
                  <a:cubicBezTo>
                    <a:pt x="44647" y="431598"/>
                    <a:pt x="39229" y="432931"/>
                    <a:pt x="36473" y="431217"/>
                  </a:cubicBezTo>
                  <a:cubicBezTo>
                    <a:pt x="33716" y="429502"/>
                    <a:pt x="33811" y="425597"/>
                    <a:pt x="38659" y="421692"/>
                  </a:cubicBezTo>
                  <a:cubicBezTo>
                    <a:pt x="46747" y="415317"/>
                    <a:pt x="53638" y="407542"/>
                    <a:pt x="58999" y="398736"/>
                  </a:cubicBezTo>
                  <a:cubicBezTo>
                    <a:pt x="58999" y="398736"/>
                    <a:pt x="49019" y="408833"/>
                    <a:pt x="42461" y="414357"/>
                  </a:cubicBezTo>
                  <a:cubicBezTo>
                    <a:pt x="36691" y="419245"/>
                    <a:pt x="30295" y="423344"/>
                    <a:pt x="23451" y="426549"/>
                  </a:cubicBezTo>
                  <a:cubicBezTo>
                    <a:pt x="16798" y="429502"/>
                    <a:pt x="7483" y="423787"/>
                    <a:pt x="12236" y="419310"/>
                  </a:cubicBezTo>
                  <a:cubicBezTo>
                    <a:pt x="16988" y="414834"/>
                    <a:pt x="21740" y="412548"/>
                    <a:pt x="31245" y="404261"/>
                  </a:cubicBezTo>
                  <a:cubicBezTo>
                    <a:pt x="36359" y="399914"/>
                    <a:pt x="40921" y="394956"/>
                    <a:pt x="44837" y="389497"/>
                  </a:cubicBezTo>
                  <a:cubicBezTo>
                    <a:pt x="38146" y="394658"/>
                    <a:pt x="31064" y="399276"/>
                    <a:pt x="23641" y="403308"/>
                  </a:cubicBezTo>
                  <a:cubicBezTo>
                    <a:pt x="17910" y="406783"/>
                    <a:pt x="11333" y="408597"/>
                    <a:pt x="4632" y="408547"/>
                  </a:cubicBezTo>
                  <a:cubicBezTo>
                    <a:pt x="1115" y="408547"/>
                    <a:pt x="-3162" y="403404"/>
                    <a:pt x="3491" y="399022"/>
                  </a:cubicBezTo>
                  <a:cubicBezTo>
                    <a:pt x="12635" y="394058"/>
                    <a:pt x="21161" y="388014"/>
                    <a:pt x="28869" y="381020"/>
                  </a:cubicBezTo>
                  <a:cubicBezTo>
                    <a:pt x="36187" y="373781"/>
                    <a:pt x="40275" y="367590"/>
                    <a:pt x="38374" y="367494"/>
                  </a:cubicBezTo>
                  <a:cubicBezTo>
                    <a:pt x="36473" y="367399"/>
                    <a:pt x="32290" y="371876"/>
                    <a:pt x="23736" y="374638"/>
                  </a:cubicBezTo>
                  <a:cubicBezTo>
                    <a:pt x="15182" y="377400"/>
                    <a:pt x="5963" y="374638"/>
                    <a:pt x="4727" y="370161"/>
                  </a:cubicBezTo>
                  <a:cubicBezTo>
                    <a:pt x="3491" y="365685"/>
                    <a:pt x="3586" y="366256"/>
                    <a:pt x="11570" y="362351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2" name="Google Shape;2476;p37">
              <a:extLst>
                <a:ext uri="{FF2B5EF4-FFF2-40B4-BE49-F238E27FC236}">
                  <a16:creationId xmlns:a16="http://schemas.microsoft.com/office/drawing/2014/main" id="{DDD6F91F-F274-497B-B83C-DEEC321E32CA}"/>
                </a:ext>
              </a:extLst>
            </p:cNvPr>
            <p:cNvSpPr/>
            <p:nvPr/>
          </p:nvSpPr>
          <p:spPr>
            <a:xfrm>
              <a:off x="4515562" y="822838"/>
              <a:ext cx="88583" cy="120566"/>
            </a:xfrm>
            <a:custGeom>
              <a:avLst/>
              <a:gdLst/>
              <a:ahLst/>
              <a:cxnLst/>
              <a:rect l="l" t="t" r="r" b="b"/>
              <a:pathLst>
                <a:path w="88583" h="120566" extrusionOk="0">
                  <a:moveTo>
                    <a:pt x="88584" y="96127"/>
                  </a:moveTo>
                  <a:cubicBezTo>
                    <a:pt x="88584" y="96127"/>
                    <a:pt x="56458" y="128131"/>
                    <a:pt x="18534" y="118892"/>
                  </a:cubicBezTo>
                  <a:cubicBezTo>
                    <a:pt x="13117" y="115177"/>
                    <a:pt x="0" y="40406"/>
                    <a:pt x="0" y="40406"/>
                  </a:cubicBezTo>
                  <a:cubicBezTo>
                    <a:pt x="0" y="40406"/>
                    <a:pt x="0" y="-1028"/>
                    <a:pt x="31746" y="20"/>
                  </a:cubicBezTo>
                  <a:cubicBezTo>
                    <a:pt x="63491" y="1067"/>
                    <a:pt x="88584" y="96127"/>
                    <a:pt x="88584" y="961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32639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9" name="Google Shape;2019;p3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>
                <a:solidFill>
                  <a:schemeClr val="accent2"/>
                </a:solidFill>
              </a:rPr>
              <a:t>17</a:t>
            </a:fld>
            <a:endParaRPr>
              <a:solidFill>
                <a:schemeClr val="accent2"/>
              </a:solidFill>
            </a:endParaRPr>
          </a:p>
        </p:txBody>
      </p:sp>
      <p:grpSp>
        <p:nvGrpSpPr>
          <p:cNvPr id="2020" name="Google Shape;2020;p33"/>
          <p:cNvGrpSpPr/>
          <p:nvPr/>
        </p:nvGrpSpPr>
        <p:grpSpPr>
          <a:xfrm>
            <a:off x="3824899" y="1241117"/>
            <a:ext cx="4542205" cy="2661224"/>
            <a:chOff x="1177450" y="241631"/>
            <a:chExt cx="6173152" cy="3616776"/>
          </a:xfrm>
        </p:grpSpPr>
        <p:sp>
          <p:nvSpPr>
            <p:cNvPr id="2021" name="Google Shape;2021;p33"/>
            <p:cNvSpPr/>
            <p:nvPr/>
          </p:nvSpPr>
          <p:spPr>
            <a:xfrm>
              <a:off x="1682275" y="241631"/>
              <a:ext cx="5161606" cy="3454973"/>
            </a:xfrm>
            <a:custGeom>
              <a:avLst/>
              <a:gdLst/>
              <a:ahLst/>
              <a:cxnLst/>
              <a:rect l="l" t="t" r="r" b="b"/>
              <a:pathLst>
                <a:path w="5161606" h="3454973" extrusionOk="0">
                  <a:moveTo>
                    <a:pt x="4992053" y="0"/>
                  </a:moveTo>
                  <a:lnTo>
                    <a:pt x="170498" y="0"/>
                  </a:lnTo>
                  <a:cubicBezTo>
                    <a:pt x="76200" y="0"/>
                    <a:pt x="0" y="76143"/>
                    <a:pt x="0" y="170369"/>
                  </a:cubicBezTo>
                  <a:lnTo>
                    <a:pt x="0" y="3396915"/>
                  </a:lnTo>
                  <a:cubicBezTo>
                    <a:pt x="0" y="3429275"/>
                    <a:pt x="26670" y="3454973"/>
                    <a:pt x="58102" y="3454973"/>
                  </a:cubicBezTo>
                  <a:lnTo>
                    <a:pt x="5103495" y="3454973"/>
                  </a:lnTo>
                  <a:cubicBezTo>
                    <a:pt x="5135880" y="3454973"/>
                    <a:pt x="5161598" y="3428324"/>
                    <a:pt x="5161598" y="3396915"/>
                  </a:cubicBezTo>
                  <a:lnTo>
                    <a:pt x="5161598" y="170369"/>
                  </a:lnTo>
                  <a:cubicBezTo>
                    <a:pt x="5162550" y="76143"/>
                    <a:pt x="5086350" y="0"/>
                    <a:pt x="4992053" y="0"/>
                  </a:cubicBezTo>
                  <a:close/>
                  <a:moveTo>
                    <a:pt x="4981575" y="3245581"/>
                  </a:moveTo>
                  <a:lnTo>
                    <a:pt x="190500" y="3245581"/>
                  </a:lnTo>
                  <a:lnTo>
                    <a:pt x="190500" y="199874"/>
                  </a:lnTo>
                  <a:lnTo>
                    <a:pt x="4981575" y="199874"/>
                  </a:lnTo>
                  <a:lnTo>
                    <a:pt x="4981575" y="3245581"/>
                  </a:lnTo>
                  <a:close/>
                </a:path>
              </a:pathLst>
            </a:custGeom>
            <a:gradFill>
              <a:gsLst>
                <a:gs pos="0">
                  <a:schemeClr val="lt1"/>
                </a:gs>
                <a:gs pos="50000">
                  <a:schemeClr val="lt1"/>
                </a:gs>
                <a:gs pos="100000">
                  <a:schemeClr val="lt2"/>
                </a:gs>
              </a:gsLst>
              <a:lin ang="16198662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2" name="Google Shape;2022;p33"/>
            <p:cNvSpPr/>
            <p:nvPr/>
          </p:nvSpPr>
          <p:spPr>
            <a:xfrm>
              <a:off x="1177450" y="3763229"/>
              <a:ext cx="6173152" cy="95178"/>
            </a:xfrm>
            <a:custGeom>
              <a:avLst/>
              <a:gdLst/>
              <a:ahLst/>
              <a:cxnLst/>
              <a:rect l="l" t="t" r="r" b="b"/>
              <a:pathLst>
                <a:path w="6173152" h="95178" extrusionOk="0">
                  <a:moveTo>
                    <a:pt x="0" y="0"/>
                  </a:moveTo>
                  <a:cubicBezTo>
                    <a:pt x="0" y="0"/>
                    <a:pt x="129540" y="95178"/>
                    <a:pt x="450533" y="95178"/>
                  </a:cubicBezTo>
                  <a:lnTo>
                    <a:pt x="5817870" y="95178"/>
                  </a:lnTo>
                  <a:cubicBezTo>
                    <a:pt x="5948363" y="95178"/>
                    <a:pt x="6173153" y="0"/>
                    <a:pt x="617315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  <a:effectLst>
              <a:outerShdw blurRad="100013" dist="28575" dir="5400000" algn="bl" rotWithShape="0">
                <a:srgbClr val="38226D">
                  <a:alpha val="3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3" name="Google Shape;2023;p33"/>
            <p:cNvSpPr/>
            <p:nvPr/>
          </p:nvSpPr>
          <p:spPr>
            <a:xfrm>
              <a:off x="1177450" y="3687086"/>
              <a:ext cx="6172200" cy="76142"/>
            </a:xfrm>
            <a:custGeom>
              <a:avLst/>
              <a:gdLst/>
              <a:ahLst/>
              <a:cxnLst/>
              <a:rect l="l" t="t" r="r" b="b"/>
              <a:pathLst>
                <a:path w="6172200" h="76142" extrusionOk="0">
                  <a:moveTo>
                    <a:pt x="0" y="76143"/>
                  </a:moveTo>
                  <a:lnTo>
                    <a:pt x="6172200" y="76143"/>
                  </a:lnTo>
                  <a:lnTo>
                    <a:pt x="61722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4" name="Google Shape;2024;p33"/>
            <p:cNvSpPr/>
            <p:nvPr/>
          </p:nvSpPr>
          <p:spPr>
            <a:xfrm>
              <a:off x="3806350" y="3687086"/>
              <a:ext cx="903922" cy="47589"/>
            </a:xfrm>
            <a:custGeom>
              <a:avLst/>
              <a:gdLst/>
              <a:ahLst/>
              <a:cxnLst/>
              <a:rect l="l" t="t" r="r" b="b"/>
              <a:pathLst>
                <a:path w="903922" h="47589" extrusionOk="0">
                  <a:moveTo>
                    <a:pt x="0" y="0"/>
                  </a:moveTo>
                  <a:cubicBezTo>
                    <a:pt x="0" y="0"/>
                    <a:pt x="26670" y="47589"/>
                    <a:pt x="53340" y="47589"/>
                  </a:cubicBezTo>
                  <a:lnTo>
                    <a:pt x="850582" y="47589"/>
                  </a:lnTo>
                  <a:cubicBezTo>
                    <a:pt x="877253" y="47589"/>
                    <a:pt x="903922" y="0"/>
                    <a:pt x="9039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026" name="Google Shape;2026;p33"/>
          <p:cNvGrpSpPr/>
          <p:nvPr/>
        </p:nvGrpSpPr>
        <p:grpSpPr>
          <a:xfrm>
            <a:off x="7531342" y="2825005"/>
            <a:ext cx="1214233" cy="1885000"/>
            <a:chOff x="6492887" y="4126007"/>
            <a:chExt cx="271993" cy="422295"/>
          </a:xfrm>
        </p:grpSpPr>
        <p:sp>
          <p:nvSpPr>
            <p:cNvPr id="2027" name="Google Shape;2027;p33"/>
            <p:cNvSpPr/>
            <p:nvPr/>
          </p:nvSpPr>
          <p:spPr>
            <a:xfrm rot="10800000">
              <a:off x="6492887" y="4392220"/>
              <a:ext cx="271993" cy="156082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8" name="Google Shape;2028;p33"/>
            <p:cNvSpPr/>
            <p:nvPr/>
          </p:nvSpPr>
          <p:spPr>
            <a:xfrm flipH="1">
              <a:off x="6563431" y="4299082"/>
              <a:ext cx="180447" cy="104443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9" name="Google Shape;2029;p33"/>
            <p:cNvSpPr/>
            <p:nvPr/>
          </p:nvSpPr>
          <p:spPr>
            <a:xfrm flipH="1">
              <a:off x="6653655" y="4351284"/>
              <a:ext cx="90223" cy="156685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0" name="Google Shape;2030;p33"/>
            <p:cNvSpPr/>
            <p:nvPr/>
          </p:nvSpPr>
          <p:spPr>
            <a:xfrm flipH="1">
              <a:off x="6563431" y="4351284"/>
              <a:ext cx="90223" cy="156685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1" name="Google Shape;2031;p33"/>
            <p:cNvSpPr/>
            <p:nvPr/>
          </p:nvSpPr>
          <p:spPr>
            <a:xfrm>
              <a:off x="6631565" y="4127172"/>
              <a:ext cx="91680" cy="134039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2" name="Google Shape;2032;p33"/>
            <p:cNvSpPr/>
            <p:nvPr/>
          </p:nvSpPr>
          <p:spPr>
            <a:xfrm>
              <a:off x="6638516" y="4126007"/>
              <a:ext cx="43914" cy="54116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3" name="Google Shape;2033;p33"/>
            <p:cNvSpPr/>
            <p:nvPr/>
          </p:nvSpPr>
          <p:spPr>
            <a:xfrm>
              <a:off x="6647100" y="4184749"/>
              <a:ext cx="54168" cy="60624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4" name="Google Shape;2034;p33"/>
            <p:cNvSpPr/>
            <p:nvPr/>
          </p:nvSpPr>
          <p:spPr>
            <a:xfrm>
              <a:off x="6554604" y="4208935"/>
              <a:ext cx="102224" cy="145520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5" name="Google Shape;2035;p33"/>
            <p:cNvSpPr/>
            <p:nvPr/>
          </p:nvSpPr>
          <p:spPr>
            <a:xfrm>
              <a:off x="6631332" y="4204595"/>
              <a:ext cx="78964" cy="104158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rgbClr val="FF7B7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6" name="Google Shape;2036;p33"/>
            <p:cNvSpPr/>
            <p:nvPr/>
          </p:nvSpPr>
          <p:spPr>
            <a:xfrm>
              <a:off x="6645396" y="4130153"/>
              <a:ext cx="58090" cy="71561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7" name="Google Shape;2037;p33"/>
            <p:cNvSpPr/>
            <p:nvPr/>
          </p:nvSpPr>
          <p:spPr>
            <a:xfrm>
              <a:off x="6647754" y="4129873"/>
              <a:ext cx="58319" cy="54888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8" name="Google Shape;2038;p33"/>
            <p:cNvSpPr/>
            <p:nvPr/>
          </p:nvSpPr>
          <p:spPr>
            <a:xfrm>
              <a:off x="6577749" y="4490229"/>
              <a:ext cx="45861" cy="34982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9" name="Google Shape;2039;p33"/>
            <p:cNvSpPr/>
            <p:nvPr/>
          </p:nvSpPr>
          <p:spPr>
            <a:xfrm>
              <a:off x="6577951" y="4501389"/>
              <a:ext cx="45653" cy="23835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0" name="Google Shape;2040;p33"/>
            <p:cNvSpPr/>
            <p:nvPr/>
          </p:nvSpPr>
          <p:spPr>
            <a:xfrm>
              <a:off x="6554804" y="4475155"/>
              <a:ext cx="41980" cy="32521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1" name="Google Shape;2041;p33"/>
            <p:cNvSpPr/>
            <p:nvPr/>
          </p:nvSpPr>
          <p:spPr>
            <a:xfrm>
              <a:off x="6554997" y="4485886"/>
              <a:ext cx="41814" cy="21828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2" name="Google Shape;2042;p33"/>
            <p:cNvSpPr/>
            <p:nvPr/>
          </p:nvSpPr>
          <p:spPr>
            <a:xfrm>
              <a:off x="6570371" y="4307401"/>
              <a:ext cx="99964" cy="172414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3" name="Google Shape;2043;p33"/>
            <p:cNvSpPr/>
            <p:nvPr/>
          </p:nvSpPr>
          <p:spPr>
            <a:xfrm>
              <a:off x="6597627" y="4307742"/>
              <a:ext cx="99521" cy="186686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4" name="Google Shape;2044;p33"/>
            <p:cNvSpPr/>
            <p:nvPr/>
          </p:nvSpPr>
          <p:spPr>
            <a:xfrm>
              <a:off x="6560564" y="4295988"/>
              <a:ext cx="148825" cy="136991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5" name="Google Shape;2045;p33"/>
            <p:cNvSpPr/>
            <p:nvPr/>
          </p:nvSpPr>
          <p:spPr>
            <a:xfrm>
              <a:off x="6680201" y="4215053"/>
              <a:ext cx="51721" cy="181324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6" name="Google Shape;2046;p33"/>
            <p:cNvSpPr/>
            <p:nvPr/>
          </p:nvSpPr>
          <p:spPr>
            <a:xfrm>
              <a:off x="6690335" y="4212768"/>
              <a:ext cx="31273" cy="39773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7" name="Google Shape;2047;p33"/>
            <p:cNvSpPr/>
            <p:nvPr/>
          </p:nvSpPr>
          <p:spPr>
            <a:xfrm>
              <a:off x="6629015" y="4204538"/>
              <a:ext cx="26751" cy="28086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048" name="Google Shape;2048;p33"/>
            <p:cNvGrpSpPr/>
            <p:nvPr/>
          </p:nvGrpSpPr>
          <p:grpSpPr>
            <a:xfrm>
              <a:off x="6551528" y="4270928"/>
              <a:ext cx="147953" cy="112133"/>
              <a:chOff x="6621095" y="1452181"/>
              <a:chExt cx="330894" cy="250785"/>
            </a:xfrm>
          </p:grpSpPr>
          <p:sp>
            <p:nvSpPr>
              <p:cNvPr id="2049" name="Google Shape;2049;p33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0" name="Google Shape;2050;p33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1" name="Google Shape;2051;p33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2" name="Google Shape;2052;p33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3" name="Google Shape;2053;p33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54" name="Google Shape;2054;p33"/>
          <p:cNvSpPr/>
          <p:nvPr/>
        </p:nvSpPr>
        <p:spPr>
          <a:xfrm>
            <a:off x="4329725" y="1397200"/>
            <a:ext cx="3519000" cy="221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rPr>
              <a:t>Place your screenshot here</a:t>
            </a:r>
            <a:endParaRPr sz="1000">
              <a:solidFill>
                <a:schemeClr val="dk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38" name="Google Shape;741;p18">
            <a:extLst>
              <a:ext uri="{FF2B5EF4-FFF2-40B4-BE49-F238E27FC236}">
                <a16:creationId xmlns:a16="http://schemas.microsoft.com/office/drawing/2014/main" id="{F0A00A8E-C3E6-41F3-87A3-A72FEA53E43E}"/>
              </a:ext>
            </a:extLst>
          </p:cNvPr>
          <p:cNvSpPr txBox="1">
            <a:spLocks/>
          </p:cNvSpPr>
          <p:nvPr/>
        </p:nvSpPr>
        <p:spPr>
          <a:xfrm>
            <a:off x="733567" y="1540646"/>
            <a:ext cx="3597263" cy="115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CA" sz="4400" dirty="0">
                <a:solidFill>
                  <a:schemeClr val="bg1"/>
                </a:solidFill>
              </a:rPr>
              <a:t>App </a:t>
            </a:r>
          </a:p>
          <a:p>
            <a:r>
              <a:rPr lang="en-CA" sz="4400" dirty="0">
                <a:solidFill>
                  <a:schemeClr val="bg1"/>
                </a:solidFill>
              </a:rPr>
              <a:t>Launching</a:t>
            </a:r>
          </a:p>
        </p:txBody>
      </p:sp>
      <p:sp>
        <p:nvSpPr>
          <p:cNvPr id="39" name="Subtitle 2">
            <a:extLst>
              <a:ext uri="{FF2B5EF4-FFF2-40B4-BE49-F238E27FC236}">
                <a16:creationId xmlns:a16="http://schemas.microsoft.com/office/drawing/2014/main" id="{11B87023-48FD-4A1B-8945-3FFAB78027B5}"/>
              </a:ext>
            </a:extLst>
          </p:cNvPr>
          <p:cNvSpPr txBox="1">
            <a:spLocks/>
          </p:cNvSpPr>
          <p:nvPr/>
        </p:nvSpPr>
        <p:spPr>
          <a:xfrm>
            <a:off x="733567" y="2978104"/>
            <a:ext cx="4272261" cy="38370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CA" sz="1600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ta Job Dashboard (datajobapp.herokuapp.com)</a:t>
            </a:r>
            <a:endParaRPr lang="en-CA" sz="1600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A70B230-2FB1-4A1B-A3E8-0A83C66FE7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64078" y="1452437"/>
            <a:ext cx="3450142" cy="2138747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ummary of Insight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780361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nswers to our questions.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5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4048;p38">
            <a:extLst>
              <a:ext uri="{FF2B5EF4-FFF2-40B4-BE49-F238E27FC236}">
                <a16:creationId xmlns:a16="http://schemas.microsoft.com/office/drawing/2014/main" id="{92EFB437-7703-4CFA-A7AB-58C6592A92E2}"/>
              </a:ext>
            </a:extLst>
          </p:cNvPr>
          <p:cNvGrpSpPr/>
          <p:nvPr/>
        </p:nvGrpSpPr>
        <p:grpSpPr>
          <a:xfrm>
            <a:off x="5482193" y="764942"/>
            <a:ext cx="3222991" cy="3384340"/>
            <a:chOff x="2181300" y="231400"/>
            <a:chExt cx="4262637" cy="4762499"/>
          </a:xfrm>
        </p:grpSpPr>
        <p:sp>
          <p:nvSpPr>
            <p:cNvPr id="112" name="Google Shape;4049;p38">
              <a:extLst>
                <a:ext uri="{FF2B5EF4-FFF2-40B4-BE49-F238E27FC236}">
                  <a16:creationId xmlns:a16="http://schemas.microsoft.com/office/drawing/2014/main" id="{E312EFF2-9294-490C-A3F5-ABF7CA587AF6}"/>
                </a:ext>
              </a:extLst>
            </p:cNvPr>
            <p:cNvSpPr/>
            <p:nvPr/>
          </p:nvSpPr>
          <p:spPr>
            <a:xfrm>
              <a:off x="4504120" y="3382365"/>
              <a:ext cx="236644" cy="133254"/>
            </a:xfrm>
            <a:custGeom>
              <a:avLst/>
              <a:gdLst/>
              <a:ahLst/>
              <a:cxnLst/>
              <a:rect l="l" t="t" r="r" b="b"/>
              <a:pathLst>
                <a:path w="236644" h="133254" extrusionOk="0">
                  <a:moveTo>
                    <a:pt x="125355" y="133255"/>
                  </a:moveTo>
                  <a:lnTo>
                    <a:pt x="0" y="64389"/>
                  </a:lnTo>
                  <a:lnTo>
                    <a:pt x="111289" y="0"/>
                  </a:lnTo>
                  <a:lnTo>
                    <a:pt x="236644" y="68866"/>
                  </a:lnTo>
                  <a:lnTo>
                    <a:pt x="125355" y="13325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4050;p38">
              <a:extLst>
                <a:ext uri="{FF2B5EF4-FFF2-40B4-BE49-F238E27FC236}">
                  <a16:creationId xmlns:a16="http://schemas.microsoft.com/office/drawing/2014/main" id="{9013F007-5E2D-49B8-9782-A7C88FBD2480}"/>
                </a:ext>
              </a:extLst>
            </p:cNvPr>
            <p:cNvSpPr/>
            <p:nvPr/>
          </p:nvSpPr>
          <p:spPr>
            <a:xfrm>
              <a:off x="5178128" y="3780033"/>
              <a:ext cx="236549" cy="133254"/>
            </a:xfrm>
            <a:custGeom>
              <a:avLst/>
              <a:gdLst/>
              <a:ahLst/>
              <a:cxnLst/>
              <a:rect l="l" t="t" r="r" b="b"/>
              <a:pathLst>
                <a:path w="236549" h="133254" extrusionOk="0">
                  <a:moveTo>
                    <a:pt x="125355" y="133255"/>
                  </a:moveTo>
                  <a:lnTo>
                    <a:pt x="0" y="64294"/>
                  </a:lnTo>
                  <a:lnTo>
                    <a:pt x="111290" y="0"/>
                  </a:lnTo>
                  <a:lnTo>
                    <a:pt x="236549" y="68866"/>
                  </a:lnTo>
                  <a:lnTo>
                    <a:pt x="125355" y="13325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4051;p38">
              <a:extLst>
                <a:ext uri="{FF2B5EF4-FFF2-40B4-BE49-F238E27FC236}">
                  <a16:creationId xmlns:a16="http://schemas.microsoft.com/office/drawing/2014/main" id="{99250D63-EE0B-45AE-BF71-B15DACF159BD}"/>
                </a:ext>
              </a:extLst>
            </p:cNvPr>
            <p:cNvSpPr/>
            <p:nvPr/>
          </p:nvSpPr>
          <p:spPr>
            <a:xfrm>
              <a:off x="4560192" y="2212790"/>
              <a:ext cx="494767" cy="1273873"/>
            </a:xfrm>
            <a:custGeom>
              <a:avLst/>
              <a:gdLst/>
              <a:ahLst/>
              <a:cxnLst/>
              <a:rect l="l" t="t" r="r" b="b"/>
              <a:pathLst>
                <a:path w="494767" h="1273873" extrusionOk="0">
                  <a:moveTo>
                    <a:pt x="118227" y="1273874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767" y="68389"/>
                  </a:lnTo>
                  <a:lnTo>
                    <a:pt x="118227" y="127387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4052;p38">
              <a:extLst>
                <a:ext uri="{FF2B5EF4-FFF2-40B4-BE49-F238E27FC236}">
                  <a16:creationId xmlns:a16="http://schemas.microsoft.com/office/drawing/2014/main" id="{10BCC2ED-D490-45F2-A0B8-80A3CA4F4C33}"/>
                </a:ext>
              </a:extLst>
            </p:cNvPr>
            <p:cNvSpPr/>
            <p:nvPr/>
          </p:nvSpPr>
          <p:spPr>
            <a:xfrm>
              <a:off x="4629475" y="2174500"/>
              <a:ext cx="494671" cy="1273873"/>
            </a:xfrm>
            <a:custGeom>
              <a:avLst/>
              <a:gdLst/>
              <a:ahLst/>
              <a:cxnLst/>
              <a:rect l="l" t="t" r="r" b="b"/>
              <a:pathLst>
                <a:path w="494671" h="1273873" extrusionOk="0">
                  <a:moveTo>
                    <a:pt x="118227" y="1273873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672" y="68389"/>
                  </a:lnTo>
                  <a:lnTo>
                    <a:pt x="118227" y="1273873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4053;p38">
              <a:extLst>
                <a:ext uri="{FF2B5EF4-FFF2-40B4-BE49-F238E27FC236}">
                  <a16:creationId xmlns:a16="http://schemas.microsoft.com/office/drawing/2014/main" id="{5020FBCA-1B53-4665-AAA8-376BB30C4CE8}"/>
                </a:ext>
              </a:extLst>
            </p:cNvPr>
            <p:cNvSpPr/>
            <p:nvPr/>
          </p:nvSpPr>
          <p:spPr>
            <a:xfrm>
              <a:off x="4560192" y="2212790"/>
              <a:ext cx="494767" cy="1273873"/>
            </a:xfrm>
            <a:custGeom>
              <a:avLst/>
              <a:gdLst/>
              <a:ahLst/>
              <a:cxnLst/>
              <a:rect l="l" t="t" r="r" b="b"/>
              <a:pathLst>
                <a:path w="494767" h="1273873" extrusionOk="0">
                  <a:moveTo>
                    <a:pt x="118227" y="1273874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767" y="68389"/>
                  </a:lnTo>
                  <a:lnTo>
                    <a:pt x="118227" y="127387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4054;p38">
              <a:extLst>
                <a:ext uri="{FF2B5EF4-FFF2-40B4-BE49-F238E27FC236}">
                  <a16:creationId xmlns:a16="http://schemas.microsoft.com/office/drawing/2014/main" id="{1FFAEDF6-748E-4345-AD21-962442706A44}"/>
                </a:ext>
              </a:extLst>
            </p:cNvPr>
            <p:cNvSpPr/>
            <p:nvPr/>
          </p:nvSpPr>
          <p:spPr>
            <a:xfrm>
              <a:off x="5160832" y="2249175"/>
              <a:ext cx="281692" cy="1586388"/>
            </a:xfrm>
            <a:custGeom>
              <a:avLst/>
              <a:gdLst/>
              <a:ahLst/>
              <a:cxnLst/>
              <a:rect l="l" t="t" r="r" b="b"/>
              <a:pathLst>
                <a:path w="281692" h="1586388" extrusionOk="0">
                  <a:moveTo>
                    <a:pt x="281692" y="1586389"/>
                  </a:moveTo>
                  <a:lnTo>
                    <a:pt x="162610" y="1517428"/>
                  </a:lnTo>
                  <a:lnTo>
                    <a:pt x="0" y="0"/>
                  </a:lnTo>
                  <a:lnTo>
                    <a:pt x="118227" y="68485"/>
                  </a:lnTo>
                  <a:lnTo>
                    <a:pt x="281692" y="1586389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4055;p38">
              <a:extLst>
                <a:ext uri="{FF2B5EF4-FFF2-40B4-BE49-F238E27FC236}">
                  <a16:creationId xmlns:a16="http://schemas.microsoft.com/office/drawing/2014/main" id="{55BC6475-1E6F-462D-A0EF-52302D9A3123}"/>
                </a:ext>
              </a:extLst>
            </p:cNvPr>
            <p:cNvSpPr/>
            <p:nvPr/>
          </p:nvSpPr>
          <p:spPr>
            <a:xfrm>
              <a:off x="5078053" y="2296515"/>
              <a:ext cx="281692" cy="1586388"/>
            </a:xfrm>
            <a:custGeom>
              <a:avLst/>
              <a:gdLst/>
              <a:ahLst/>
              <a:cxnLst/>
              <a:rect l="l" t="t" r="r" b="b"/>
              <a:pathLst>
                <a:path w="281692" h="1586388" extrusionOk="0">
                  <a:moveTo>
                    <a:pt x="281692" y="1586389"/>
                  </a:moveTo>
                  <a:lnTo>
                    <a:pt x="162610" y="1517428"/>
                  </a:lnTo>
                  <a:lnTo>
                    <a:pt x="0" y="0"/>
                  </a:lnTo>
                  <a:lnTo>
                    <a:pt x="118227" y="68390"/>
                  </a:lnTo>
                  <a:lnTo>
                    <a:pt x="281692" y="1586389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4056;p38">
              <a:extLst>
                <a:ext uri="{FF2B5EF4-FFF2-40B4-BE49-F238E27FC236}">
                  <a16:creationId xmlns:a16="http://schemas.microsoft.com/office/drawing/2014/main" id="{3E7BB34A-61C5-4949-BD1C-9907B6B14738}"/>
                </a:ext>
              </a:extLst>
            </p:cNvPr>
            <p:cNvSpPr/>
            <p:nvPr/>
          </p:nvSpPr>
          <p:spPr>
            <a:xfrm>
              <a:off x="4075404" y="1596713"/>
              <a:ext cx="2321774" cy="1343501"/>
            </a:xfrm>
            <a:custGeom>
              <a:avLst/>
              <a:gdLst/>
              <a:ahLst/>
              <a:cxnLst/>
              <a:rect l="l" t="t" r="r" b="b"/>
              <a:pathLst>
                <a:path w="2321774" h="1343501" extrusionOk="0">
                  <a:moveTo>
                    <a:pt x="2221415" y="1343501"/>
                  </a:moveTo>
                  <a:lnTo>
                    <a:pt x="0" y="58103"/>
                  </a:lnTo>
                  <a:lnTo>
                    <a:pt x="100360" y="0"/>
                  </a:lnTo>
                  <a:lnTo>
                    <a:pt x="2321775" y="1285399"/>
                  </a:lnTo>
                  <a:lnTo>
                    <a:pt x="2221415" y="1343501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4057;p38">
              <a:extLst>
                <a:ext uri="{FF2B5EF4-FFF2-40B4-BE49-F238E27FC236}">
                  <a16:creationId xmlns:a16="http://schemas.microsoft.com/office/drawing/2014/main" id="{AF3969C9-FE14-4BC3-9FF1-11DECE919C3D}"/>
                </a:ext>
              </a:extLst>
            </p:cNvPr>
            <p:cNvSpPr/>
            <p:nvPr/>
          </p:nvSpPr>
          <p:spPr>
            <a:xfrm>
              <a:off x="4075404" y="1654530"/>
              <a:ext cx="2221415" cy="1401603"/>
            </a:xfrm>
            <a:custGeom>
              <a:avLst/>
              <a:gdLst/>
              <a:ahLst/>
              <a:cxnLst/>
              <a:rect l="l" t="t" r="r" b="b"/>
              <a:pathLst>
                <a:path w="2221415" h="1401603" extrusionOk="0">
                  <a:moveTo>
                    <a:pt x="2221415" y="1401604"/>
                  </a:moveTo>
                  <a:lnTo>
                    <a:pt x="0" y="116205"/>
                  </a:lnTo>
                  <a:lnTo>
                    <a:pt x="0" y="0"/>
                  </a:lnTo>
                  <a:lnTo>
                    <a:pt x="2221415" y="1285399"/>
                  </a:lnTo>
                  <a:lnTo>
                    <a:pt x="2221415" y="140160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4058;p38">
              <a:extLst>
                <a:ext uri="{FF2B5EF4-FFF2-40B4-BE49-F238E27FC236}">
                  <a16:creationId xmlns:a16="http://schemas.microsoft.com/office/drawing/2014/main" id="{2902419B-3949-4834-9692-9835091627D3}"/>
                </a:ext>
              </a:extLst>
            </p:cNvPr>
            <p:cNvSpPr/>
            <p:nvPr/>
          </p:nvSpPr>
          <p:spPr>
            <a:xfrm>
              <a:off x="4206176" y="231400"/>
              <a:ext cx="2045689" cy="2621660"/>
            </a:xfrm>
            <a:custGeom>
              <a:avLst/>
              <a:gdLst/>
              <a:ahLst/>
              <a:cxnLst/>
              <a:rect l="l" t="t" r="r" b="b"/>
              <a:pathLst>
                <a:path w="2045689" h="2621660" extrusionOk="0">
                  <a:moveTo>
                    <a:pt x="2045690" y="2621661"/>
                  </a:moveTo>
                  <a:lnTo>
                    <a:pt x="0" y="1437894"/>
                  </a:lnTo>
                  <a:lnTo>
                    <a:pt x="0" y="0"/>
                  </a:lnTo>
                  <a:lnTo>
                    <a:pt x="2045690" y="1183767"/>
                  </a:lnTo>
                  <a:lnTo>
                    <a:pt x="2045690" y="262166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4059;p38">
              <a:extLst>
                <a:ext uri="{FF2B5EF4-FFF2-40B4-BE49-F238E27FC236}">
                  <a16:creationId xmlns:a16="http://schemas.microsoft.com/office/drawing/2014/main" id="{91DFA30D-89CB-4303-8778-FF534B2EF8A5}"/>
                </a:ext>
              </a:extLst>
            </p:cNvPr>
            <p:cNvSpPr/>
            <p:nvPr/>
          </p:nvSpPr>
          <p:spPr>
            <a:xfrm>
              <a:off x="6296819" y="2879159"/>
              <a:ext cx="101975" cy="176974"/>
            </a:xfrm>
            <a:custGeom>
              <a:avLst/>
              <a:gdLst/>
              <a:ahLst/>
              <a:cxnLst/>
              <a:rect l="l" t="t" r="r" b="b"/>
              <a:pathLst>
                <a:path w="101975" h="176974" extrusionOk="0">
                  <a:moveTo>
                    <a:pt x="101975" y="118015"/>
                  </a:moveTo>
                  <a:lnTo>
                    <a:pt x="0" y="176974"/>
                  </a:lnTo>
                  <a:lnTo>
                    <a:pt x="0" y="58960"/>
                  </a:lnTo>
                  <a:lnTo>
                    <a:pt x="101975" y="0"/>
                  </a:lnTo>
                  <a:lnTo>
                    <a:pt x="101975" y="118015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4060;p38">
              <a:extLst>
                <a:ext uri="{FF2B5EF4-FFF2-40B4-BE49-F238E27FC236}">
                  <a16:creationId xmlns:a16="http://schemas.microsoft.com/office/drawing/2014/main" id="{85ACE35C-17DF-4FED-A6F1-76FED6AEA2A0}"/>
                </a:ext>
              </a:extLst>
            </p:cNvPr>
            <p:cNvSpPr/>
            <p:nvPr/>
          </p:nvSpPr>
          <p:spPr>
            <a:xfrm>
              <a:off x="4356811" y="496480"/>
              <a:ext cx="169452" cy="163353"/>
            </a:xfrm>
            <a:custGeom>
              <a:avLst/>
              <a:gdLst/>
              <a:ahLst/>
              <a:cxnLst/>
              <a:rect l="l" t="t" r="r" b="b"/>
              <a:pathLst>
                <a:path w="169452" h="163353" extrusionOk="0">
                  <a:moveTo>
                    <a:pt x="169453" y="163354"/>
                  </a:moveTo>
                  <a:lnTo>
                    <a:pt x="0" y="65341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35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4061;p38">
              <a:extLst>
                <a:ext uri="{FF2B5EF4-FFF2-40B4-BE49-F238E27FC236}">
                  <a16:creationId xmlns:a16="http://schemas.microsoft.com/office/drawing/2014/main" id="{A79A64A2-A843-4F64-879A-BF79F9327B9F}"/>
                </a:ext>
              </a:extLst>
            </p:cNvPr>
            <p:cNvSpPr/>
            <p:nvPr/>
          </p:nvSpPr>
          <p:spPr>
            <a:xfrm>
              <a:off x="4598397" y="636212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4062;p38">
              <a:extLst>
                <a:ext uri="{FF2B5EF4-FFF2-40B4-BE49-F238E27FC236}">
                  <a16:creationId xmlns:a16="http://schemas.microsoft.com/office/drawing/2014/main" id="{F9D5E1DD-AFD6-4000-A02E-8B0BCB6EE47C}"/>
                </a:ext>
              </a:extLst>
            </p:cNvPr>
            <p:cNvSpPr/>
            <p:nvPr/>
          </p:nvSpPr>
          <p:spPr>
            <a:xfrm>
              <a:off x="4356811" y="619924"/>
              <a:ext cx="169452" cy="163353"/>
            </a:xfrm>
            <a:custGeom>
              <a:avLst/>
              <a:gdLst/>
              <a:ahLst/>
              <a:cxnLst/>
              <a:rect l="l" t="t" r="r" b="b"/>
              <a:pathLst>
                <a:path w="169452" h="163353" extrusionOk="0">
                  <a:moveTo>
                    <a:pt x="169453" y="163354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35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4063;p38">
              <a:extLst>
                <a:ext uri="{FF2B5EF4-FFF2-40B4-BE49-F238E27FC236}">
                  <a16:creationId xmlns:a16="http://schemas.microsoft.com/office/drawing/2014/main" id="{F9719D75-D3AD-4A61-A6E1-485778DDEFAC}"/>
                </a:ext>
              </a:extLst>
            </p:cNvPr>
            <p:cNvSpPr/>
            <p:nvPr/>
          </p:nvSpPr>
          <p:spPr>
            <a:xfrm>
              <a:off x="4598397" y="759656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4064;p38">
              <a:extLst>
                <a:ext uri="{FF2B5EF4-FFF2-40B4-BE49-F238E27FC236}">
                  <a16:creationId xmlns:a16="http://schemas.microsoft.com/office/drawing/2014/main" id="{9AFD94F0-424D-4612-A02F-2C681D7FB3C7}"/>
                </a:ext>
              </a:extLst>
            </p:cNvPr>
            <p:cNvSpPr/>
            <p:nvPr/>
          </p:nvSpPr>
          <p:spPr>
            <a:xfrm>
              <a:off x="4356811" y="761466"/>
              <a:ext cx="169452" cy="163448"/>
            </a:xfrm>
            <a:custGeom>
              <a:avLst/>
              <a:gdLst/>
              <a:ahLst/>
              <a:cxnLst/>
              <a:rect l="l" t="t" r="r" b="b"/>
              <a:pathLst>
                <a:path w="169452" h="163448" extrusionOk="0">
                  <a:moveTo>
                    <a:pt x="169453" y="16344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169453" y="98107"/>
                  </a:lnTo>
                  <a:lnTo>
                    <a:pt x="169453" y="16344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4065;p38">
              <a:extLst>
                <a:ext uri="{FF2B5EF4-FFF2-40B4-BE49-F238E27FC236}">
                  <a16:creationId xmlns:a16="http://schemas.microsoft.com/office/drawing/2014/main" id="{264E8B0E-9A39-4E8B-BD0E-1D2A3F485037}"/>
                </a:ext>
              </a:extLst>
            </p:cNvPr>
            <p:cNvSpPr/>
            <p:nvPr/>
          </p:nvSpPr>
          <p:spPr>
            <a:xfrm>
              <a:off x="4598397" y="901293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4066;p38">
              <a:extLst>
                <a:ext uri="{FF2B5EF4-FFF2-40B4-BE49-F238E27FC236}">
                  <a16:creationId xmlns:a16="http://schemas.microsoft.com/office/drawing/2014/main" id="{20C3D60F-5256-434F-B5E3-FA575D8C7020}"/>
                </a:ext>
              </a:extLst>
            </p:cNvPr>
            <p:cNvSpPr/>
            <p:nvPr/>
          </p:nvSpPr>
          <p:spPr>
            <a:xfrm>
              <a:off x="4356811" y="903102"/>
              <a:ext cx="169452" cy="163449"/>
            </a:xfrm>
            <a:custGeom>
              <a:avLst/>
              <a:gdLst/>
              <a:ahLst/>
              <a:cxnLst/>
              <a:rect l="l" t="t" r="r" b="b"/>
              <a:pathLst>
                <a:path w="169452" h="163449" extrusionOk="0">
                  <a:moveTo>
                    <a:pt x="169453" y="16344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44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4067;p38">
              <a:extLst>
                <a:ext uri="{FF2B5EF4-FFF2-40B4-BE49-F238E27FC236}">
                  <a16:creationId xmlns:a16="http://schemas.microsoft.com/office/drawing/2014/main" id="{E2BF317B-2466-491D-B1EF-6E126C0E55C6}"/>
                </a:ext>
              </a:extLst>
            </p:cNvPr>
            <p:cNvSpPr/>
            <p:nvPr/>
          </p:nvSpPr>
          <p:spPr>
            <a:xfrm>
              <a:off x="4598397" y="1042929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4068;p38">
              <a:extLst>
                <a:ext uri="{FF2B5EF4-FFF2-40B4-BE49-F238E27FC236}">
                  <a16:creationId xmlns:a16="http://schemas.microsoft.com/office/drawing/2014/main" id="{A895CEE9-8115-4F31-8292-2D74543B8C1E}"/>
                </a:ext>
              </a:extLst>
            </p:cNvPr>
            <p:cNvSpPr/>
            <p:nvPr/>
          </p:nvSpPr>
          <p:spPr>
            <a:xfrm>
              <a:off x="5115879" y="982814"/>
              <a:ext cx="204046" cy="276142"/>
            </a:xfrm>
            <a:custGeom>
              <a:avLst/>
              <a:gdLst/>
              <a:ahLst/>
              <a:cxnLst/>
              <a:rect l="l" t="t" r="r" b="b"/>
              <a:pathLst>
                <a:path w="204046" h="276142" extrusionOk="0">
                  <a:moveTo>
                    <a:pt x="665" y="41256"/>
                  </a:moveTo>
                  <a:cubicBezTo>
                    <a:pt x="38205" y="-7321"/>
                    <a:pt x="105207" y="-15132"/>
                    <a:pt x="182188" y="29255"/>
                  </a:cubicBezTo>
                  <a:cubicBezTo>
                    <a:pt x="189601" y="33541"/>
                    <a:pt x="196918" y="38208"/>
                    <a:pt x="204046" y="43161"/>
                  </a:cubicBezTo>
                  <a:lnTo>
                    <a:pt x="182663" y="276143"/>
                  </a:lnTo>
                  <a:lnTo>
                    <a:pt x="0" y="42209"/>
                  </a:lnTo>
                  <a:close/>
                </a:path>
              </a:pathLst>
            </a:custGeom>
            <a:solidFill>
              <a:srgbClr val="4399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4069;p38">
              <a:extLst>
                <a:ext uri="{FF2B5EF4-FFF2-40B4-BE49-F238E27FC236}">
                  <a16:creationId xmlns:a16="http://schemas.microsoft.com/office/drawing/2014/main" id="{00410331-7635-4FEE-B5EF-12A8F6C4E6CB}"/>
                </a:ext>
              </a:extLst>
            </p:cNvPr>
            <p:cNvSpPr/>
            <p:nvPr/>
          </p:nvSpPr>
          <p:spPr>
            <a:xfrm>
              <a:off x="5297876" y="1025975"/>
              <a:ext cx="199579" cy="260699"/>
            </a:xfrm>
            <a:custGeom>
              <a:avLst/>
              <a:gdLst/>
              <a:ahLst/>
              <a:cxnLst/>
              <a:rect l="l" t="t" r="r" b="b"/>
              <a:pathLst>
                <a:path w="199579" h="260699" extrusionOk="0">
                  <a:moveTo>
                    <a:pt x="199580" y="260699"/>
                  </a:moveTo>
                  <a:lnTo>
                    <a:pt x="0" y="232981"/>
                  </a:lnTo>
                  <a:lnTo>
                    <a:pt x="21859" y="0"/>
                  </a:lnTo>
                  <a:cubicBezTo>
                    <a:pt x="103591" y="56864"/>
                    <a:pt x="171733" y="158972"/>
                    <a:pt x="199580" y="260699"/>
                  </a:cubicBez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4070;p38">
              <a:extLst>
                <a:ext uri="{FF2B5EF4-FFF2-40B4-BE49-F238E27FC236}">
                  <a16:creationId xmlns:a16="http://schemas.microsoft.com/office/drawing/2014/main" id="{3A92E3A4-AECD-45C0-ACD5-DAAFB2BA34B0}"/>
                </a:ext>
              </a:extLst>
            </p:cNvPr>
            <p:cNvSpPr/>
            <p:nvPr/>
          </p:nvSpPr>
          <p:spPr>
            <a:xfrm>
              <a:off x="5298541" y="1258956"/>
              <a:ext cx="212884" cy="276193"/>
            </a:xfrm>
            <a:custGeom>
              <a:avLst/>
              <a:gdLst/>
              <a:ahLst/>
              <a:cxnLst/>
              <a:rect l="l" t="t" r="r" b="b"/>
              <a:pathLst>
                <a:path w="212884" h="276193" extrusionOk="0">
                  <a:moveTo>
                    <a:pt x="212885" y="123444"/>
                  </a:moveTo>
                  <a:cubicBezTo>
                    <a:pt x="212885" y="228219"/>
                    <a:pt x="155862" y="285369"/>
                    <a:pt x="76315" y="274987"/>
                  </a:cubicBezTo>
                  <a:lnTo>
                    <a:pt x="0" y="0"/>
                  </a:lnTo>
                  <a:lnTo>
                    <a:pt x="199580" y="27718"/>
                  </a:lnTo>
                  <a:cubicBezTo>
                    <a:pt x="208332" y="58874"/>
                    <a:pt x="212809" y="91078"/>
                    <a:pt x="212885" y="123444"/>
                  </a:cubicBez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4071;p38">
              <a:extLst>
                <a:ext uri="{FF2B5EF4-FFF2-40B4-BE49-F238E27FC236}">
                  <a16:creationId xmlns:a16="http://schemas.microsoft.com/office/drawing/2014/main" id="{4EAB0118-C960-4FCE-94DC-930325E4CBFD}"/>
                </a:ext>
              </a:extLst>
            </p:cNvPr>
            <p:cNvSpPr/>
            <p:nvPr/>
          </p:nvSpPr>
          <p:spPr>
            <a:xfrm>
              <a:off x="5084706" y="1024070"/>
              <a:ext cx="290055" cy="509778"/>
            </a:xfrm>
            <a:custGeom>
              <a:avLst/>
              <a:gdLst/>
              <a:ahLst/>
              <a:cxnLst/>
              <a:rect l="l" t="t" r="r" b="b"/>
              <a:pathLst>
                <a:path w="290055" h="509778" extrusionOk="0">
                  <a:moveTo>
                    <a:pt x="31172" y="952"/>
                  </a:moveTo>
                  <a:cubicBezTo>
                    <a:pt x="11405" y="26956"/>
                    <a:pt x="0" y="64389"/>
                    <a:pt x="0" y="111442"/>
                  </a:cubicBezTo>
                  <a:cubicBezTo>
                    <a:pt x="0" y="247840"/>
                    <a:pt x="95513" y="413575"/>
                    <a:pt x="213360" y="481775"/>
                  </a:cubicBezTo>
                  <a:cubicBezTo>
                    <a:pt x="236863" y="496024"/>
                    <a:pt x="262913" y="505539"/>
                    <a:pt x="290055" y="509778"/>
                  </a:cubicBezTo>
                  <a:lnTo>
                    <a:pt x="213835" y="234886"/>
                  </a:lnTo>
                  <a:lnTo>
                    <a:pt x="3231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4072;p38">
              <a:extLst>
                <a:ext uri="{FF2B5EF4-FFF2-40B4-BE49-F238E27FC236}">
                  <a16:creationId xmlns:a16="http://schemas.microsoft.com/office/drawing/2014/main" id="{2761FB0B-55CD-4028-B3B4-09FB83CA4AD4}"/>
                </a:ext>
              </a:extLst>
            </p:cNvPr>
            <p:cNvSpPr/>
            <p:nvPr/>
          </p:nvSpPr>
          <p:spPr>
            <a:xfrm>
              <a:off x="5705494" y="1324174"/>
              <a:ext cx="204331" cy="276159"/>
            </a:xfrm>
            <a:custGeom>
              <a:avLst/>
              <a:gdLst/>
              <a:ahLst/>
              <a:cxnLst/>
              <a:rect l="l" t="t" r="r" b="b"/>
              <a:pathLst>
                <a:path w="204331" h="276159" extrusionOk="0">
                  <a:moveTo>
                    <a:pt x="950" y="41272"/>
                  </a:moveTo>
                  <a:cubicBezTo>
                    <a:pt x="38490" y="-7305"/>
                    <a:pt x="105492" y="-15116"/>
                    <a:pt x="182473" y="29176"/>
                  </a:cubicBezTo>
                  <a:cubicBezTo>
                    <a:pt x="189885" y="33462"/>
                    <a:pt x="197108" y="38129"/>
                    <a:pt x="204331" y="43178"/>
                  </a:cubicBezTo>
                  <a:lnTo>
                    <a:pt x="182283" y="276159"/>
                  </a:lnTo>
                  <a:lnTo>
                    <a:pt x="0" y="42130"/>
                  </a:lnTo>
                  <a:close/>
                </a:path>
              </a:pathLst>
            </a:custGeom>
            <a:solidFill>
              <a:srgbClr val="54352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4073;p38">
              <a:extLst>
                <a:ext uri="{FF2B5EF4-FFF2-40B4-BE49-F238E27FC236}">
                  <a16:creationId xmlns:a16="http://schemas.microsoft.com/office/drawing/2014/main" id="{0D035010-2C03-4AB3-A76F-26056206C250}"/>
                </a:ext>
              </a:extLst>
            </p:cNvPr>
            <p:cNvSpPr/>
            <p:nvPr/>
          </p:nvSpPr>
          <p:spPr>
            <a:xfrm>
              <a:off x="5887776" y="1367351"/>
              <a:ext cx="199579" cy="260603"/>
            </a:xfrm>
            <a:custGeom>
              <a:avLst/>
              <a:gdLst/>
              <a:ahLst/>
              <a:cxnLst/>
              <a:rect l="l" t="t" r="r" b="b"/>
              <a:pathLst>
                <a:path w="199579" h="260603" extrusionOk="0">
                  <a:moveTo>
                    <a:pt x="199580" y="260604"/>
                  </a:moveTo>
                  <a:lnTo>
                    <a:pt x="0" y="232981"/>
                  </a:lnTo>
                  <a:lnTo>
                    <a:pt x="21859" y="0"/>
                  </a:lnTo>
                  <a:cubicBezTo>
                    <a:pt x="103591" y="56769"/>
                    <a:pt x="171638" y="158877"/>
                    <a:pt x="199580" y="260604"/>
                  </a:cubicBezTo>
                  <a:close/>
                </a:path>
              </a:pathLst>
            </a:custGeom>
            <a:solidFill>
              <a:srgbClr val="1B96E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4074;p38">
              <a:extLst>
                <a:ext uri="{FF2B5EF4-FFF2-40B4-BE49-F238E27FC236}">
                  <a16:creationId xmlns:a16="http://schemas.microsoft.com/office/drawing/2014/main" id="{A6F7785B-8B76-4BFF-8964-E26E1F9BA3BD}"/>
                </a:ext>
              </a:extLst>
            </p:cNvPr>
            <p:cNvSpPr/>
            <p:nvPr/>
          </p:nvSpPr>
          <p:spPr>
            <a:xfrm>
              <a:off x="5887776" y="1600333"/>
              <a:ext cx="213550" cy="276118"/>
            </a:xfrm>
            <a:custGeom>
              <a:avLst/>
              <a:gdLst/>
              <a:ahLst/>
              <a:cxnLst/>
              <a:rect l="l" t="t" r="r" b="b"/>
              <a:pathLst>
                <a:path w="213550" h="276118" extrusionOk="0">
                  <a:moveTo>
                    <a:pt x="213550" y="123444"/>
                  </a:moveTo>
                  <a:cubicBezTo>
                    <a:pt x="213550" y="228219"/>
                    <a:pt x="156527" y="285369"/>
                    <a:pt x="76981" y="274892"/>
                  </a:cubicBezTo>
                  <a:lnTo>
                    <a:pt x="0" y="0"/>
                  </a:lnTo>
                  <a:lnTo>
                    <a:pt x="199580" y="27622"/>
                  </a:lnTo>
                  <a:cubicBezTo>
                    <a:pt x="208504" y="58788"/>
                    <a:pt x="213208" y="91021"/>
                    <a:pt x="213550" y="1234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4075;p38">
              <a:extLst>
                <a:ext uri="{FF2B5EF4-FFF2-40B4-BE49-F238E27FC236}">
                  <a16:creationId xmlns:a16="http://schemas.microsoft.com/office/drawing/2014/main" id="{519C3007-2370-40FB-940D-A4E4A3CD38BA}"/>
                </a:ext>
              </a:extLst>
            </p:cNvPr>
            <p:cNvSpPr/>
            <p:nvPr/>
          </p:nvSpPr>
          <p:spPr>
            <a:xfrm>
              <a:off x="5674606" y="1365446"/>
              <a:ext cx="290055" cy="509682"/>
            </a:xfrm>
            <a:custGeom>
              <a:avLst/>
              <a:gdLst/>
              <a:ahLst/>
              <a:cxnLst/>
              <a:rect l="l" t="t" r="r" b="b"/>
              <a:pathLst>
                <a:path w="290055" h="509682" extrusionOk="0">
                  <a:moveTo>
                    <a:pt x="31077" y="857"/>
                  </a:moveTo>
                  <a:cubicBezTo>
                    <a:pt x="11404" y="26956"/>
                    <a:pt x="0" y="64294"/>
                    <a:pt x="0" y="111347"/>
                  </a:cubicBezTo>
                  <a:cubicBezTo>
                    <a:pt x="0" y="247745"/>
                    <a:pt x="95513" y="413575"/>
                    <a:pt x="213360" y="481775"/>
                  </a:cubicBezTo>
                  <a:cubicBezTo>
                    <a:pt x="236844" y="496033"/>
                    <a:pt x="262913" y="505520"/>
                    <a:pt x="290055" y="509683"/>
                  </a:cubicBezTo>
                  <a:lnTo>
                    <a:pt x="213170" y="234887"/>
                  </a:lnTo>
                  <a:lnTo>
                    <a:pt x="31647" y="0"/>
                  </a:ln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4076;p38">
              <a:extLst>
                <a:ext uri="{FF2B5EF4-FFF2-40B4-BE49-F238E27FC236}">
                  <a16:creationId xmlns:a16="http://schemas.microsoft.com/office/drawing/2014/main" id="{D32E87BC-68BE-4709-B6BE-4C2707492B35}"/>
                </a:ext>
              </a:extLst>
            </p:cNvPr>
            <p:cNvSpPr/>
            <p:nvPr/>
          </p:nvSpPr>
          <p:spPr>
            <a:xfrm>
              <a:off x="5115879" y="1943808"/>
              <a:ext cx="971477" cy="359289"/>
            </a:xfrm>
            <a:custGeom>
              <a:avLst/>
              <a:gdLst/>
              <a:ahLst/>
              <a:cxnLst/>
              <a:rect l="l" t="t" r="r" b="b"/>
              <a:pathLst>
                <a:path w="971477" h="359289" extrusionOk="0">
                  <a:moveTo>
                    <a:pt x="0" y="102961"/>
                  </a:moveTo>
                  <a:cubicBezTo>
                    <a:pt x="0" y="102961"/>
                    <a:pt x="144553" y="-173264"/>
                    <a:pt x="511684" y="179161"/>
                  </a:cubicBezTo>
                  <a:cubicBezTo>
                    <a:pt x="878815" y="531586"/>
                    <a:pt x="971477" y="258218"/>
                    <a:pt x="971477" y="258218"/>
                  </a:cubicBezTo>
                </a:path>
              </a:pathLst>
            </a:custGeom>
            <a:noFill/>
            <a:ln w="13475" cap="flat" cmpd="sng">
              <a:solidFill>
                <a:srgbClr val="D6D8E5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4077;p38">
              <a:extLst>
                <a:ext uri="{FF2B5EF4-FFF2-40B4-BE49-F238E27FC236}">
                  <a16:creationId xmlns:a16="http://schemas.microsoft.com/office/drawing/2014/main" id="{3A7DB61A-5C8C-4BEC-AF18-E094B84C7BD4}"/>
                </a:ext>
              </a:extLst>
            </p:cNvPr>
            <p:cNvSpPr/>
            <p:nvPr/>
          </p:nvSpPr>
          <p:spPr>
            <a:xfrm rot="-1801764">
              <a:off x="5403245" y="1931037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7"/>
                    <a:pt x="24995" y="86677"/>
                  </a:cubicBezTo>
                  <a:cubicBezTo>
                    <a:pt x="11191" y="86677"/>
                    <a:pt x="0" y="67274"/>
                    <a:pt x="0" y="43339"/>
                  </a:cubicBezTo>
                  <a:cubicBezTo>
                    <a:pt x="0" y="19403"/>
                    <a:pt x="11191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4078;p38">
              <a:extLst>
                <a:ext uri="{FF2B5EF4-FFF2-40B4-BE49-F238E27FC236}">
                  <a16:creationId xmlns:a16="http://schemas.microsoft.com/office/drawing/2014/main" id="{767C81CD-D0C4-4AFC-8DD6-A08108B7BAFE}"/>
                </a:ext>
              </a:extLst>
            </p:cNvPr>
            <p:cNvSpPr/>
            <p:nvPr/>
          </p:nvSpPr>
          <p:spPr>
            <a:xfrm rot="-1801764">
              <a:off x="5143652" y="1930529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7"/>
                    <a:pt x="24995" y="86677"/>
                  </a:cubicBezTo>
                  <a:cubicBezTo>
                    <a:pt x="11190" y="86677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4079;p38">
              <a:extLst>
                <a:ext uri="{FF2B5EF4-FFF2-40B4-BE49-F238E27FC236}">
                  <a16:creationId xmlns:a16="http://schemas.microsoft.com/office/drawing/2014/main" id="{62B55FBB-195E-4046-971B-2D8064C0FDD7}"/>
                </a:ext>
              </a:extLst>
            </p:cNvPr>
            <p:cNvSpPr/>
            <p:nvPr/>
          </p:nvSpPr>
          <p:spPr>
            <a:xfrm rot="-1790023">
              <a:off x="5694653" y="2149239"/>
              <a:ext cx="50164" cy="86979"/>
            </a:xfrm>
            <a:custGeom>
              <a:avLst/>
              <a:gdLst/>
              <a:ahLst/>
              <a:cxnLst/>
              <a:rect l="l" t="t" r="r" b="b"/>
              <a:pathLst>
                <a:path w="50162" h="86976" extrusionOk="0">
                  <a:moveTo>
                    <a:pt x="50164" y="43489"/>
                  </a:moveTo>
                  <a:cubicBezTo>
                    <a:pt x="50164" y="67507"/>
                    <a:pt x="38934" y="86977"/>
                    <a:pt x="25082" y="86977"/>
                  </a:cubicBezTo>
                  <a:cubicBezTo>
                    <a:pt x="11231" y="86977"/>
                    <a:pt x="1" y="67507"/>
                    <a:pt x="1" y="43489"/>
                  </a:cubicBezTo>
                  <a:cubicBezTo>
                    <a:pt x="1" y="19471"/>
                    <a:pt x="11231" y="1"/>
                    <a:pt x="25082" y="1"/>
                  </a:cubicBezTo>
                  <a:cubicBezTo>
                    <a:pt x="38934" y="1"/>
                    <a:pt x="50164" y="19471"/>
                    <a:pt x="50164" y="4348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4080;p38">
              <a:extLst>
                <a:ext uri="{FF2B5EF4-FFF2-40B4-BE49-F238E27FC236}">
                  <a16:creationId xmlns:a16="http://schemas.microsoft.com/office/drawing/2014/main" id="{94B8691A-6632-42FD-977D-57E60E96F559}"/>
                </a:ext>
              </a:extLst>
            </p:cNvPr>
            <p:cNvSpPr/>
            <p:nvPr/>
          </p:nvSpPr>
          <p:spPr>
            <a:xfrm rot="-1801764">
              <a:off x="5993267" y="2236949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4081;p38">
              <a:extLst>
                <a:ext uri="{FF2B5EF4-FFF2-40B4-BE49-F238E27FC236}">
                  <a16:creationId xmlns:a16="http://schemas.microsoft.com/office/drawing/2014/main" id="{63A7148A-9F11-406C-85E4-959410CBF4E4}"/>
                </a:ext>
              </a:extLst>
            </p:cNvPr>
            <p:cNvSpPr/>
            <p:nvPr/>
          </p:nvSpPr>
          <p:spPr>
            <a:xfrm>
              <a:off x="4356811" y="1418691"/>
              <a:ext cx="57973" cy="235172"/>
            </a:xfrm>
            <a:custGeom>
              <a:avLst/>
              <a:gdLst/>
              <a:ahLst/>
              <a:cxnLst/>
              <a:rect l="l" t="t" r="r" b="b"/>
              <a:pathLst>
                <a:path w="57973" h="235172" extrusionOk="0">
                  <a:moveTo>
                    <a:pt x="57973" y="235172"/>
                  </a:moveTo>
                  <a:lnTo>
                    <a:pt x="0" y="201549"/>
                  </a:lnTo>
                  <a:lnTo>
                    <a:pt x="0" y="0"/>
                  </a:lnTo>
                  <a:lnTo>
                    <a:pt x="57973" y="33623"/>
                  </a:lnTo>
                  <a:lnTo>
                    <a:pt x="57973" y="23517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4082;p38">
              <a:extLst>
                <a:ext uri="{FF2B5EF4-FFF2-40B4-BE49-F238E27FC236}">
                  <a16:creationId xmlns:a16="http://schemas.microsoft.com/office/drawing/2014/main" id="{FEF305EE-CA69-4E88-99BA-192AE5FF7AF2}"/>
                </a:ext>
              </a:extLst>
            </p:cNvPr>
            <p:cNvSpPr/>
            <p:nvPr/>
          </p:nvSpPr>
          <p:spPr>
            <a:xfrm>
              <a:off x="4517330" y="1440789"/>
              <a:ext cx="58068" cy="305942"/>
            </a:xfrm>
            <a:custGeom>
              <a:avLst/>
              <a:gdLst/>
              <a:ahLst/>
              <a:cxnLst/>
              <a:rect l="l" t="t" r="r" b="b"/>
              <a:pathLst>
                <a:path w="58068" h="305942" extrusionOk="0">
                  <a:moveTo>
                    <a:pt x="58068" y="305943"/>
                  </a:moveTo>
                  <a:lnTo>
                    <a:pt x="0" y="272320"/>
                  </a:lnTo>
                  <a:lnTo>
                    <a:pt x="0" y="0"/>
                  </a:lnTo>
                  <a:lnTo>
                    <a:pt x="58068" y="33623"/>
                  </a:lnTo>
                  <a:lnTo>
                    <a:pt x="58068" y="30594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4083;p38">
              <a:extLst>
                <a:ext uri="{FF2B5EF4-FFF2-40B4-BE49-F238E27FC236}">
                  <a16:creationId xmlns:a16="http://schemas.microsoft.com/office/drawing/2014/main" id="{18D38389-97E0-453A-9300-ADFA730864A9}"/>
                </a:ext>
              </a:extLst>
            </p:cNvPr>
            <p:cNvSpPr/>
            <p:nvPr/>
          </p:nvSpPr>
          <p:spPr>
            <a:xfrm>
              <a:off x="4677849" y="1415738"/>
              <a:ext cx="58067" cy="423862"/>
            </a:xfrm>
            <a:custGeom>
              <a:avLst/>
              <a:gdLst/>
              <a:ahLst/>
              <a:cxnLst/>
              <a:rect l="l" t="t" r="r" b="b"/>
              <a:pathLst>
                <a:path w="58067" h="423862" extrusionOk="0">
                  <a:moveTo>
                    <a:pt x="58068" y="423863"/>
                  </a:moveTo>
                  <a:lnTo>
                    <a:pt x="0" y="390335"/>
                  </a:lnTo>
                  <a:lnTo>
                    <a:pt x="0" y="0"/>
                  </a:lnTo>
                  <a:lnTo>
                    <a:pt x="58068" y="33528"/>
                  </a:lnTo>
                  <a:lnTo>
                    <a:pt x="58068" y="42386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4084;p38">
              <a:extLst>
                <a:ext uri="{FF2B5EF4-FFF2-40B4-BE49-F238E27FC236}">
                  <a16:creationId xmlns:a16="http://schemas.microsoft.com/office/drawing/2014/main" id="{4D126AEC-96BF-452F-A836-7D7FCD156E4A}"/>
                </a:ext>
              </a:extLst>
            </p:cNvPr>
            <p:cNvSpPr/>
            <p:nvPr/>
          </p:nvSpPr>
          <p:spPr>
            <a:xfrm>
              <a:off x="4838368" y="1414214"/>
              <a:ext cx="58068" cy="518255"/>
            </a:xfrm>
            <a:custGeom>
              <a:avLst/>
              <a:gdLst/>
              <a:ahLst/>
              <a:cxnLst/>
              <a:rect l="l" t="t" r="r" b="b"/>
              <a:pathLst>
                <a:path w="58068" h="518255" extrusionOk="0">
                  <a:moveTo>
                    <a:pt x="58068" y="518255"/>
                  </a:moveTo>
                  <a:lnTo>
                    <a:pt x="0" y="484727"/>
                  </a:lnTo>
                  <a:lnTo>
                    <a:pt x="0" y="0"/>
                  </a:lnTo>
                  <a:lnTo>
                    <a:pt x="58068" y="33528"/>
                  </a:lnTo>
                  <a:lnTo>
                    <a:pt x="58068" y="518255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4085;p38">
              <a:extLst>
                <a:ext uri="{FF2B5EF4-FFF2-40B4-BE49-F238E27FC236}">
                  <a16:creationId xmlns:a16="http://schemas.microsoft.com/office/drawing/2014/main" id="{6545A076-B9D4-42E1-B8BB-43DF05392DE4}"/>
                </a:ext>
              </a:extLst>
            </p:cNvPr>
            <p:cNvSpPr/>
            <p:nvPr/>
          </p:nvSpPr>
          <p:spPr>
            <a:xfrm>
              <a:off x="5343399" y="3731361"/>
              <a:ext cx="99124" cy="151542"/>
            </a:xfrm>
            <a:custGeom>
              <a:avLst/>
              <a:gdLst/>
              <a:ahLst/>
              <a:cxnLst/>
              <a:rect l="l" t="t" r="r" b="b"/>
              <a:pathLst>
                <a:path w="99124" h="151542" extrusionOk="0">
                  <a:moveTo>
                    <a:pt x="16347" y="151543"/>
                  </a:moveTo>
                  <a:lnTo>
                    <a:pt x="99124" y="104204"/>
                  </a:lnTo>
                  <a:lnTo>
                    <a:pt x="0" y="0"/>
                  </a:lnTo>
                  <a:lnTo>
                    <a:pt x="16347" y="151543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4086;p38">
              <a:extLst>
                <a:ext uri="{FF2B5EF4-FFF2-40B4-BE49-F238E27FC236}">
                  <a16:creationId xmlns:a16="http://schemas.microsoft.com/office/drawing/2014/main" id="{9971E8B3-6F26-4E1C-99C5-3670B8D5A4AB}"/>
                </a:ext>
              </a:extLst>
            </p:cNvPr>
            <p:cNvSpPr/>
            <p:nvPr/>
          </p:nvSpPr>
          <p:spPr>
            <a:xfrm>
              <a:off x="4678419" y="3350075"/>
              <a:ext cx="69282" cy="136588"/>
            </a:xfrm>
            <a:custGeom>
              <a:avLst/>
              <a:gdLst/>
              <a:ahLst/>
              <a:cxnLst/>
              <a:rect l="l" t="t" r="r" b="b"/>
              <a:pathLst>
                <a:path w="69282" h="136588" extrusionOk="0">
                  <a:moveTo>
                    <a:pt x="0" y="136588"/>
                  </a:moveTo>
                  <a:lnTo>
                    <a:pt x="69283" y="98298"/>
                  </a:lnTo>
                  <a:lnTo>
                    <a:pt x="42672" y="0"/>
                  </a:lnTo>
                  <a:lnTo>
                    <a:pt x="0" y="136588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50" name="Google Shape;4087;p38">
              <a:extLst>
                <a:ext uri="{FF2B5EF4-FFF2-40B4-BE49-F238E27FC236}">
                  <a16:creationId xmlns:a16="http://schemas.microsoft.com/office/drawing/2014/main" id="{F5698652-A291-43C4-971B-F09F64DA7FB9}"/>
                </a:ext>
              </a:extLst>
            </p:cNvPr>
            <p:cNvGrpSpPr/>
            <p:nvPr/>
          </p:nvGrpSpPr>
          <p:grpSpPr>
            <a:xfrm>
              <a:off x="3103642" y="4105408"/>
              <a:ext cx="746807" cy="516445"/>
              <a:chOff x="4884742" y="4921758"/>
              <a:chExt cx="746807" cy="516445"/>
            </a:xfrm>
          </p:grpSpPr>
          <p:sp>
            <p:nvSpPr>
              <p:cNvPr id="302" name="Google Shape;4088;p38">
                <a:extLst>
                  <a:ext uri="{FF2B5EF4-FFF2-40B4-BE49-F238E27FC236}">
                    <a16:creationId xmlns:a16="http://schemas.microsoft.com/office/drawing/2014/main" id="{9C8C01DC-5987-4BCE-AAD5-BE5773FFB501}"/>
                  </a:ext>
                </a:extLst>
              </p:cNvPr>
              <p:cNvSpPr/>
              <p:nvPr/>
            </p:nvSpPr>
            <p:spPr>
              <a:xfrm>
                <a:off x="4884742" y="505358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3" name="Google Shape;4089;p38">
                <a:extLst>
                  <a:ext uri="{FF2B5EF4-FFF2-40B4-BE49-F238E27FC236}">
                    <a16:creationId xmlns:a16="http://schemas.microsoft.com/office/drawing/2014/main" id="{0C9C314B-55D0-4847-84CD-43FEE0567FCD}"/>
                  </a:ext>
                </a:extLst>
              </p:cNvPr>
              <p:cNvSpPr/>
              <p:nvPr/>
            </p:nvSpPr>
            <p:spPr>
              <a:xfrm>
                <a:off x="4966950" y="5004149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4" name="Google Shape;4090;p38">
                <a:extLst>
                  <a:ext uri="{FF2B5EF4-FFF2-40B4-BE49-F238E27FC236}">
                    <a16:creationId xmlns:a16="http://schemas.microsoft.com/office/drawing/2014/main" id="{1F48ADA5-454E-481E-801E-25B395B9EECA}"/>
                  </a:ext>
                </a:extLst>
              </p:cNvPr>
              <p:cNvSpPr/>
              <p:nvPr/>
            </p:nvSpPr>
            <p:spPr>
              <a:xfrm>
                <a:off x="4967045" y="5111781"/>
                <a:ext cx="65671" cy="87534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534" extrusionOk="0">
                    <a:moveTo>
                      <a:pt x="0" y="87534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534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" name="Google Shape;4091;p38">
                <a:extLst>
                  <a:ext uri="{FF2B5EF4-FFF2-40B4-BE49-F238E27FC236}">
                    <a16:creationId xmlns:a16="http://schemas.microsoft.com/office/drawing/2014/main" id="{39983681-E911-4B94-93A4-44D7FA2E8001}"/>
                  </a:ext>
                </a:extLst>
              </p:cNvPr>
              <p:cNvSpPr/>
              <p:nvPr/>
            </p:nvSpPr>
            <p:spPr>
              <a:xfrm>
                <a:off x="5581465" y="5114067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" name="Google Shape;4092;p38">
                <a:extLst>
                  <a:ext uri="{FF2B5EF4-FFF2-40B4-BE49-F238E27FC236}">
                    <a16:creationId xmlns:a16="http://schemas.microsoft.com/office/drawing/2014/main" id="{0DEC72D6-1FE8-4573-B17D-F37498D59542}"/>
                  </a:ext>
                </a:extLst>
              </p:cNvPr>
              <p:cNvSpPr/>
              <p:nvPr/>
            </p:nvSpPr>
            <p:spPr>
              <a:xfrm>
                <a:off x="4966950" y="4921758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" name="Google Shape;4093;p38">
                <a:extLst>
                  <a:ext uri="{FF2B5EF4-FFF2-40B4-BE49-F238E27FC236}">
                    <a16:creationId xmlns:a16="http://schemas.microsoft.com/office/drawing/2014/main" id="{313F6F41-51CF-479F-8107-CB9A5A8E5292}"/>
                  </a:ext>
                </a:extLst>
              </p:cNvPr>
              <p:cNvSpPr/>
              <p:nvPr/>
            </p:nvSpPr>
            <p:spPr>
              <a:xfrm>
                <a:off x="5061432" y="4974074"/>
                <a:ext cx="475691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1" h="275248" extrusionOk="0">
                    <a:moveTo>
                      <a:pt x="475270" y="145899"/>
                    </a:moveTo>
                    <a:cubicBezTo>
                      <a:pt x="471849" y="178284"/>
                      <a:pt x="448849" y="210193"/>
                      <a:pt x="405987" y="234958"/>
                    </a:cubicBezTo>
                    <a:cubicBezTo>
                      <a:pt x="313135" y="288679"/>
                      <a:pt x="162500" y="288679"/>
                      <a:pt x="69553" y="234958"/>
                    </a:cubicBezTo>
                    <a:cubicBezTo>
                      <a:pt x="26786" y="210193"/>
                      <a:pt x="3692" y="178284"/>
                      <a:pt x="461" y="145899"/>
                    </a:cubicBezTo>
                    <a:cubicBezTo>
                      <a:pt x="-3626" y="107799"/>
                      <a:pt x="19468" y="69699"/>
                      <a:pt x="69553" y="40362"/>
                    </a:cubicBezTo>
                    <a:cubicBezTo>
                      <a:pt x="162500" y="-13454"/>
                      <a:pt x="313135" y="-13454"/>
                      <a:pt x="405987" y="40362"/>
                    </a:cubicBezTo>
                    <a:cubicBezTo>
                      <a:pt x="456072" y="69318"/>
                      <a:pt x="479167" y="107990"/>
                      <a:pt x="475270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4094;p38">
                <a:extLst>
                  <a:ext uri="{FF2B5EF4-FFF2-40B4-BE49-F238E27FC236}">
                    <a16:creationId xmlns:a16="http://schemas.microsoft.com/office/drawing/2014/main" id="{1324659B-EF0F-4ABC-89AB-8CE8BA3570A7}"/>
                  </a:ext>
                </a:extLst>
              </p:cNvPr>
              <p:cNvSpPr/>
              <p:nvPr/>
            </p:nvSpPr>
            <p:spPr>
              <a:xfrm>
                <a:off x="5061893" y="4990552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388" y="161806"/>
                      <a:pt x="448389" y="193715"/>
                      <a:pt x="405527" y="218480"/>
                    </a:cubicBezTo>
                    <a:cubicBezTo>
                      <a:pt x="312675" y="272201"/>
                      <a:pt x="162040" y="272201"/>
                      <a:pt x="69092" y="218480"/>
                    </a:cubicBezTo>
                    <a:cubicBezTo>
                      <a:pt x="26325" y="193715"/>
                      <a:pt x="3231" y="161806"/>
                      <a:pt x="0" y="129421"/>
                    </a:cubicBezTo>
                    <a:cubicBezTo>
                      <a:pt x="3231" y="97036"/>
                      <a:pt x="26325" y="65127"/>
                      <a:pt x="69092" y="40362"/>
                    </a:cubicBezTo>
                    <a:cubicBezTo>
                      <a:pt x="162040" y="-13454"/>
                      <a:pt x="312675" y="-13454"/>
                      <a:pt x="405527" y="40362"/>
                    </a:cubicBezTo>
                    <a:cubicBezTo>
                      <a:pt x="448389" y="65127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9" name="Google Shape;4095;p38">
                <a:extLst>
                  <a:ext uri="{FF2B5EF4-FFF2-40B4-BE49-F238E27FC236}">
                    <a16:creationId xmlns:a16="http://schemas.microsoft.com/office/drawing/2014/main" id="{54684885-EB4B-4273-A9C6-C5DDFCBAC60F}"/>
                  </a:ext>
                </a:extLst>
              </p:cNvPr>
              <p:cNvSpPr/>
              <p:nvPr/>
            </p:nvSpPr>
            <p:spPr>
              <a:xfrm>
                <a:off x="5183826" y="5052822"/>
                <a:ext cx="221040" cy="139064"/>
              </a:xfrm>
              <a:custGeom>
                <a:avLst/>
                <a:gdLst/>
                <a:ahLst/>
                <a:cxnLst/>
                <a:rect l="l" t="t" r="r" b="b"/>
                <a:pathLst>
                  <a:path w="221040" h="139064" extrusionOk="0">
                    <a:moveTo>
                      <a:pt x="111955" y="22098"/>
                    </a:moveTo>
                    <a:cubicBezTo>
                      <a:pt x="109027" y="22098"/>
                      <a:pt x="106100" y="22355"/>
                      <a:pt x="103211" y="22860"/>
                    </a:cubicBezTo>
                    <a:cubicBezTo>
                      <a:pt x="99315" y="23336"/>
                      <a:pt x="94943" y="24193"/>
                      <a:pt x="90096" y="25146"/>
                    </a:cubicBezTo>
                    <a:cubicBezTo>
                      <a:pt x="85249" y="26098"/>
                      <a:pt x="80117" y="27527"/>
                      <a:pt x="74890" y="29051"/>
                    </a:cubicBezTo>
                    <a:cubicBezTo>
                      <a:pt x="69796" y="30623"/>
                      <a:pt x="64816" y="32537"/>
                      <a:pt x="59969" y="34766"/>
                    </a:cubicBezTo>
                    <a:lnTo>
                      <a:pt x="97984" y="56864"/>
                    </a:lnTo>
                    <a:lnTo>
                      <a:pt x="104922" y="54483"/>
                    </a:lnTo>
                    <a:cubicBezTo>
                      <a:pt x="114426" y="51244"/>
                      <a:pt x="123929" y="48482"/>
                      <a:pt x="132388" y="46196"/>
                    </a:cubicBezTo>
                    <a:cubicBezTo>
                      <a:pt x="140466" y="44005"/>
                      <a:pt x="148744" y="42634"/>
                      <a:pt x="157098" y="42100"/>
                    </a:cubicBezTo>
                    <a:cubicBezTo>
                      <a:pt x="164739" y="41643"/>
                      <a:pt x="172399" y="42148"/>
                      <a:pt x="179907" y="43624"/>
                    </a:cubicBezTo>
                    <a:cubicBezTo>
                      <a:pt x="187548" y="45291"/>
                      <a:pt x="194856" y="48187"/>
                      <a:pt x="201575" y="52197"/>
                    </a:cubicBezTo>
                    <a:cubicBezTo>
                      <a:pt x="208237" y="55512"/>
                      <a:pt x="213940" y="60503"/>
                      <a:pt x="218112" y="66675"/>
                    </a:cubicBezTo>
                    <a:cubicBezTo>
                      <a:pt x="220868" y="71142"/>
                      <a:pt x="221723" y="76524"/>
                      <a:pt x="220488" y="81629"/>
                    </a:cubicBezTo>
                    <a:cubicBezTo>
                      <a:pt x="218872" y="87258"/>
                      <a:pt x="215793" y="92354"/>
                      <a:pt x="211554" y="96393"/>
                    </a:cubicBezTo>
                    <a:cubicBezTo>
                      <a:pt x="206280" y="101660"/>
                      <a:pt x="200416" y="106299"/>
                      <a:pt x="194067" y="110204"/>
                    </a:cubicBezTo>
                    <a:lnTo>
                      <a:pt x="218397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68" y="123472"/>
                      <a:pt x="156746" y="128101"/>
                      <a:pt x="144172" y="131540"/>
                    </a:cubicBezTo>
                    <a:cubicBezTo>
                      <a:pt x="131010" y="135179"/>
                      <a:pt x="117562" y="137703"/>
                      <a:pt x="103971" y="139065"/>
                    </a:cubicBezTo>
                    <a:lnTo>
                      <a:pt x="91141" y="116014"/>
                    </a:lnTo>
                    <a:cubicBezTo>
                      <a:pt x="93517" y="116014"/>
                      <a:pt x="97129" y="116014"/>
                      <a:pt x="101881" y="115252"/>
                    </a:cubicBezTo>
                    <a:cubicBezTo>
                      <a:pt x="106632" y="114490"/>
                      <a:pt x="112050" y="113729"/>
                      <a:pt x="117942" y="112490"/>
                    </a:cubicBezTo>
                    <a:cubicBezTo>
                      <a:pt x="123834" y="111252"/>
                      <a:pt x="130012" y="109633"/>
                      <a:pt x="136949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2905" y="80486"/>
                    </a:lnTo>
                    <a:lnTo>
                      <a:pt x="107773" y="82010"/>
                    </a:lnTo>
                    <a:cubicBezTo>
                      <a:pt x="99143" y="84982"/>
                      <a:pt x="90352" y="87458"/>
                      <a:pt x="81447" y="89440"/>
                    </a:cubicBezTo>
                    <a:cubicBezTo>
                      <a:pt x="74091" y="91192"/>
                      <a:pt x="66574" y="92212"/>
                      <a:pt x="59018" y="92488"/>
                    </a:cubicBezTo>
                    <a:cubicBezTo>
                      <a:pt x="52375" y="92745"/>
                      <a:pt x="45723" y="92097"/>
                      <a:pt x="39251" y="90583"/>
                    </a:cubicBezTo>
                    <a:cubicBezTo>
                      <a:pt x="32845" y="89049"/>
                      <a:pt x="26696" y="86573"/>
                      <a:pt x="21003" y="83248"/>
                    </a:cubicBezTo>
                    <a:cubicBezTo>
                      <a:pt x="14712" y="79953"/>
                      <a:pt x="9257" y="75257"/>
                      <a:pt x="5037" y="69532"/>
                    </a:cubicBezTo>
                    <a:cubicBezTo>
                      <a:pt x="1977" y="65246"/>
                      <a:pt x="466" y="60036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43" y="34442"/>
                      <a:pt x="16670" y="29689"/>
                      <a:pt x="22524" y="25813"/>
                    </a:cubicBezTo>
                    <a:lnTo>
                      <a:pt x="0" y="12763"/>
                    </a:lnTo>
                    <a:lnTo>
                      <a:pt x="13210" y="5143"/>
                    </a:lnTo>
                    <a:lnTo>
                      <a:pt x="35544" y="18002"/>
                    </a:lnTo>
                    <a:cubicBezTo>
                      <a:pt x="45998" y="12811"/>
                      <a:pt x="56994" y="8782"/>
                      <a:pt x="68332" y="6001"/>
                    </a:cubicBezTo>
                    <a:cubicBezTo>
                      <a:pt x="79109" y="3257"/>
                      <a:pt x="90067" y="1248"/>
                      <a:pt x="101120" y="0"/>
                    </a:cubicBezTo>
                    <a:close/>
                    <a:moveTo>
                      <a:pt x="46949" y="62103"/>
                    </a:moveTo>
                    <a:cubicBezTo>
                      <a:pt x="52005" y="64941"/>
                      <a:pt x="57811" y="66170"/>
                      <a:pt x="63580" y="65627"/>
                    </a:cubicBezTo>
                    <a:cubicBezTo>
                      <a:pt x="71316" y="64770"/>
                      <a:pt x="78938" y="63036"/>
                      <a:pt x="86294" y="60484"/>
                    </a:cubicBezTo>
                    <a:lnTo>
                      <a:pt x="50560" y="39814"/>
                    </a:lnTo>
                    <a:cubicBezTo>
                      <a:pt x="37445" y="48320"/>
                      <a:pt x="36238" y="55750"/>
                      <a:pt x="46949" y="62103"/>
                    </a:cubicBezTo>
                    <a:close/>
                    <a:moveTo>
                      <a:pt x="172399" y="72580"/>
                    </a:moveTo>
                    <a:cubicBezTo>
                      <a:pt x="166953" y="69580"/>
                      <a:pt x="160680" y="68437"/>
                      <a:pt x="154532" y="69342"/>
                    </a:cubicBezTo>
                    <a:cubicBezTo>
                      <a:pt x="146083" y="70418"/>
                      <a:pt x="137748" y="72266"/>
                      <a:pt x="129632" y="74866"/>
                    </a:cubicBezTo>
                    <a:lnTo>
                      <a:pt x="165176" y="95440"/>
                    </a:lnTo>
                    <a:cubicBezTo>
                      <a:pt x="180287" y="86296"/>
                      <a:pt x="182758" y="78676"/>
                      <a:pt x="172399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4096;p38">
                <a:extLst>
                  <a:ext uri="{FF2B5EF4-FFF2-40B4-BE49-F238E27FC236}">
                    <a16:creationId xmlns:a16="http://schemas.microsoft.com/office/drawing/2014/main" id="{32FFCD16-00F1-4F28-9590-54E1544EAA22}"/>
                  </a:ext>
                </a:extLst>
              </p:cNvPr>
              <p:cNvSpPr/>
              <p:nvPr/>
            </p:nvSpPr>
            <p:spPr>
              <a:xfrm>
                <a:off x="5275158" y="5155977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859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4097;p38">
                <a:extLst>
                  <a:ext uri="{FF2B5EF4-FFF2-40B4-BE49-F238E27FC236}">
                    <a16:creationId xmlns:a16="http://schemas.microsoft.com/office/drawing/2014/main" id="{7FAEC9DA-7D84-4885-AAD9-374EBF9140D9}"/>
                  </a:ext>
                </a:extLst>
              </p:cNvPr>
              <p:cNvSpPr/>
              <p:nvPr/>
            </p:nvSpPr>
            <p:spPr>
              <a:xfrm>
                <a:off x="5370766" y="5164169"/>
                <a:ext cx="31647" cy="14763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763" extrusionOk="0">
                    <a:moveTo>
                      <a:pt x="31648" y="12859"/>
                    </a:moveTo>
                    <a:lnTo>
                      <a:pt x="31648" y="0"/>
                    </a:lnTo>
                    <a:lnTo>
                      <a:pt x="0" y="2381"/>
                    </a:lnTo>
                    <a:lnTo>
                      <a:pt x="18152" y="14764"/>
                    </a:lnTo>
                    <a:lnTo>
                      <a:pt x="31648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4098;p38">
                <a:extLst>
                  <a:ext uri="{FF2B5EF4-FFF2-40B4-BE49-F238E27FC236}">
                    <a16:creationId xmlns:a16="http://schemas.microsoft.com/office/drawing/2014/main" id="{1F18FCF3-316D-4FAA-9BAD-377FFBC1902C}"/>
                  </a:ext>
                </a:extLst>
              </p:cNvPr>
              <p:cNvSpPr/>
              <p:nvPr/>
            </p:nvSpPr>
            <p:spPr>
              <a:xfrm>
                <a:off x="5381410" y="5116639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4099;p38">
                <a:extLst>
                  <a:ext uri="{FF2B5EF4-FFF2-40B4-BE49-F238E27FC236}">
                    <a16:creationId xmlns:a16="http://schemas.microsoft.com/office/drawing/2014/main" id="{5CB6EBD2-2271-42E1-ACB0-A8C879F24010}"/>
                  </a:ext>
                </a:extLst>
              </p:cNvPr>
              <p:cNvSpPr/>
              <p:nvPr/>
            </p:nvSpPr>
            <p:spPr>
              <a:xfrm>
                <a:off x="5307090" y="5121401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8" y="24670"/>
                    </a:lnTo>
                    <a:cubicBezTo>
                      <a:pt x="33928" y="24670"/>
                      <a:pt x="13210" y="15907"/>
                      <a:pt x="12545" y="1514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4100;p38">
                <a:extLst>
                  <a:ext uri="{FF2B5EF4-FFF2-40B4-BE49-F238E27FC236}">
                    <a16:creationId xmlns:a16="http://schemas.microsoft.com/office/drawing/2014/main" id="{1564B5DA-C93D-4FCE-AD21-D3FD8A5960CA}"/>
                  </a:ext>
                </a:extLst>
              </p:cNvPr>
              <p:cNvSpPr/>
              <p:nvPr/>
            </p:nvSpPr>
            <p:spPr>
              <a:xfrm>
                <a:off x="5234481" y="5079968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780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479"/>
                      <a:pt x="39346" y="17907"/>
                    </a:cubicBezTo>
                    <a:cubicBezTo>
                      <a:pt x="36029" y="14192"/>
                      <a:pt x="32189" y="10982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4101;p38">
                <a:extLst>
                  <a:ext uri="{FF2B5EF4-FFF2-40B4-BE49-F238E27FC236}">
                    <a16:creationId xmlns:a16="http://schemas.microsoft.com/office/drawing/2014/main" id="{241638E1-A9D5-4C06-BEF4-A336616A1103}"/>
                  </a:ext>
                </a:extLst>
              </p:cNvPr>
              <p:cNvSpPr/>
              <p:nvPr/>
            </p:nvSpPr>
            <p:spPr>
              <a:xfrm>
                <a:off x="5275158" y="5056536"/>
                <a:ext cx="20623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623" h="18383" extrusionOk="0">
                    <a:moveTo>
                      <a:pt x="20623" y="18383"/>
                    </a:moveTo>
                    <a:lnTo>
                      <a:pt x="20623" y="5525"/>
                    </a:lnTo>
                    <a:lnTo>
                      <a:pt x="3706" y="0"/>
                    </a:lnTo>
                    <a:lnTo>
                      <a:pt x="0" y="10096"/>
                    </a:lnTo>
                    <a:lnTo>
                      <a:pt x="950" y="14764"/>
                    </a:lnTo>
                    <a:lnTo>
                      <a:pt x="20623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4102;p38">
                <a:extLst>
                  <a:ext uri="{FF2B5EF4-FFF2-40B4-BE49-F238E27FC236}">
                    <a16:creationId xmlns:a16="http://schemas.microsoft.com/office/drawing/2014/main" id="{FD815F7D-8460-4411-9BC6-24A53AC5E6C5}"/>
                  </a:ext>
                </a:extLst>
              </p:cNvPr>
              <p:cNvSpPr/>
              <p:nvPr/>
            </p:nvSpPr>
            <p:spPr>
              <a:xfrm>
                <a:off x="5183351" y="5052726"/>
                <a:ext cx="19577" cy="14573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573" extrusionOk="0">
                    <a:moveTo>
                      <a:pt x="0" y="12859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573"/>
                    </a:lnTo>
                    <a:lnTo>
                      <a:pt x="0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4103;p38">
                <a:extLst>
                  <a:ext uri="{FF2B5EF4-FFF2-40B4-BE49-F238E27FC236}">
                    <a16:creationId xmlns:a16="http://schemas.microsoft.com/office/drawing/2014/main" id="{967F25DC-E574-4E32-B4A4-5BB787251689}"/>
                  </a:ext>
                </a:extLst>
              </p:cNvPr>
              <p:cNvSpPr/>
              <p:nvPr/>
            </p:nvSpPr>
            <p:spPr>
              <a:xfrm>
                <a:off x="5184016" y="5095875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526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97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4104;p38">
                <a:extLst>
                  <a:ext uri="{FF2B5EF4-FFF2-40B4-BE49-F238E27FC236}">
                    <a16:creationId xmlns:a16="http://schemas.microsoft.com/office/drawing/2014/main" id="{0E3EC7A1-F052-4A9B-B2D1-641E0736E9DD}"/>
                  </a:ext>
                </a:extLst>
              </p:cNvPr>
              <p:cNvSpPr/>
              <p:nvPr/>
            </p:nvSpPr>
            <p:spPr>
              <a:xfrm>
                <a:off x="5183826" y="5039963"/>
                <a:ext cx="221034" cy="138969"/>
              </a:xfrm>
              <a:custGeom>
                <a:avLst/>
                <a:gdLst/>
                <a:ahLst/>
                <a:cxnLst/>
                <a:rect l="l" t="t" r="r" b="b"/>
                <a:pathLst>
                  <a:path w="221034" h="138969" extrusionOk="0">
                    <a:moveTo>
                      <a:pt x="111955" y="22098"/>
                    </a:moveTo>
                    <a:cubicBezTo>
                      <a:pt x="109027" y="22050"/>
                      <a:pt x="106100" y="22279"/>
                      <a:pt x="103211" y="22765"/>
                    </a:cubicBezTo>
                    <a:cubicBezTo>
                      <a:pt x="99315" y="23336"/>
                      <a:pt x="94943" y="24098"/>
                      <a:pt x="90096" y="25146"/>
                    </a:cubicBezTo>
                    <a:cubicBezTo>
                      <a:pt x="85249" y="26194"/>
                      <a:pt x="80117" y="27432"/>
                      <a:pt x="74890" y="29051"/>
                    </a:cubicBezTo>
                    <a:cubicBezTo>
                      <a:pt x="69786" y="30547"/>
                      <a:pt x="64797" y="32433"/>
                      <a:pt x="59969" y="34671"/>
                    </a:cubicBezTo>
                    <a:lnTo>
                      <a:pt x="97984" y="56864"/>
                    </a:lnTo>
                    <a:lnTo>
                      <a:pt x="104922" y="54388"/>
                    </a:lnTo>
                    <a:cubicBezTo>
                      <a:pt x="114426" y="51149"/>
                      <a:pt x="123929" y="48387"/>
                      <a:pt x="132388" y="46196"/>
                    </a:cubicBezTo>
                    <a:cubicBezTo>
                      <a:pt x="140466" y="44005"/>
                      <a:pt x="148744" y="42634"/>
                      <a:pt x="157098" y="42100"/>
                    </a:cubicBezTo>
                    <a:cubicBezTo>
                      <a:pt x="164739" y="41596"/>
                      <a:pt x="172408" y="42100"/>
                      <a:pt x="179907" y="43624"/>
                    </a:cubicBezTo>
                    <a:cubicBezTo>
                      <a:pt x="187548" y="45215"/>
                      <a:pt x="194875" y="48082"/>
                      <a:pt x="201575" y="52102"/>
                    </a:cubicBezTo>
                    <a:cubicBezTo>
                      <a:pt x="208218" y="55454"/>
                      <a:pt x="213911" y="60427"/>
                      <a:pt x="218112" y="66580"/>
                    </a:cubicBezTo>
                    <a:cubicBezTo>
                      <a:pt x="220858" y="71047"/>
                      <a:pt x="221714" y="76428"/>
                      <a:pt x="220488" y="81534"/>
                    </a:cubicBezTo>
                    <a:cubicBezTo>
                      <a:pt x="218901" y="87173"/>
                      <a:pt x="215812" y="92278"/>
                      <a:pt x="211554" y="96298"/>
                    </a:cubicBezTo>
                    <a:cubicBezTo>
                      <a:pt x="206280" y="101565"/>
                      <a:pt x="200416" y="106204"/>
                      <a:pt x="194067" y="110109"/>
                    </a:cubicBezTo>
                    <a:lnTo>
                      <a:pt x="218397" y="124206"/>
                    </a:lnTo>
                    <a:lnTo>
                      <a:pt x="205187" y="131826"/>
                    </a:lnTo>
                    <a:lnTo>
                      <a:pt x="180667" y="117634"/>
                    </a:lnTo>
                    <a:cubicBezTo>
                      <a:pt x="168977" y="123425"/>
                      <a:pt x="156755" y="128045"/>
                      <a:pt x="144172" y="131445"/>
                    </a:cubicBezTo>
                    <a:cubicBezTo>
                      <a:pt x="131019" y="135131"/>
                      <a:pt x="117562" y="137655"/>
                      <a:pt x="103971" y="138970"/>
                    </a:cubicBezTo>
                    <a:lnTo>
                      <a:pt x="91141" y="116014"/>
                    </a:lnTo>
                    <a:cubicBezTo>
                      <a:pt x="94734" y="115929"/>
                      <a:pt x="98317" y="115633"/>
                      <a:pt x="101881" y="115157"/>
                    </a:cubicBezTo>
                    <a:cubicBezTo>
                      <a:pt x="107279" y="114519"/>
                      <a:pt x="112639" y="113595"/>
                      <a:pt x="117942" y="112395"/>
                    </a:cubicBezTo>
                    <a:cubicBezTo>
                      <a:pt x="123834" y="111157"/>
                      <a:pt x="130012" y="109538"/>
                      <a:pt x="136949" y="107632"/>
                    </a:cubicBezTo>
                    <a:cubicBezTo>
                      <a:pt x="143441" y="105775"/>
                      <a:pt x="149799" y="103451"/>
                      <a:pt x="155957" y="100679"/>
                    </a:cubicBezTo>
                    <a:lnTo>
                      <a:pt x="117942" y="78677"/>
                    </a:lnTo>
                    <a:lnTo>
                      <a:pt x="112905" y="80391"/>
                    </a:ln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7" y="89440"/>
                    </a:cubicBezTo>
                    <a:cubicBezTo>
                      <a:pt x="74082" y="91164"/>
                      <a:pt x="66574" y="92154"/>
                      <a:pt x="59018" y="92392"/>
                    </a:cubicBezTo>
                    <a:cubicBezTo>
                      <a:pt x="52375" y="92631"/>
                      <a:pt x="45732" y="92021"/>
                      <a:pt x="39251" y="90583"/>
                    </a:cubicBezTo>
                    <a:cubicBezTo>
                      <a:pt x="32826" y="89049"/>
                      <a:pt x="26668" y="86544"/>
                      <a:pt x="21003" y="83153"/>
                    </a:cubicBezTo>
                    <a:cubicBezTo>
                      <a:pt x="14712" y="79848"/>
                      <a:pt x="9257" y="75162"/>
                      <a:pt x="5037" y="69437"/>
                    </a:cubicBezTo>
                    <a:cubicBezTo>
                      <a:pt x="1958" y="65151"/>
                      <a:pt x="447" y="59941"/>
                      <a:pt x="760" y="54673"/>
                    </a:cubicBezTo>
                    <a:cubicBezTo>
                      <a:pt x="1350" y="49216"/>
                      <a:pt x="3535" y="44044"/>
                      <a:pt x="7033" y="39814"/>
                    </a:cubicBezTo>
                    <a:cubicBezTo>
                      <a:pt x="11424" y="34357"/>
                      <a:pt x="16651" y="29623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5544" y="18002"/>
                    </a:lnTo>
                    <a:cubicBezTo>
                      <a:pt x="45998" y="12782"/>
                      <a:pt x="56994" y="8725"/>
                      <a:pt x="68332" y="5905"/>
                    </a:cubicBezTo>
                    <a:cubicBezTo>
                      <a:pt x="79100" y="3143"/>
                      <a:pt x="90067" y="1171"/>
                      <a:pt x="101120" y="0"/>
                    </a:cubicBezTo>
                    <a:close/>
                    <a:moveTo>
                      <a:pt x="46949" y="62198"/>
                    </a:moveTo>
                    <a:cubicBezTo>
                      <a:pt x="51995" y="65075"/>
                      <a:pt x="57802" y="66332"/>
                      <a:pt x="63580" y="65818"/>
                    </a:cubicBezTo>
                    <a:cubicBezTo>
                      <a:pt x="71307" y="64865"/>
                      <a:pt x="78910" y="63141"/>
                      <a:pt x="86294" y="60674"/>
                    </a:cubicBezTo>
                    <a:lnTo>
                      <a:pt x="50560" y="39910"/>
                    </a:lnTo>
                    <a:cubicBezTo>
                      <a:pt x="37445" y="48606"/>
                      <a:pt x="36238" y="56036"/>
                      <a:pt x="46949" y="62198"/>
                    </a:cubicBezTo>
                    <a:close/>
                    <a:moveTo>
                      <a:pt x="172399" y="72676"/>
                    </a:moveTo>
                    <a:cubicBezTo>
                      <a:pt x="166953" y="69675"/>
                      <a:pt x="160680" y="68532"/>
                      <a:pt x="154532" y="69437"/>
                    </a:cubicBezTo>
                    <a:cubicBezTo>
                      <a:pt x="146092" y="70561"/>
                      <a:pt x="137757" y="72409"/>
                      <a:pt x="129632" y="74962"/>
                    </a:cubicBezTo>
                    <a:lnTo>
                      <a:pt x="165176" y="95536"/>
                    </a:lnTo>
                    <a:cubicBezTo>
                      <a:pt x="180287" y="86296"/>
                      <a:pt x="182758" y="78677"/>
                      <a:pt x="172399" y="7267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1" name="Google Shape;4105;p38">
              <a:extLst>
                <a:ext uri="{FF2B5EF4-FFF2-40B4-BE49-F238E27FC236}">
                  <a16:creationId xmlns:a16="http://schemas.microsoft.com/office/drawing/2014/main" id="{1C143A65-0567-4172-AF9E-97CB7F508DB1}"/>
                </a:ext>
              </a:extLst>
            </p:cNvPr>
            <p:cNvGrpSpPr/>
            <p:nvPr/>
          </p:nvGrpSpPr>
          <p:grpSpPr>
            <a:xfrm>
              <a:off x="3213031" y="4002823"/>
              <a:ext cx="664504" cy="467011"/>
              <a:chOff x="4994131" y="4819173"/>
              <a:chExt cx="664504" cy="467011"/>
            </a:xfrm>
          </p:grpSpPr>
          <p:sp>
            <p:nvSpPr>
              <p:cNvPr id="286" name="Google Shape;4106;p38">
                <a:extLst>
                  <a:ext uri="{FF2B5EF4-FFF2-40B4-BE49-F238E27FC236}">
                    <a16:creationId xmlns:a16="http://schemas.microsoft.com/office/drawing/2014/main" id="{86CF27D2-19CF-4FF9-BD57-2B7D02F7BEFE}"/>
                  </a:ext>
                </a:extLst>
              </p:cNvPr>
              <p:cNvSpPr/>
              <p:nvPr/>
            </p:nvSpPr>
            <p:spPr>
              <a:xfrm>
                <a:off x="4994131" y="490156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7" name="Google Shape;4107;p38">
                <a:extLst>
                  <a:ext uri="{FF2B5EF4-FFF2-40B4-BE49-F238E27FC236}">
                    <a16:creationId xmlns:a16="http://schemas.microsoft.com/office/drawing/2014/main" id="{32967EBC-DBEF-4840-BE2F-EEC32CE9A8FB}"/>
                  </a:ext>
                </a:extLst>
              </p:cNvPr>
              <p:cNvSpPr/>
              <p:nvPr/>
            </p:nvSpPr>
            <p:spPr>
              <a:xfrm>
                <a:off x="4994226" y="5009197"/>
                <a:ext cx="65576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576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576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8" name="Google Shape;4108;p38">
                <a:extLst>
                  <a:ext uri="{FF2B5EF4-FFF2-40B4-BE49-F238E27FC236}">
                    <a16:creationId xmlns:a16="http://schemas.microsoft.com/office/drawing/2014/main" id="{1D46F086-12C4-4463-9A52-EF1611CF8824}"/>
                  </a:ext>
                </a:extLst>
              </p:cNvPr>
              <p:cNvSpPr/>
              <p:nvPr/>
            </p:nvSpPr>
            <p:spPr>
              <a:xfrm>
                <a:off x="5608645" y="5011483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9" name="Google Shape;4109;p38">
                <a:extLst>
                  <a:ext uri="{FF2B5EF4-FFF2-40B4-BE49-F238E27FC236}">
                    <a16:creationId xmlns:a16="http://schemas.microsoft.com/office/drawing/2014/main" id="{50BEA846-3CA9-4DCC-8CDC-3C5F7C640CED}"/>
                  </a:ext>
                </a:extLst>
              </p:cNvPr>
              <p:cNvSpPr/>
              <p:nvPr/>
            </p:nvSpPr>
            <p:spPr>
              <a:xfrm>
                <a:off x="4994131" y="4819173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0" name="Google Shape;4110;p38">
                <a:extLst>
                  <a:ext uri="{FF2B5EF4-FFF2-40B4-BE49-F238E27FC236}">
                    <a16:creationId xmlns:a16="http://schemas.microsoft.com/office/drawing/2014/main" id="{A9C87363-DF55-4261-B617-46BCFDB87BA5}"/>
                  </a:ext>
                </a:extLst>
              </p:cNvPr>
              <p:cNvSpPr/>
              <p:nvPr/>
            </p:nvSpPr>
            <p:spPr>
              <a:xfrm>
                <a:off x="5088612" y="4871585"/>
                <a:ext cx="475616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16" h="275248" extrusionOk="0">
                    <a:moveTo>
                      <a:pt x="475175" y="145899"/>
                    </a:moveTo>
                    <a:cubicBezTo>
                      <a:pt x="471849" y="178284"/>
                      <a:pt x="448849" y="210193"/>
                      <a:pt x="405987" y="234958"/>
                    </a:cubicBezTo>
                    <a:cubicBezTo>
                      <a:pt x="313040" y="288679"/>
                      <a:pt x="162500" y="288679"/>
                      <a:pt x="69553" y="234958"/>
                    </a:cubicBezTo>
                    <a:cubicBezTo>
                      <a:pt x="26691" y="210193"/>
                      <a:pt x="3692" y="178284"/>
                      <a:pt x="461" y="145899"/>
                    </a:cubicBezTo>
                    <a:cubicBezTo>
                      <a:pt x="-3626" y="107799"/>
                      <a:pt x="19468" y="69699"/>
                      <a:pt x="69553" y="40362"/>
                    </a:cubicBezTo>
                    <a:cubicBezTo>
                      <a:pt x="162500" y="-13454"/>
                      <a:pt x="313040" y="-13454"/>
                      <a:pt x="405987" y="40362"/>
                    </a:cubicBezTo>
                    <a:cubicBezTo>
                      <a:pt x="456072" y="69223"/>
                      <a:pt x="479167" y="107990"/>
                      <a:pt x="475175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" name="Google Shape;4111;p38">
                <a:extLst>
                  <a:ext uri="{FF2B5EF4-FFF2-40B4-BE49-F238E27FC236}">
                    <a16:creationId xmlns:a16="http://schemas.microsoft.com/office/drawing/2014/main" id="{0C4DB28A-4C3C-481A-96C9-6E73C5A89472}"/>
                  </a:ext>
                </a:extLst>
              </p:cNvPr>
              <p:cNvSpPr/>
              <p:nvPr/>
            </p:nvSpPr>
            <p:spPr>
              <a:xfrm>
                <a:off x="5089073" y="4888063"/>
                <a:ext cx="474714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714" h="258770" extrusionOk="0">
                    <a:moveTo>
                      <a:pt x="474714" y="129421"/>
                    </a:moveTo>
                    <a:cubicBezTo>
                      <a:pt x="471388" y="161806"/>
                      <a:pt x="448389" y="193715"/>
                      <a:pt x="405527" y="218480"/>
                    </a:cubicBezTo>
                    <a:cubicBezTo>
                      <a:pt x="312580" y="272201"/>
                      <a:pt x="162040" y="272201"/>
                      <a:pt x="69092" y="218480"/>
                    </a:cubicBezTo>
                    <a:cubicBezTo>
                      <a:pt x="26230" y="193715"/>
                      <a:pt x="3231" y="161806"/>
                      <a:pt x="0" y="129421"/>
                    </a:cubicBezTo>
                    <a:cubicBezTo>
                      <a:pt x="3231" y="97036"/>
                      <a:pt x="26230" y="65127"/>
                      <a:pt x="69092" y="40362"/>
                    </a:cubicBezTo>
                    <a:cubicBezTo>
                      <a:pt x="162040" y="-13454"/>
                      <a:pt x="312580" y="-13454"/>
                      <a:pt x="405527" y="40362"/>
                    </a:cubicBezTo>
                    <a:cubicBezTo>
                      <a:pt x="448389" y="64937"/>
                      <a:pt x="471388" y="97036"/>
                      <a:pt x="474714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" name="Google Shape;4112;p38">
                <a:extLst>
                  <a:ext uri="{FF2B5EF4-FFF2-40B4-BE49-F238E27FC236}">
                    <a16:creationId xmlns:a16="http://schemas.microsoft.com/office/drawing/2014/main" id="{B8124D68-CCA8-42FD-ACC6-0BD317B47BD0}"/>
                  </a:ext>
                </a:extLst>
              </p:cNvPr>
              <p:cNvSpPr/>
              <p:nvPr/>
            </p:nvSpPr>
            <p:spPr>
              <a:xfrm>
                <a:off x="5211197" y="4950333"/>
                <a:ext cx="220817" cy="138588"/>
              </a:xfrm>
              <a:custGeom>
                <a:avLst/>
                <a:gdLst/>
                <a:ahLst/>
                <a:cxnLst/>
                <a:rect l="l" t="t" r="r" b="b"/>
                <a:pathLst>
                  <a:path w="220817" h="138588" extrusionOk="0">
                    <a:moveTo>
                      <a:pt x="111669" y="21717"/>
                    </a:moveTo>
                    <a:cubicBezTo>
                      <a:pt x="108742" y="21679"/>
                      <a:pt x="105815" y="21898"/>
                      <a:pt x="102926" y="22384"/>
                    </a:cubicBezTo>
                    <a:cubicBezTo>
                      <a:pt x="99030" y="22955"/>
                      <a:pt x="94658" y="23717"/>
                      <a:pt x="89811" y="24765"/>
                    </a:cubicBezTo>
                    <a:cubicBezTo>
                      <a:pt x="84964" y="25813"/>
                      <a:pt x="80307" y="27051"/>
                      <a:pt x="74700" y="28670"/>
                    </a:cubicBezTo>
                    <a:cubicBezTo>
                      <a:pt x="69596" y="30204"/>
                      <a:pt x="64607" y="32109"/>
                      <a:pt x="59779" y="34385"/>
                    </a:cubicBezTo>
                    <a:lnTo>
                      <a:pt x="97794" y="56483"/>
                    </a:lnTo>
                    <a:lnTo>
                      <a:pt x="104637" y="54007"/>
                    </a:lnTo>
                    <a:cubicBezTo>
                      <a:pt x="114141" y="50768"/>
                      <a:pt x="123644" y="48006"/>
                      <a:pt x="132198" y="45815"/>
                    </a:cubicBezTo>
                    <a:cubicBezTo>
                      <a:pt x="140276" y="43624"/>
                      <a:pt x="148554" y="42253"/>
                      <a:pt x="156908" y="41720"/>
                    </a:cubicBezTo>
                    <a:cubicBezTo>
                      <a:pt x="164511" y="41215"/>
                      <a:pt x="172152" y="41720"/>
                      <a:pt x="179622" y="43244"/>
                    </a:cubicBezTo>
                    <a:cubicBezTo>
                      <a:pt x="187282" y="44872"/>
                      <a:pt x="194638" y="47739"/>
                      <a:pt x="201385" y="51721"/>
                    </a:cubicBezTo>
                    <a:cubicBezTo>
                      <a:pt x="208009" y="55064"/>
                      <a:pt x="213664" y="60045"/>
                      <a:pt x="217827" y="66199"/>
                    </a:cubicBezTo>
                    <a:cubicBezTo>
                      <a:pt x="220602" y="70656"/>
                      <a:pt x="221495" y="76038"/>
                      <a:pt x="220298" y="81153"/>
                    </a:cubicBezTo>
                    <a:cubicBezTo>
                      <a:pt x="218673" y="86773"/>
                      <a:pt x="215584" y="91869"/>
                      <a:pt x="211364" y="95917"/>
                    </a:cubicBezTo>
                    <a:cubicBezTo>
                      <a:pt x="206118" y="101213"/>
                      <a:pt x="200245" y="105851"/>
                      <a:pt x="193877" y="109728"/>
                    </a:cubicBezTo>
                    <a:lnTo>
                      <a:pt x="218207" y="123825"/>
                    </a:lnTo>
                    <a:lnTo>
                      <a:pt x="204902" y="131445"/>
                    </a:lnTo>
                    <a:lnTo>
                      <a:pt x="180382" y="117253"/>
                    </a:lnTo>
                    <a:cubicBezTo>
                      <a:pt x="168730" y="123044"/>
                      <a:pt x="156537" y="127663"/>
                      <a:pt x="143982" y="131064"/>
                    </a:cubicBezTo>
                    <a:cubicBezTo>
                      <a:pt x="130829" y="134731"/>
                      <a:pt x="117372" y="137255"/>
                      <a:pt x="103781" y="138589"/>
                    </a:cubicBezTo>
                    <a:lnTo>
                      <a:pt x="91236" y="116014"/>
                    </a:lnTo>
                    <a:cubicBezTo>
                      <a:pt x="94829" y="115919"/>
                      <a:pt x="98412" y="115633"/>
                      <a:pt x="101976" y="115157"/>
                    </a:cubicBezTo>
                    <a:cubicBezTo>
                      <a:pt x="107345" y="114510"/>
                      <a:pt x="112667" y="113586"/>
                      <a:pt x="117942" y="112395"/>
                    </a:cubicBezTo>
                    <a:cubicBezTo>
                      <a:pt x="123834" y="111157"/>
                      <a:pt x="130107" y="109538"/>
                      <a:pt x="136950" y="107632"/>
                    </a:cubicBezTo>
                    <a:cubicBezTo>
                      <a:pt x="143460" y="105823"/>
                      <a:pt x="149818" y="103499"/>
                      <a:pt x="155957" y="100679"/>
                    </a:cubicBezTo>
                    <a:lnTo>
                      <a:pt x="117942" y="78677"/>
                    </a:lnTo>
                    <a:lnTo>
                      <a:pt x="113000" y="80391"/>
                    </a:lnTo>
                    <a:lnTo>
                      <a:pt x="107773" y="82010"/>
                    </a:lnTo>
                    <a:cubicBezTo>
                      <a:pt x="98269" y="85182"/>
                      <a:pt x="89526" y="87659"/>
                      <a:pt x="81543" y="89440"/>
                    </a:cubicBezTo>
                    <a:cubicBezTo>
                      <a:pt x="74177" y="91154"/>
                      <a:pt x="66669" y="92145"/>
                      <a:pt x="59114" y="92393"/>
                    </a:cubicBezTo>
                    <a:cubicBezTo>
                      <a:pt x="52471" y="92678"/>
                      <a:pt x="45827" y="92069"/>
                      <a:pt x="39346" y="90583"/>
                    </a:cubicBezTo>
                    <a:cubicBezTo>
                      <a:pt x="32893" y="89040"/>
                      <a:pt x="26715" y="86535"/>
                      <a:pt x="21003" y="83153"/>
                    </a:cubicBezTo>
                    <a:cubicBezTo>
                      <a:pt x="14769" y="79848"/>
                      <a:pt x="9352" y="75200"/>
                      <a:pt x="5132" y="69532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78" y="49263"/>
                      <a:pt x="3573" y="44044"/>
                      <a:pt x="7128" y="39814"/>
                    </a:cubicBezTo>
                    <a:cubicBezTo>
                      <a:pt x="11481" y="34357"/>
                      <a:pt x="16679" y="29623"/>
                      <a:pt x="22524" y="25813"/>
                    </a:cubicBezTo>
                    <a:lnTo>
                      <a:pt x="0" y="12763"/>
                    </a:lnTo>
                    <a:lnTo>
                      <a:pt x="13305" y="5048"/>
                    </a:lnTo>
                    <a:lnTo>
                      <a:pt x="35639" y="18002"/>
                    </a:lnTo>
                    <a:cubicBezTo>
                      <a:pt x="46093" y="12783"/>
                      <a:pt x="57089" y="8725"/>
                      <a:pt x="68427" y="5905"/>
                    </a:cubicBezTo>
                    <a:cubicBezTo>
                      <a:pt x="79195" y="3143"/>
                      <a:pt x="90162" y="1171"/>
                      <a:pt x="101215" y="0"/>
                    </a:cubicBezTo>
                    <a:close/>
                    <a:moveTo>
                      <a:pt x="46759" y="61817"/>
                    </a:moveTo>
                    <a:cubicBezTo>
                      <a:pt x="51758" y="64732"/>
                      <a:pt x="57546" y="65999"/>
                      <a:pt x="63295" y="65437"/>
                    </a:cubicBezTo>
                    <a:cubicBezTo>
                      <a:pt x="71050" y="64494"/>
                      <a:pt x="78691" y="62770"/>
                      <a:pt x="86104" y="60293"/>
                    </a:cubicBezTo>
                    <a:lnTo>
                      <a:pt x="50275" y="39624"/>
                    </a:lnTo>
                    <a:cubicBezTo>
                      <a:pt x="37160" y="48454"/>
                      <a:pt x="35991" y="55978"/>
                      <a:pt x="46759" y="62198"/>
                    </a:cubicBezTo>
                    <a:close/>
                    <a:moveTo>
                      <a:pt x="172209" y="72295"/>
                    </a:moveTo>
                    <a:cubicBezTo>
                      <a:pt x="166753" y="69323"/>
                      <a:pt x="160481" y="68218"/>
                      <a:pt x="154342" y="69152"/>
                    </a:cubicBezTo>
                    <a:cubicBezTo>
                      <a:pt x="145874" y="70237"/>
                      <a:pt x="137510" y="72057"/>
                      <a:pt x="129347" y="74581"/>
                    </a:cubicBezTo>
                    <a:lnTo>
                      <a:pt x="164891" y="95155"/>
                    </a:lnTo>
                    <a:cubicBezTo>
                      <a:pt x="180097" y="86296"/>
                      <a:pt x="182473" y="78867"/>
                      <a:pt x="17220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4113;p38">
                <a:extLst>
                  <a:ext uri="{FF2B5EF4-FFF2-40B4-BE49-F238E27FC236}">
                    <a16:creationId xmlns:a16="http://schemas.microsoft.com/office/drawing/2014/main" id="{57D4A00E-FB08-44EC-814B-6170C3FDE9A1}"/>
                  </a:ext>
                </a:extLst>
              </p:cNvPr>
              <p:cNvSpPr/>
              <p:nvPr/>
            </p:nvSpPr>
            <p:spPr>
              <a:xfrm>
                <a:off x="5302433" y="5053393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" name="Google Shape;4114;p38">
                <a:extLst>
                  <a:ext uri="{FF2B5EF4-FFF2-40B4-BE49-F238E27FC236}">
                    <a16:creationId xmlns:a16="http://schemas.microsoft.com/office/drawing/2014/main" id="{D924DA9D-6FCC-4412-8557-3B9715C840C8}"/>
                  </a:ext>
                </a:extLst>
              </p:cNvPr>
              <p:cNvSpPr/>
              <p:nvPr/>
            </p:nvSpPr>
            <p:spPr>
              <a:xfrm>
                <a:off x="5397946" y="5061584"/>
                <a:ext cx="31647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858" extrusionOk="0">
                    <a:moveTo>
                      <a:pt x="31648" y="12954"/>
                    </a:moveTo>
                    <a:lnTo>
                      <a:pt x="31648" y="0"/>
                    </a:lnTo>
                    <a:lnTo>
                      <a:pt x="0" y="2477"/>
                    </a:lnTo>
                    <a:lnTo>
                      <a:pt x="18152" y="14859"/>
                    </a:lnTo>
                    <a:lnTo>
                      <a:pt x="31648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5" name="Google Shape;4115;p38">
                <a:extLst>
                  <a:ext uri="{FF2B5EF4-FFF2-40B4-BE49-F238E27FC236}">
                    <a16:creationId xmlns:a16="http://schemas.microsoft.com/office/drawing/2014/main" id="{BAC03EBD-10BD-42A4-B96C-869C66F33AE8}"/>
                  </a:ext>
                </a:extLst>
              </p:cNvPr>
              <p:cNvSpPr/>
              <p:nvPr/>
            </p:nvSpPr>
            <p:spPr>
              <a:xfrm>
                <a:off x="5408591" y="5014055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" name="Google Shape;4116;p38">
                <a:extLst>
                  <a:ext uri="{FF2B5EF4-FFF2-40B4-BE49-F238E27FC236}">
                    <a16:creationId xmlns:a16="http://schemas.microsoft.com/office/drawing/2014/main" id="{FAF78296-1367-4493-8BEF-65D83FB82406}"/>
                  </a:ext>
                </a:extLst>
              </p:cNvPr>
              <p:cNvSpPr/>
              <p:nvPr/>
            </p:nvSpPr>
            <p:spPr>
              <a:xfrm>
                <a:off x="5334271" y="501891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8" y="24670"/>
                    </a:lnTo>
                    <a:cubicBezTo>
                      <a:pt x="33928" y="24670"/>
                      <a:pt x="13115" y="15907"/>
                      <a:pt x="12450" y="15145"/>
                    </a:cubicBezTo>
                    <a:cubicBezTo>
                      <a:pt x="11785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4117;p38">
                <a:extLst>
                  <a:ext uri="{FF2B5EF4-FFF2-40B4-BE49-F238E27FC236}">
                    <a16:creationId xmlns:a16="http://schemas.microsoft.com/office/drawing/2014/main" id="{828BFF1D-E9C3-4475-8C30-8B8EBF7CE984}"/>
                  </a:ext>
                </a:extLst>
              </p:cNvPr>
              <p:cNvSpPr/>
              <p:nvPr/>
            </p:nvSpPr>
            <p:spPr>
              <a:xfrm>
                <a:off x="5261567" y="4977479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287"/>
                    </a:moveTo>
                    <a:lnTo>
                      <a:pt x="36875" y="29146"/>
                    </a:lnTo>
                    <a:lnTo>
                      <a:pt x="44383" y="23717"/>
                    </a:lnTo>
                    <a:lnTo>
                      <a:pt x="39441" y="17907"/>
                    </a:ln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811"/>
                      <a:pt x="7793" y="0"/>
                      <a:pt x="7793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4118;p38">
                <a:extLst>
                  <a:ext uri="{FF2B5EF4-FFF2-40B4-BE49-F238E27FC236}">
                    <a16:creationId xmlns:a16="http://schemas.microsoft.com/office/drawing/2014/main" id="{7286EFFF-E09C-499F-9D02-9D8A695666C6}"/>
                  </a:ext>
                </a:extLst>
              </p:cNvPr>
              <p:cNvSpPr/>
              <p:nvPr/>
            </p:nvSpPr>
            <p:spPr>
              <a:xfrm>
                <a:off x="5302338" y="4953952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4119;p38">
                <a:extLst>
                  <a:ext uri="{FF2B5EF4-FFF2-40B4-BE49-F238E27FC236}">
                    <a16:creationId xmlns:a16="http://schemas.microsoft.com/office/drawing/2014/main" id="{2ABFA302-5AE5-40A8-A052-08CB087594B7}"/>
                  </a:ext>
                </a:extLst>
              </p:cNvPr>
              <p:cNvSpPr/>
              <p:nvPr/>
            </p:nvSpPr>
            <p:spPr>
              <a:xfrm>
                <a:off x="5210437" y="4950142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8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4120;p38">
                <a:extLst>
                  <a:ext uri="{FF2B5EF4-FFF2-40B4-BE49-F238E27FC236}">
                    <a16:creationId xmlns:a16="http://schemas.microsoft.com/office/drawing/2014/main" id="{886956E9-5730-4AEC-A06B-88C6C016EE24}"/>
                  </a:ext>
                </a:extLst>
              </p:cNvPr>
              <p:cNvSpPr/>
              <p:nvPr/>
            </p:nvSpPr>
            <p:spPr>
              <a:xfrm>
                <a:off x="5211197" y="4993481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1" name="Google Shape;4121;p38">
                <a:extLst>
                  <a:ext uri="{FF2B5EF4-FFF2-40B4-BE49-F238E27FC236}">
                    <a16:creationId xmlns:a16="http://schemas.microsoft.com/office/drawing/2014/main" id="{2AA425BB-CF4E-4897-953A-D3F6342E75A4}"/>
                  </a:ext>
                </a:extLst>
              </p:cNvPr>
              <p:cNvSpPr/>
              <p:nvPr/>
            </p:nvSpPr>
            <p:spPr>
              <a:xfrm>
                <a:off x="5211197" y="4937378"/>
                <a:ext cx="22081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0817" h="139065" extrusionOk="0">
                    <a:moveTo>
                      <a:pt x="111669" y="22098"/>
                    </a:moveTo>
                    <a:cubicBezTo>
                      <a:pt x="108742" y="22098"/>
                      <a:pt x="105815" y="22355"/>
                      <a:pt x="102926" y="22860"/>
                    </a:cubicBezTo>
                    <a:cubicBezTo>
                      <a:pt x="99030" y="23336"/>
                      <a:pt x="94658" y="24194"/>
                      <a:pt x="89811" y="25146"/>
                    </a:cubicBezTo>
                    <a:cubicBezTo>
                      <a:pt x="84964" y="26099"/>
                      <a:pt x="80307" y="27527"/>
                      <a:pt x="74700" y="29051"/>
                    </a:cubicBezTo>
                    <a:cubicBezTo>
                      <a:pt x="69606" y="30623"/>
                      <a:pt x="64626" y="32538"/>
                      <a:pt x="59779" y="34766"/>
                    </a:cubicBezTo>
                    <a:lnTo>
                      <a:pt x="97794" y="56864"/>
                    </a:lnTo>
                    <a:lnTo>
                      <a:pt x="104637" y="54483"/>
                    </a:lnTo>
                    <a:cubicBezTo>
                      <a:pt x="114141" y="51245"/>
                      <a:pt x="123644" y="48483"/>
                      <a:pt x="132198" y="46196"/>
                    </a:cubicBezTo>
                    <a:cubicBezTo>
                      <a:pt x="140276" y="44006"/>
                      <a:pt x="148554" y="42634"/>
                      <a:pt x="156908" y="42101"/>
                    </a:cubicBezTo>
                    <a:cubicBezTo>
                      <a:pt x="164511" y="41643"/>
                      <a:pt x="172142" y="42148"/>
                      <a:pt x="179622" y="43625"/>
                    </a:cubicBezTo>
                    <a:cubicBezTo>
                      <a:pt x="187291" y="45291"/>
                      <a:pt x="194638" y="48187"/>
                      <a:pt x="201385" y="52197"/>
                    </a:cubicBezTo>
                    <a:cubicBezTo>
                      <a:pt x="208028" y="55512"/>
                      <a:pt x="213693" y="60503"/>
                      <a:pt x="217827" y="66675"/>
                    </a:cubicBezTo>
                    <a:cubicBezTo>
                      <a:pt x="220602" y="71133"/>
                      <a:pt x="221495" y="76515"/>
                      <a:pt x="220298" y="81629"/>
                    </a:cubicBezTo>
                    <a:cubicBezTo>
                      <a:pt x="218644" y="87249"/>
                      <a:pt x="215574" y="92335"/>
                      <a:pt x="211364" y="96393"/>
                    </a:cubicBezTo>
                    <a:cubicBezTo>
                      <a:pt x="206090" y="101660"/>
                      <a:pt x="200226" y="106299"/>
                      <a:pt x="193877" y="110204"/>
                    </a:cubicBezTo>
                    <a:lnTo>
                      <a:pt x="218207" y="124206"/>
                    </a:lnTo>
                    <a:lnTo>
                      <a:pt x="204902" y="131921"/>
                    </a:lnTo>
                    <a:lnTo>
                      <a:pt x="180382" y="117729"/>
                    </a:lnTo>
                    <a:cubicBezTo>
                      <a:pt x="168711" y="123473"/>
                      <a:pt x="156527" y="128102"/>
                      <a:pt x="143982" y="131541"/>
                    </a:cubicBezTo>
                    <a:cubicBezTo>
                      <a:pt x="130810" y="135169"/>
                      <a:pt x="117372" y="137684"/>
                      <a:pt x="103781" y="139065"/>
                    </a:cubicBezTo>
                    <a:lnTo>
                      <a:pt x="91236" y="116015"/>
                    </a:lnTo>
                    <a:cubicBezTo>
                      <a:pt x="93612" y="116015"/>
                      <a:pt x="97129" y="116015"/>
                      <a:pt x="101976" y="115253"/>
                    </a:cubicBezTo>
                    <a:cubicBezTo>
                      <a:pt x="106823" y="114491"/>
                      <a:pt x="112050" y="113729"/>
                      <a:pt x="117942" y="112491"/>
                    </a:cubicBezTo>
                    <a:cubicBezTo>
                      <a:pt x="123834" y="111252"/>
                      <a:pt x="130107" y="109633"/>
                      <a:pt x="136950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6"/>
                    </a:lnTo>
                    <a:cubicBezTo>
                      <a:pt x="99163" y="85011"/>
                      <a:pt x="90410" y="87468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1" y="92745"/>
                      <a:pt x="45818" y="92107"/>
                      <a:pt x="39346" y="90583"/>
                    </a:cubicBezTo>
                    <a:cubicBezTo>
                      <a:pt x="32912" y="89030"/>
                      <a:pt x="26734" y="86563"/>
                      <a:pt x="21003" y="83249"/>
                    </a:cubicBezTo>
                    <a:cubicBezTo>
                      <a:pt x="14759" y="79915"/>
                      <a:pt x="9342" y="75229"/>
                      <a:pt x="5132" y="69533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97" y="49292"/>
                      <a:pt x="3592" y="44110"/>
                      <a:pt x="7128" y="39910"/>
                    </a:cubicBezTo>
                    <a:cubicBezTo>
                      <a:pt x="11500" y="34443"/>
                      <a:pt x="16698" y="29689"/>
                      <a:pt x="22524" y="25813"/>
                    </a:cubicBezTo>
                    <a:lnTo>
                      <a:pt x="0" y="12764"/>
                    </a:lnTo>
                    <a:lnTo>
                      <a:pt x="13305" y="5144"/>
                    </a:lnTo>
                    <a:lnTo>
                      <a:pt x="35639" y="18002"/>
                    </a:lnTo>
                    <a:cubicBezTo>
                      <a:pt x="46093" y="12811"/>
                      <a:pt x="57089" y="8782"/>
                      <a:pt x="68427" y="6001"/>
                    </a:cubicBezTo>
                    <a:cubicBezTo>
                      <a:pt x="79205" y="3258"/>
                      <a:pt x="90162" y="1248"/>
                      <a:pt x="101215" y="0"/>
                    </a:cubicBezTo>
                    <a:close/>
                    <a:moveTo>
                      <a:pt x="46759" y="62294"/>
                    </a:moveTo>
                    <a:cubicBezTo>
                      <a:pt x="51786" y="65113"/>
                      <a:pt x="57555" y="66342"/>
                      <a:pt x="63295" y="65818"/>
                    </a:cubicBezTo>
                    <a:cubicBezTo>
                      <a:pt x="71069" y="64970"/>
                      <a:pt x="78720" y="63246"/>
                      <a:pt x="86104" y="60674"/>
                    </a:cubicBezTo>
                    <a:lnTo>
                      <a:pt x="50275" y="40005"/>
                    </a:lnTo>
                    <a:cubicBezTo>
                      <a:pt x="37160" y="48578"/>
                      <a:pt x="35991" y="56007"/>
                      <a:pt x="46759" y="62294"/>
                    </a:cubicBezTo>
                    <a:close/>
                    <a:moveTo>
                      <a:pt x="172209" y="72771"/>
                    </a:moveTo>
                    <a:cubicBezTo>
                      <a:pt x="166763" y="69771"/>
                      <a:pt x="160491" y="68628"/>
                      <a:pt x="154342" y="69533"/>
                    </a:cubicBezTo>
                    <a:cubicBezTo>
                      <a:pt x="145864" y="70609"/>
                      <a:pt x="137491" y="72457"/>
                      <a:pt x="129347" y="75057"/>
                    </a:cubicBezTo>
                    <a:lnTo>
                      <a:pt x="164891" y="95631"/>
                    </a:lnTo>
                    <a:cubicBezTo>
                      <a:pt x="180097" y="86297"/>
                      <a:pt x="182473" y="78677"/>
                      <a:pt x="17220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2" name="Google Shape;4122;p38">
              <a:extLst>
                <a:ext uri="{FF2B5EF4-FFF2-40B4-BE49-F238E27FC236}">
                  <a16:creationId xmlns:a16="http://schemas.microsoft.com/office/drawing/2014/main" id="{974D1662-B862-4BE8-9180-3A2D573C1031}"/>
                </a:ext>
              </a:extLst>
            </p:cNvPr>
            <p:cNvGrpSpPr/>
            <p:nvPr/>
          </p:nvGrpSpPr>
          <p:grpSpPr>
            <a:xfrm>
              <a:off x="3192597" y="3904144"/>
              <a:ext cx="664599" cy="467011"/>
              <a:chOff x="4973697" y="4720494"/>
              <a:chExt cx="664599" cy="467011"/>
            </a:xfrm>
          </p:grpSpPr>
          <p:sp>
            <p:nvSpPr>
              <p:cNvPr id="270" name="Google Shape;4123;p38">
                <a:extLst>
                  <a:ext uri="{FF2B5EF4-FFF2-40B4-BE49-F238E27FC236}">
                    <a16:creationId xmlns:a16="http://schemas.microsoft.com/office/drawing/2014/main" id="{D005342F-9334-48C1-9FBB-ACDB5F1E1F8E}"/>
                  </a:ext>
                </a:extLst>
              </p:cNvPr>
              <p:cNvSpPr/>
              <p:nvPr/>
            </p:nvSpPr>
            <p:spPr>
              <a:xfrm>
                <a:off x="4973697" y="480288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1" name="Google Shape;4124;p38">
                <a:extLst>
                  <a:ext uri="{FF2B5EF4-FFF2-40B4-BE49-F238E27FC236}">
                    <a16:creationId xmlns:a16="http://schemas.microsoft.com/office/drawing/2014/main" id="{4C37C74B-81A4-4171-8524-659945AB74EC}"/>
                  </a:ext>
                </a:extLst>
              </p:cNvPr>
              <p:cNvSpPr/>
              <p:nvPr/>
            </p:nvSpPr>
            <p:spPr>
              <a:xfrm>
                <a:off x="4973792" y="491051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2" name="Google Shape;4125;p38">
                <a:extLst>
                  <a:ext uri="{FF2B5EF4-FFF2-40B4-BE49-F238E27FC236}">
                    <a16:creationId xmlns:a16="http://schemas.microsoft.com/office/drawing/2014/main" id="{E9EB0839-8AAC-4D19-9B89-71E6D6B3E0F0}"/>
                  </a:ext>
                </a:extLst>
              </p:cNvPr>
              <p:cNvSpPr/>
              <p:nvPr/>
            </p:nvSpPr>
            <p:spPr>
              <a:xfrm>
                <a:off x="5588212" y="4912804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536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3" name="Google Shape;4126;p38">
                <a:extLst>
                  <a:ext uri="{FF2B5EF4-FFF2-40B4-BE49-F238E27FC236}">
                    <a16:creationId xmlns:a16="http://schemas.microsoft.com/office/drawing/2014/main" id="{49FAC629-134D-4C58-B823-9B2906C5F2DC}"/>
                  </a:ext>
                </a:extLst>
              </p:cNvPr>
              <p:cNvSpPr/>
              <p:nvPr/>
            </p:nvSpPr>
            <p:spPr>
              <a:xfrm>
                <a:off x="4973697" y="472049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4" name="Google Shape;4127;p38">
                <a:extLst>
                  <a:ext uri="{FF2B5EF4-FFF2-40B4-BE49-F238E27FC236}">
                    <a16:creationId xmlns:a16="http://schemas.microsoft.com/office/drawing/2014/main" id="{E08E8980-1D92-445F-A0DB-52A511C5B4EA}"/>
                  </a:ext>
                </a:extLst>
              </p:cNvPr>
              <p:cNvSpPr/>
              <p:nvPr/>
            </p:nvSpPr>
            <p:spPr>
              <a:xfrm>
                <a:off x="5068198" y="4772810"/>
                <a:ext cx="475691" cy="275343"/>
              </a:xfrm>
              <a:custGeom>
                <a:avLst/>
                <a:gdLst/>
                <a:ahLst/>
                <a:cxnLst/>
                <a:rect l="l" t="t" r="r" b="b"/>
                <a:pathLst>
                  <a:path w="475691" h="275343" extrusionOk="0">
                    <a:moveTo>
                      <a:pt x="475252" y="145899"/>
                    </a:moveTo>
                    <a:cubicBezTo>
                      <a:pt x="471925" y="178284"/>
                      <a:pt x="448831" y="210193"/>
                      <a:pt x="406064" y="235053"/>
                    </a:cubicBezTo>
                    <a:cubicBezTo>
                      <a:pt x="313117" y="288774"/>
                      <a:pt x="162482" y="288774"/>
                      <a:pt x="69630" y="235053"/>
                    </a:cubicBezTo>
                    <a:cubicBezTo>
                      <a:pt x="26768" y="210193"/>
                      <a:pt x="3769" y="177903"/>
                      <a:pt x="443" y="145899"/>
                    </a:cubicBezTo>
                    <a:cubicBezTo>
                      <a:pt x="-3549" y="107799"/>
                      <a:pt x="19450" y="69699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054" y="69318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5" name="Google Shape;4128;p38">
                <a:extLst>
                  <a:ext uri="{FF2B5EF4-FFF2-40B4-BE49-F238E27FC236}">
                    <a16:creationId xmlns:a16="http://schemas.microsoft.com/office/drawing/2014/main" id="{65750912-13AB-4901-B1E7-083828A55820}"/>
                  </a:ext>
                </a:extLst>
              </p:cNvPr>
              <p:cNvSpPr/>
              <p:nvPr/>
            </p:nvSpPr>
            <p:spPr>
              <a:xfrm>
                <a:off x="5068640" y="4789288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575"/>
                    </a:cubicBezTo>
                    <a:cubicBezTo>
                      <a:pt x="312675" y="272296"/>
                      <a:pt x="162040" y="272296"/>
                      <a:pt x="69188" y="218575"/>
                    </a:cubicBezTo>
                    <a:cubicBezTo>
                      <a:pt x="26325" y="193715"/>
                      <a:pt x="3326" y="161425"/>
                      <a:pt x="0" y="129421"/>
                    </a:cubicBezTo>
                    <a:cubicBezTo>
                      <a:pt x="3326" y="97036"/>
                      <a:pt x="26325" y="65223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223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6" name="Google Shape;4129;p38">
                <a:extLst>
                  <a:ext uri="{FF2B5EF4-FFF2-40B4-BE49-F238E27FC236}">
                    <a16:creationId xmlns:a16="http://schemas.microsoft.com/office/drawing/2014/main" id="{8E51781C-9035-4E1E-B06D-D0A3336BE8E3}"/>
                  </a:ext>
                </a:extLst>
              </p:cNvPr>
              <p:cNvSpPr/>
              <p:nvPr/>
            </p:nvSpPr>
            <p:spPr>
              <a:xfrm>
                <a:off x="5190479" y="4851558"/>
                <a:ext cx="221040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040" h="139065" extrusionOk="0">
                    <a:moveTo>
                      <a:pt x="111955" y="22193"/>
                    </a:moveTo>
                    <a:cubicBezTo>
                      <a:pt x="109027" y="22155"/>
                      <a:pt x="106100" y="22374"/>
                      <a:pt x="103211" y="22860"/>
                    </a:cubicBezTo>
                    <a:cubicBezTo>
                      <a:pt x="99315" y="23431"/>
                      <a:pt x="94943" y="24194"/>
                      <a:pt x="90096" y="25241"/>
                    </a:cubicBezTo>
                    <a:cubicBezTo>
                      <a:pt x="84992" y="26280"/>
                      <a:pt x="79946" y="27575"/>
                      <a:pt x="74985" y="29146"/>
                    </a:cubicBezTo>
                    <a:cubicBezTo>
                      <a:pt x="69872" y="30632"/>
                      <a:pt x="64882" y="32509"/>
                      <a:pt x="60064" y="34766"/>
                    </a:cubicBezTo>
                    <a:lnTo>
                      <a:pt x="98079" y="56864"/>
                    </a:lnTo>
                    <a:lnTo>
                      <a:pt x="104922" y="54483"/>
                    </a:lnTo>
                    <a:cubicBezTo>
                      <a:pt x="114426" y="51245"/>
                      <a:pt x="123929" y="48482"/>
                      <a:pt x="132388" y="46196"/>
                    </a:cubicBezTo>
                    <a:cubicBezTo>
                      <a:pt x="140476" y="44063"/>
                      <a:pt x="148753" y="42691"/>
                      <a:pt x="157098" y="42100"/>
                    </a:cubicBezTo>
                    <a:cubicBezTo>
                      <a:pt x="164739" y="41672"/>
                      <a:pt x="172399" y="42215"/>
                      <a:pt x="179907" y="43720"/>
                    </a:cubicBezTo>
                    <a:cubicBezTo>
                      <a:pt x="187576" y="45330"/>
                      <a:pt x="194932" y="48187"/>
                      <a:pt x="201670" y="52197"/>
                    </a:cubicBezTo>
                    <a:cubicBezTo>
                      <a:pt x="208294" y="55540"/>
                      <a:pt x="213949" y="60522"/>
                      <a:pt x="218112" y="66675"/>
                    </a:cubicBezTo>
                    <a:cubicBezTo>
                      <a:pt x="220868" y="71142"/>
                      <a:pt x="221723" y="76524"/>
                      <a:pt x="220488" y="81629"/>
                    </a:cubicBezTo>
                    <a:cubicBezTo>
                      <a:pt x="218872" y="87258"/>
                      <a:pt x="215793" y="92354"/>
                      <a:pt x="211554" y="96393"/>
                    </a:cubicBezTo>
                    <a:cubicBezTo>
                      <a:pt x="206318" y="101660"/>
                      <a:pt x="200473" y="106299"/>
                      <a:pt x="194162" y="110204"/>
                    </a:cubicBezTo>
                    <a:lnTo>
                      <a:pt x="218397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87" y="123530"/>
                      <a:pt x="156765" y="128159"/>
                      <a:pt x="144172" y="131540"/>
                    </a:cubicBezTo>
                    <a:cubicBezTo>
                      <a:pt x="131010" y="135179"/>
                      <a:pt x="117562" y="137703"/>
                      <a:pt x="103971" y="139065"/>
                    </a:cubicBezTo>
                    <a:lnTo>
                      <a:pt x="91236" y="116110"/>
                    </a:lnTo>
                    <a:cubicBezTo>
                      <a:pt x="94800" y="116014"/>
                      <a:pt x="98355" y="115729"/>
                      <a:pt x="101881" y="115253"/>
                    </a:cubicBezTo>
                    <a:cubicBezTo>
                      <a:pt x="107279" y="114614"/>
                      <a:pt x="112639" y="113690"/>
                      <a:pt x="117942" y="112490"/>
                    </a:cubicBezTo>
                    <a:cubicBezTo>
                      <a:pt x="123834" y="111252"/>
                      <a:pt x="130012" y="109633"/>
                      <a:pt x="136950" y="107728"/>
                    </a:cubicBezTo>
                    <a:cubicBezTo>
                      <a:pt x="143441" y="105870"/>
                      <a:pt x="149799" y="103546"/>
                      <a:pt x="155957" y="100774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8269" y="85249"/>
                      <a:pt x="89431" y="87725"/>
                      <a:pt x="81447" y="89535"/>
                    </a:cubicBezTo>
                    <a:cubicBezTo>
                      <a:pt x="74111" y="91202"/>
                      <a:pt x="66631" y="92192"/>
                      <a:pt x="59114" y="92488"/>
                    </a:cubicBezTo>
                    <a:cubicBezTo>
                      <a:pt x="52470" y="92726"/>
                      <a:pt x="45827" y="92126"/>
                      <a:pt x="39346" y="90678"/>
                    </a:cubicBezTo>
                    <a:cubicBezTo>
                      <a:pt x="32902" y="89125"/>
                      <a:pt x="26715" y="86620"/>
                      <a:pt x="21003" y="83248"/>
                    </a:cubicBezTo>
                    <a:cubicBezTo>
                      <a:pt x="14712" y="79943"/>
                      <a:pt x="9257" y="75257"/>
                      <a:pt x="5037" y="69532"/>
                    </a:cubicBezTo>
                    <a:cubicBezTo>
                      <a:pt x="1958" y="65246"/>
                      <a:pt x="447" y="60036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71" y="34461"/>
                      <a:pt x="16689" y="29708"/>
                      <a:pt x="22524" y="25813"/>
                    </a:cubicBezTo>
                    <a:lnTo>
                      <a:pt x="0" y="12859"/>
                    </a:lnTo>
                    <a:lnTo>
                      <a:pt x="13210" y="5144"/>
                    </a:lnTo>
                    <a:lnTo>
                      <a:pt x="35544" y="18097"/>
                    </a:lnTo>
                    <a:cubicBezTo>
                      <a:pt x="45998" y="12878"/>
                      <a:pt x="56994" y="8820"/>
                      <a:pt x="68332" y="6001"/>
                    </a:cubicBezTo>
                    <a:cubicBezTo>
                      <a:pt x="79110" y="3257"/>
                      <a:pt x="90067" y="1248"/>
                      <a:pt x="101120" y="0"/>
                    </a:cubicBezTo>
                    <a:close/>
                    <a:moveTo>
                      <a:pt x="47044" y="62294"/>
                    </a:moveTo>
                    <a:cubicBezTo>
                      <a:pt x="52043" y="65199"/>
                      <a:pt x="57830" y="66427"/>
                      <a:pt x="63580" y="65818"/>
                    </a:cubicBezTo>
                    <a:cubicBezTo>
                      <a:pt x="71307" y="64951"/>
                      <a:pt x="78929" y="63265"/>
                      <a:pt x="86294" y="60770"/>
                    </a:cubicBezTo>
                    <a:lnTo>
                      <a:pt x="50560" y="40005"/>
                    </a:lnTo>
                    <a:cubicBezTo>
                      <a:pt x="37540" y="48673"/>
                      <a:pt x="35924" y="56102"/>
                      <a:pt x="47139" y="62294"/>
                    </a:cubicBezTo>
                    <a:close/>
                    <a:moveTo>
                      <a:pt x="172494" y="72771"/>
                    </a:moveTo>
                    <a:cubicBezTo>
                      <a:pt x="167020" y="69752"/>
                      <a:pt x="160709" y="68609"/>
                      <a:pt x="154532" y="69532"/>
                    </a:cubicBezTo>
                    <a:cubicBezTo>
                      <a:pt x="146092" y="70656"/>
                      <a:pt x="137757" y="72504"/>
                      <a:pt x="129632" y="75057"/>
                    </a:cubicBezTo>
                    <a:lnTo>
                      <a:pt x="165176" y="95631"/>
                    </a:lnTo>
                    <a:cubicBezTo>
                      <a:pt x="180382" y="86296"/>
                      <a:pt x="182853" y="78705"/>
                      <a:pt x="172589" y="7286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7" name="Google Shape;4130;p38">
                <a:extLst>
                  <a:ext uri="{FF2B5EF4-FFF2-40B4-BE49-F238E27FC236}">
                    <a16:creationId xmlns:a16="http://schemas.microsoft.com/office/drawing/2014/main" id="{EFE357F3-0D83-477F-BD70-6EB52738C489}"/>
                  </a:ext>
                </a:extLst>
              </p:cNvPr>
              <p:cNvSpPr/>
              <p:nvPr/>
            </p:nvSpPr>
            <p:spPr>
              <a:xfrm>
                <a:off x="5282000" y="495471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8" name="Google Shape;4131;p38">
                <a:extLst>
                  <a:ext uri="{FF2B5EF4-FFF2-40B4-BE49-F238E27FC236}">
                    <a16:creationId xmlns:a16="http://schemas.microsoft.com/office/drawing/2014/main" id="{F4058297-F2E8-497B-AE70-5CED126DA0A3}"/>
                  </a:ext>
                </a:extLst>
              </p:cNvPr>
              <p:cNvSpPr/>
              <p:nvPr/>
            </p:nvSpPr>
            <p:spPr>
              <a:xfrm>
                <a:off x="5377608" y="4962906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859"/>
                    </a:moveTo>
                    <a:lnTo>
                      <a:pt x="31552" y="0"/>
                    </a:lnTo>
                    <a:lnTo>
                      <a:pt x="0" y="2381"/>
                    </a:lnTo>
                    <a:lnTo>
                      <a:pt x="18152" y="14859"/>
                    </a:lnTo>
                    <a:lnTo>
                      <a:pt x="31552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9" name="Google Shape;4132;p38">
                <a:extLst>
                  <a:ext uri="{FF2B5EF4-FFF2-40B4-BE49-F238E27FC236}">
                    <a16:creationId xmlns:a16="http://schemas.microsoft.com/office/drawing/2014/main" id="{F5CBB528-26D9-41A2-9A39-51144372EAE5}"/>
                  </a:ext>
                </a:extLst>
              </p:cNvPr>
              <p:cNvSpPr/>
              <p:nvPr/>
            </p:nvSpPr>
            <p:spPr>
              <a:xfrm>
                <a:off x="5388158" y="4915376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" name="Google Shape;4133;p38">
                <a:extLst>
                  <a:ext uri="{FF2B5EF4-FFF2-40B4-BE49-F238E27FC236}">
                    <a16:creationId xmlns:a16="http://schemas.microsoft.com/office/drawing/2014/main" id="{4E9625F1-58CC-492F-94F2-4995D2FD1391}"/>
                  </a:ext>
                </a:extLst>
              </p:cNvPr>
              <p:cNvSpPr/>
              <p:nvPr/>
            </p:nvSpPr>
            <p:spPr>
              <a:xfrm>
                <a:off x="5313838" y="4920138"/>
                <a:ext cx="35639" cy="24765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5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1" name="Google Shape;4134;p38">
                <a:extLst>
                  <a:ext uri="{FF2B5EF4-FFF2-40B4-BE49-F238E27FC236}">
                    <a16:creationId xmlns:a16="http://schemas.microsoft.com/office/drawing/2014/main" id="{9F3278AB-31A8-438F-AFF1-376C46CBC17D}"/>
                  </a:ext>
                </a:extLst>
              </p:cNvPr>
              <p:cNvSpPr/>
              <p:nvPr/>
            </p:nvSpPr>
            <p:spPr>
              <a:xfrm>
                <a:off x="5241229" y="4878705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382"/>
                    </a:moveTo>
                    <a:lnTo>
                      <a:pt x="36875" y="29242"/>
                    </a:lnTo>
                    <a:lnTo>
                      <a:pt x="44383" y="23813"/>
                    </a:lnTo>
                    <a:cubicBezTo>
                      <a:pt x="44383" y="23813"/>
                      <a:pt x="39726" y="18479"/>
                      <a:pt x="39441" y="17907"/>
                    </a:cubicBezTo>
                    <a:cubicBezTo>
                      <a:pt x="39156" y="17335"/>
                      <a:pt x="30697" y="8858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2" name="Google Shape;4135;p38">
                <a:extLst>
                  <a:ext uri="{FF2B5EF4-FFF2-40B4-BE49-F238E27FC236}">
                    <a16:creationId xmlns:a16="http://schemas.microsoft.com/office/drawing/2014/main" id="{EB8A7153-DCC7-4BC8-96C2-6CEE7ECE2F2D}"/>
                  </a:ext>
                </a:extLst>
              </p:cNvPr>
              <p:cNvSpPr/>
              <p:nvPr/>
            </p:nvSpPr>
            <p:spPr>
              <a:xfrm>
                <a:off x="5282000" y="485527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3" name="Google Shape;4136;p38">
                <a:extLst>
                  <a:ext uri="{FF2B5EF4-FFF2-40B4-BE49-F238E27FC236}">
                    <a16:creationId xmlns:a16="http://schemas.microsoft.com/office/drawing/2014/main" id="{F1122461-6D37-49E4-BF0D-92ABF889D4F8}"/>
                  </a:ext>
                </a:extLst>
              </p:cNvPr>
              <p:cNvSpPr/>
              <p:nvPr/>
            </p:nvSpPr>
            <p:spPr>
              <a:xfrm>
                <a:off x="5190099" y="4851463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4" name="Google Shape;4137;p38">
                <a:extLst>
                  <a:ext uri="{FF2B5EF4-FFF2-40B4-BE49-F238E27FC236}">
                    <a16:creationId xmlns:a16="http://schemas.microsoft.com/office/drawing/2014/main" id="{C09AF6DC-8714-4CED-B775-BCFC7645D221}"/>
                  </a:ext>
                </a:extLst>
              </p:cNvPr>
              <p:cNvSpPr/>
              <p:nvPr/>
            </p:nvSpPr>
            <p:spPr>
              <a:xfrm>
                <a:off x="5190859" y="4894802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1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5" name="Google Shape;4138;p38">
                <a:extLst>
                  <a:ext uri="{FF2B5EF4-FFF2-40B4-BE49-F238E27FC236}">
                    <a16:creationId xmlns:a16="http://schemas.microsoft.com/office/drawing/2014/main" id="{C82653A0-E923-4F2A-9CA7-180BDCBC9253}"/>
                  </a:ext>
                </a:extLst>
              </p:cNvPr>
              <p:cNvSpPr/>
              <p:nvPr/>
            </p:nvSpPr>
            <p:spPr>
              <a:xfrm>
                <a:off x="5190764" y="4838795"/>
                <a:ext cx="221036" cy="139064"/>
              </a:xfrm>
              <a:custGeom>
                <a:avLst/>
                <a:gdLst/>
                <a:ahLst/>
                <a:cxnLst/>
                <a:rect l="l" t="t" r="r" b="b"/>
                <a:pathLst>
                  <a:path w="221036" h="139064" extrusionOk="0">
                    <a:moveTo>
                      <a:pt x="111669" y="22003"/>
                    </a:moveTo>
                    <a:cubicBezTo>
                      <a:pt x="108742" y="22012"/>
                      <a:pt x="105825" y="22231"/>
                      <a:pt x="102926" y="22670"/>
                    </a:cubicBezTo>
                    <a:cubicBezTo>
                      <a:pt x="99029" y="23241"/>
                      <a:pt x="94658" y="24003"/>
                      <a:pt x="89811" y="25051"/>
                    </a:cubicBezTo>
                    <a:cubicBezTo>
                      <a:pt x="84964" y="26098"/>
                      <a:pt x="80307" y="27432"/>
                      <a:pt x="74700" y="28956"/>
                    </a:cubicBezTo>
                    <a:cubicBezTo>
                      <a:pt x="69596" y="30518"/>
                      <a:pt x="64616" y="32423"/>
                      <a:pt x="59779" y="34671"/>
                    </a:cubicBezTo>
                    <a:lnTo>
                      <a:pt x="97794" y="56769"/>
                    </a:lnTo>
                    <a:lnTo>
                      <a:pt x="104637" y="54292"/>
                    </a:lnTo>
                    <a:cubicBezTo>
                      <a:pt x="114140" y="51054"/>
                      <a:pt x="123644" y="48387"/>
                      <a:pt x="132103" y="46101"/>
                    </a:cubicBezTo>
                    <a:cubicBezTo>
                      <a:pt x="140181" y="43920"/>
                      <a:pt x="148459" y="42548"/>
                      <a:pt x="156812" y="42005"/>
                    </a:cubicBezTo>
                    <a:cubicBezTo>
                      <a:pt x="164454" y="41500"/>
                      <a:pt x="172123" y="42005"/>
                      <a:pt x="179622" y="43529"/>
                    </a:cubicBezTo>
                    <a:cubicBezTo>
                      <a:pt x="187282" y="45177"/>
                      <a:pt x="194628" y="48035"/>
                      <a:pt x="201385" y="52006"/>
                    </a:cubicBezTo>
                    <a:cubicBezTo>
                      <a:pt x="208123" y="55340"/>
                      <a:pt x="213883" y="60360"/>
                      <a:pt x="218112" y="66580"/>
                    </a:cubicBezTo>
                    <a:cubicBezTo>
                      <a:pt x="220868" y="71085"/>
                      <a:pt x="221714" y="76495"/>
                      <a:pt x="220488" y="81629"/>
                    </a:cubicBezTo>
                    <a:cubicBezTo>
                      <a:pt x="218872" y="87230"/>
                      <a:pt x="215793" y="92297"/>
                      <a:pt x="211554" y="96298"/>
                    </a:cubicBezTo>
                    <a:cubicBezTo>
                      <a:pt x="206337" y="101594"/>
                      <a:pt x="200501" y="106232"/>
                      <a:pt x="194162" y="110109"/>
                    </a:cubicBezTo>
                    <a:lnTo>
                      <a:pt x="218397" y="124206"/>
                    </a:lnTo>
                    <a:lnTo>
                      <a:pt x="205187" y="131826"/>
                    </a:lnTo>
                    <a:lnTo>
                      <a:pt x="180667" y="117729"/>
                    </a:lnTo>
                    <a:cubicBezTo>
                      <a:pt x="168987" y="123501"/>
                      <a:pt x="156765" y="128092"/>
                      <a:pt x="144172" y="131445"/>
                    </a:cubicBezTo>
                    <a:cubicBezTo>
                      <a:pt x="131010" y="135122"/>
                      <a:pt x="117562" y="137665"/>
                      <a:pt x="103971" y="139065"/>
                    </a:cubicBezTo>
                    <a:lnTo>
                      <a:pt x="91236" y="116014"/>
                    </a:lnTo>
                    <a:cubicBezTo>
                      <a:pt x="94800" y="115919"/>
                      <a:pt x="98355" y="115633"/>
                      <a:pt x="101881" y="115157"/>
                    </a:cubicBezTo>
                    <a:cubicBezTo>
                      <a:pt x="107288" y="114567"/>
                      <a:pt x="112648" y="113643"/>
                      <a:pt x="117942" y="112395"/>
                    </a:cubicBezTo>
                    <a:cubicBezTo>
                      <a:pt x="123834" y="111157"/>
                      <a:pt x="130012" y="109538"/>
                      <a:pt x="136950" y="107632"/>
                    </a:cubicBezTo>
                    <a:cubicBezTo>
                      <a:pt x="143460" y="105823"/>
                      <a:pt x="149818" y="103489"/>
                      <a:pt x="155957" y="100679"/>
                    </a:cubicBezTo>
                    <a:lnTo>
                      <a:pt x="117942" y="78676"/>
                    </a:lnTo>
                    <a:cubicBezTo>
                      <a:pt x="116326" y="79334"/>
                      <a:pt x="114673" y="79905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8" y="89440"/>
                    </a:cubicBezTo>
                    <a:cubicBezTo>
                      <a:pt x="74111" y="91135"/>
                      <a:pt x="66631" y="92154"/>
                      <a:pt x="59114" y="92488"/>
                    </a:cubicBezTo>
                    <a:cubicBezTo>
                      <a:pt x="52470" y="92697"/>
                      <a:pt x="45827" y="92059"/>
                      <a:pt x="39346" y="90583"/>
                    </a:cubicBezTo>
                    <a:cubicBezTo>
                      <a:pt x="32883" y="89068"/>
                      <a:pt x="26696" y="86563"/>
                      <a:pt x="21003" y="83153"/>
                    </a:cubicBezTo>
                    <a:cubicBezTo>
                      <a:pt x="14702" y="79915"/>
                      <a:pt x="9238" y="75247"/>
                      <a:pt x="5037" y="69532"/>
                    </a:cubicBezTo>
                    <a:cubicBezTo>
                      <a:pt x="1977" y="65246"/>
                      <a:pt x="466" y="60036"/>
                      <a:pt x="760" y="54769"/>
                    </a:cubicBezTo>
                    <a:cubicBezTo>
                      <a:pt x="1331" y="49273"/>
                      <a:pt x="3507" y="44062"/>
                      <a:pt x="7033" y="39814"/>
                    </a:cubicBezTo>
                    <a:cubicBezTo>
                      <a:pt x="11471" y="34404"/>
                      <a:pt x="16698" y="29680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5544" y="18002"/>
                    </a:lnTo>
                    <a:cubicBezTo>
                      <a:pt x="45998" y="12782"/>
                      <a:pt x="56994" y="8725"/>
                      <a:pt x="68332" y="5905"/>
                    </a:cubicBezTo>
                    <a:cubicBezTo>
                      <a:pt x="79110" y="3143"/>
                      <a:pt x="90067" y="1171"/>
                      <a:pt x="101120" y="0"/>
                    </a:cubicBezTo>
                    <a:close/>
                    <a:moveTo>
                      <a:pt x="46759" y="62103"/>
                    </a:moveTo>
                    <a:cubicBezTo>
                      <a:pt x="51748" y="65037"/>
                      <a:pt x="57536" y="66304"/>
                      <a:pt x="63295" y="65722"/>
                    </a:cubicBezTo>
                    <a:cubicBezTo>
                      <a:pt x="71031" y="64818"/>
                      <a:pt x="78644" y="63094"/>
                      <a:pt x="86009" y="60579"/>
                    </a:cubicBezTo>
                    <a:lnTo>
                      <a:pt x="50275" y="39910"/>
                    </a:lnTo>
                    <a:cubicBezTo>
                      <a:pt x="37255" y="48482"/>
                      <a:pt x="35639" y="55912"/>
                      <a:pt x="46854" y="62103"/>
                    </a:cubicBezTo>
                    <a:close/>
                    <a:moveTo>
                      <a:pt x="172209" y="72580"/>
                    </a:moveTo>
                    <a:cubicBezTo>
                      <a:pt x="166706" y="69637"/>
                      <a:pt x="160414" y="68532"/>
                      <a:pt x="154246" y="69437"/>
                    </a:cubicBezTo>
                    <a:cubicBezTo>
                      <a:pt x="145807" y="70523"/>
                      <a:pt x="137472" y="72342"/>
                      <a:pt x="129347" y="74866"/>
                    </a:cubicBezTo>
                    <a:lnTo>
                      <a:pt x="164891" y="95440"/>
                    </a:lnTo>
                    <a:cubicBezTo>
                      <a:pt x="180097" y="86230"/>
                      <a:pt x="182568" y="78610"/>
                      <a:pt x="172304" y="72580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3" name="Google Shape;4139;p38">
              <a:extLst>
                <a:ext uri="{FF2B5EF4-FFF2-40B4-BE49-F238E27FC236}">
                  <a16:creationId xmlns:a16="http://schemas.microsoft.com/office/drawing/2014/main" id="{C9BD438A-0C45-41EC-AFAA-7313AB94A158}"/>
                </a:ext>
              </a:extLst>
            </p:cNvPr>
            <p:cNvGrpSpPr/>
            <p:nvPr/>
          </p:nvGrpSpPr>
          <p:grpSpPr>
            <a:xfrm>
              <a:off x="3220919" y="3808894"/>
              <a:ext cx="664504" cy="467011"/>
              <a:chOff x="5002019" y="4625244"/>
              <a:chExt cx="664504" cy="467011"/>
            </a:xfrm>
          </p:grpSpPr>
          <p:sp>
            <p:nvSpPr>
              <p:cNvPr id="254" name="Google Shape;4140;p38">
                <a:extLst>
                  <a:ext uri="{FF2B5EF4-FFF2-40B4-BE49-F238E27FC236}">
                    <a16:creationId xmlns:a16="http://schemas.microsoft.com/office/drawing/2014/main" id="{3F13EDCD-1929-468E-B372-73C3BAFDAB4D}"/>
                  </a:ext>
                </a:extLst>
              </p:cNvPr>
              <p:cNvSpPr/>
              <p:nvPr/>
            </p:nvSpPr>
            <p:spPr>
              <a:xfrm>
                <a:off x="5002019" y="470763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5" name="Google Shape;4141;p38">
                <a:extLst>
                  <a:ext uri="{FF2B5EF4-FFF2-40B4-BE49-F238E27FC236}">
                    <a16:creationId xmlns:a16="http://schemas.microsoft.com/office/drawing/2014/main" id="{96C079D4-1B00-4768-B44D-AD3EF7F732FA}"/>
                  </a:ext>
                </a:extLst>
              </p:cNvPr>
              <p:cNvSpPr/>
              <p:nvPr/>
            </p:nvSpPr>
            <p:spPr>
              <a:xfrm>
                <a:off x="5002019" y="481526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6" name="Google Shape;4142;p38">
                <a:extLst>
                  <a:ext uri="{FF2B5EF4-FFF2-40B4-BE49-F238E27FC236}">
                    <a16:creationId xmlns:a16="http://schemas.microsoft.com/office/drawing/2014/main" id="{AE111721-A862-4BB0-93C7-A76C034A0FA3}"/>
                  </a:ext>
                </a:extLst>
              </p:cNvPr>
              <p:cNvSpPr/>
              <p:nvPr/>
            </p:nvSpPr>
            <p:spPr>
              <a:xfrm>
                <a:off x="5616534" y="481755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7" name="Google Shape;4143;p38">
                <a:extLst>
                  <a:ext uri="{FF2B5EF4-FFF2-40B4-BE49-F238E27FC236}">
                    <a16:creationId xmlns:a16="http://schemas.microsoft.com/office/drawing/2014/main" id="{DFA1B001-4BE3-40F0-A970-9D9DEF7FC237}"/>
                  </a:ext>
                </a:extLst>
              </p:cNvPr>
              <p:cNvSpPr/>
              <p:nvPr/>
            </p:nvSpPr>
            <p:spPr>
              <a:xfrm>
                <a:off x="5002019" y="462524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8" name="Google Shape;4144;p38">
                <a:extLst>
                  <a:ext uri="{FF2B5EF4-FFF2-40B4-BE49-F238E27FC236}">
                    <a16:creationId xmlns:a16="http://schemas.microsoft.com/office/drawing/2014/main" id="{7B120017-55C1-4C4F-AD43-66042DE9049F}"/>
                  </a:ext>
                </a:extLst>
              </p:cNvPr>
              <p:cNvSpPr/>
              <p:nvPr/>
            </p:nvSpPr>
            <p:spPr>
              <a:xfrm>
                <a:off x="5096424" y="4677655"/>
                <a:ext cx="475693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3" h="275248" extrusionOk="0">
                    <a:moveTo>
                      <a:pt x="475252" y="145899"/>
                    </a:moveTo>
                    <a:cubicBezTo>
                      <a:pt x="471925" y="178284"/>
                      <a:pt x="448926" y="210193"/>
                      <a:pt x="406064" y="234958"/>
                    </a:cubicBezTo>
                    <a:cubicBezTo>
                      <a:pt x="313117" y="288679"/>
                      <a:pt x="162577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577" y="-13454"/>
                      <a:pt x="313117" y="-13454"/>
                      <a:pt x="406064" y="40362"/>
                    </a:cubicBezTo>
                    <a:cubicBezTo>
                      <a:pt x="456149" y="69223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9" name="Google Shape;4145;p38">
                <a:extLst>
                  <a:ext uri="{FF2B5EF4-FFF2-40B4-BE49-F238E27FC236}">
                    <a16:creationId xmlns:a16="http://schemas.microsoft.com/office/drawing/2014/main" id="{7BCCB20B-56E5-4188-B891-B7FC6D92CD27}"/>
                  </a:ext>
                </a:extLst>
              </p:cNvPr>
              <p:cNvSpPr/>
              <p:nvPr/>
            </p:nvSpPr>
            <p:spPr>
              <a:xfrm>
                <a:off x="5096866" y="469413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484" y="193715"/>
                      <a:pt x="405622" y="218480"/>
                    </a:cubicBezTo>
                    <a:cubicBezTo>
                      <a:pt x="312675" y="272201"/>
                      <a:pt x="162135" y="272201"/>
                      <a:pt x="69188" y="218480"/>
                    </a:cubicBezTo>
                    <a:cubicBezTo>
                      <a:pt x="26325" y="193715"/>
                      <a:pt x="3326" y="161806"/>
                      <a:pt x="0" y="129421"/>
                    </a:cubicBezTo>
                    <a:cubicBezTo>
                      <a:pt x="3326" y="97036"/>
                      <a:pt x="26325" y="65127"/>
                      <a:pt x="69188" y="40362"/>
                    </a:cubicBezTo>
                    <a:cubicBezTo>
                      <a:pt x="162135" y="-13454"/>
                      <a:pt x="312675" y="-13454"/>
                      <a:pt x="405622" y="40362"/>
                    </a:cubicBezTo>
                    <a:cubicBezTo>
                      <a:pt x="448484" y="65127"/>
                      <a:pt x="471673" y="96941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0" name="Google Shape;4146;p38">
                <a:extLst>
                  <a:ext uri="{FF2B5EF4-FFF2-40B4-BE49-F238E27FC236}">
                    <a16:creationId xmlns:a16="http://schemas.microsoft.com/office/drawing/2014/main" id="{9FDB3025-2597-4402-B8B0-BF5D14373691}"/>
                  </a:ext>
                </a:extLst>
              </p:cNvPr>
              <p:cNvSpPr/>
              <p:nvPr/>
            </p:nvSpPr>
            <p:spPr>
              <a:xfrm>
                <a:off x="5218990" y="4756403"/>
                <a:ext cx="221102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9065" extrusionOk="0">
                    <a:moveTo>
                      <a:pt x="111955" y="22098"/>
                    </a:moveTo>
                    <a:cubicBezTo>
                      <a:pt x="109027" y="22060"/>
                      <a:pt x="106100" y="22279"/>
                      <a:pt x="103211" y="22765"/>
                    </a:cubicBezTo>
                    <a:cubicBezTo>
                      <a:pt x="99315" y="23336"/>
                      <a:pt x="94943" y="24099"/>
                      <a:pt x="90096" y="25146"/>
                    </a:cubicBezTo>
                    <a:cubicBezTo>
                      <a:pt x="85249" y="26194"/>
                      <a:pt x="80592" y="27527"/>
                      <a:pt x="74985" y="29051"/>
                    </a:cubicBezTo>
                    <a:cubicBezTo>
                      <a:pt x="69881" y="30585"/>
                      <a:pt x="64892" y="32490"/>
                      <a:pt x="60064" y="34766"/>
                    </a:cubicBezTo>
                    <a:lnTo>
                      <a:pt x="98079" y="56864"/>
                    </a:lnTo>
                    <a:lnTo>
                      <a:pt x="104922" y="54388"/>
                    </a:lnTo>
                    <a:cubicBezTo>
                      <a:pt x="114426" y="51149"/>
                      <a:pt x="123929" y="48483"/>
                      <a:pt x="132388" y="46196"/>
                    </a:cubicBezTo>
                    <a:cubicBezTo>
                      <a:pt x="140504" y="44015"/>
                      <a:pt x="148810" y="42644"/>
                      <a:pt x="157193" y="42101"/>
                    </a:cubicBezTo>
                    <a:cubicBezTo>
                      <a:pt x="164796" y="41596"/>
                      <a:pt x="172437" y="42101"/>
                      <a:pt x="179907" y="43625"/>
                    </a:cubicBezTo>
                    <a:cubicBezTo>
                      <a:pt x="187567" y="45253"/>
                      <a:pt x="194923" y="48120"/>
                      <a:pt x="201670" y="52102"/>
                    </a:cubicBezTo>
                    <a:cubicBezTo>
                      <a:pt x="208294" y="55445"/>
                      <a:pt x="213949" y="60427"/>
                      <a:pt x="218112" y="66580"/>
                    </a:cubicBezTo>
                    <a:cubicBezTo>
                      <a:pt x="220887" y="71038"/>
                      <a:pt x="221780" y="76419"/>
                      <a:pt x="220583" y="81534"/>
                    </a:cubicBezTo>
                    <a:cubicBezTo>
                      <a:pt x="218958" y="87154"/>
                      <a:pt x="215869" y="92250"/>
                      <a:pt x="211649" y="96298"/>
                    </a:cubicBezTo>
                    <a:cubicBezTo>
                      <a:pt x="206403" y="101594"/>
                      <a:pt x="200530" y="106232"/>
                      <a:pt x="194162" y="110109"/>
                    </a:cubicBezTo>
                    <a:lnTo>
                      <a:pt x="218492" y="124206"/>
                    </a:lnTo>
                    <a:lnTo>
                      <a:pt x="205187" y="131826"/>
                    </a:lnTo>
                    <a:lnTo>
                      <a:pt x="180667" y="117729"/>
                    </a:lnTo>
                    <a:cubicBezTo>
                      <a:pt x="169015" y="123482"/>
                      <a:pt x="156822" y="128083"/>
                      <a:pt x="144267" y="131445"/>
                    </a:cubicBezTo>
                    <a:cubicBezTo>
                      <a:pt x="131105" y="135103"/>
                      <a:pt x="117657" y="137646"/>
                      <a:pt x="104066" y="139065"/>
                    </a:cubicBezTo>
                    <a:lnTo>
                      <a:pt x="91236" y="116015"/>
                    </a:lnTo>
                    <a:cubicBezTo>
                      <a:pt x="94829" y="115919"/>
                      <a:pt x="98412" y="115634"/>
                      <a:pt x="101976" y="115158"/>
                    </a:cubicBezTo>
                    <a:cubicBezTo>
                      <a:pt x="107345" y="114557"/>
                      <a:pt x="112677" y="113633"/>
                      <a:pt x="117942" y="112395"/>
                    </a:cubicBezTo>
                    <a:cubicBezTo>
                      <a:pt x="123834" y="111157"/>
                      <a:pt x="130107" y="109538"/>
                      <a:pt x="136950" y="107633"/>
                    </a:cubicBezTo>
                    <a:cubicBezTo>
                      <a:pt x="143460" y="105823"/>
                      <a:pt x="149818" y="103499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343"/>
                      <a:pt x="114682" y="79924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82"/>
                      <a:pt x="89526" y="87659"/>
                      <a:pt x="81543" y="89440"/>
                    </a:cubicBezTo>
                    <a:cubicBezTo>
                      <a:pt x="74177" y="91135"/>
                      <a:pt x="66669" y="92155"/>
                      <a:pt x="59114" y="92488"/>
                    </a:cubicBezTo>
                    <a:cubicBezTo>
                      <a:pt x="52470" y="92698"/>
                      <a:pt x="45827" y="92059"/>
                      <a:pt x="39346" y="90583"/>
                    </a:cubicBezTo>
                    <a:cubicBezTo>
                      <a:pt x="32893" y="89040"/>
                      <a:pt x="26715" y="86535"/>
                      <a:pt x="21003" y="83153"/>
                    </a:cubicBezTo>
                    <a:cubicBezTo>
                      <a:pt x="14740" y="79886"/>
                      <a:pt x="9314" y="75229"/>
                      <a:pt x="5132" y="69533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40" y="49254"/>
                      <a:pt x="3535" y="44025"/>
                      <a:pt x="7128" y="39815"/>
                    </a:cubicBezTo>
                    <a:cubicBezTo>
                      <a:pt x="11509" y="34376"/>
                      <a:pt x="16698" y="29651"/>
                      <a:pt x="22524" y="25813"/>
                    </a:cubicBezTo>
                    <a:lnTo>
                      <a:pt x="0" y="12764"/>
                    </a:lnTo>
                    <a:lnTo>
                      <a:pt x="13305" y="5049"/>
                    </a:lnTo>
                    <a:lnTo>
                      <a:pt x="35544" y="18002"/>
                    </a:lnTo>
                    <a:cubicBezTo>
                      <a:pt x="46027" y="12783"/>
                      <a:pt x="57061" y="8725"/>
                      <a:pt x="68427" y="5906"/>
                    </a:cubicBezTo>
                    <a:cubicBezTo>
                      <a:pt x="79205" y="3143"/>
                      <a:pt x="90162" y="1172"/>
                      <a:pt x="101215" y="0"/>
                    </a:cubicBezTo>
                    <a:close/>
                    <a:moveTo>
                      <a:pt x="47044" y="62199"/>
                    </a:moveTo>
                    <a:cubicBezTo>
                      <a:pt x="52043" y="65113"/>
                      <a:pt x="57830" y="66380"/>
                      <a:pt x="63580" y="65818"/>
                    </a:cubicBezTo>
                    <a:cubicBezTo>
                      <a:pt x="71345" y="64922"/>
                      <a:pt x="78995" y="63198"/>
                      <a:pt x="86389" y="60674"/>
                    </a:cubicBezTo>
                    <a:lnTo>
                      <a:pt x="50560" y="40005"/>
                    </a:lnTo>
                    <a:cubicBezTo>
                      <a:pt x="37321" y="48578"/>
                      <a:pt x="36086" y="55979"/>
                      <a:pt x="46854" y="62199"/>
                    </a:cubicBezTo>
                    <a:close/>
                    <a:moveTo>
                      <a:pt x="172494" y="72676"/>
                    </a:moveTo>
                    <a:cubicBezTo>
                      <a:pt x="167029" y="69742"/>
                      <a:pt x="160766" y="68637"/>
                      <a:pt x="154627" y="69533"/>
                    </a:cubicBezTo>
                    <a:cubicBezTo>
                      <a:pt x="146159" y="70618"/>
                      <a:pt x="137795" y="72438"/>
                      <a:pt x="129632" y="74962"/>
                    </a:cubicBezTo>
                    <a:lnTo>
                      <a:pt x="165176" y="95536"/>
                    </a:lnTo>
                    <a:cubicBezTo>
                      <a:pt x="180192" y="86297"/>
                      <a:pt x="182568" y="78677"/>
                      <a:pt x="172304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1" name="Google Shape;4147;p38">
                <a:extLst>
                  <a:ext uri="{FF2B5EF4-FFF2-40B4-BE49-F238E27FC236}">
                    <a16:creationId xmlns:a16="http://schemas.microsoft.com/office/drawing/2014/main" id="{1C97E7E8-690B-4BC1-9731-E9067DB4B172}"/>
                  </a:ext>
                </a:extLst>
              </p:cNvPr>
              <p:cNvSpPr/>
              <p:nvPr/>
            </p:nvSpPr>
            <p:spPr>
              <a:xfrm>
                <a:off x="5310227" y="4859464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2" name="Google Shape;4148;p38">
                <a:extLst>
                  <a:ext uri="{FF2B5EF4-FFF2-40B4-BE49-F238E27FC236}">
                    <a16:creationId xmlns:a16="http://schemas.microsoft.com/office/drawing/2014/main" id="{EDB48545-4629-4F32-8BBA-25AC01977699}"/>
                  </a:ext>
                </a:extLst>
              </p:cNvPr>
              <p:cNvSpPr/>
              <p:nvPr/>
            </p:nvSpPr>
            <p:spPr>
              <a:xfrm>
                <a:off x="5405835" y="4867656"/>
                <a:ext cx="31647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858" extrusionOk="0">
                    <a:moveTo>
                      <a:pt x="31648" y="12954"/>
                    </a:moveTo>
                    <a:lnTo>
                      <a:pt x="31648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648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3" name="Google Shape;4149;p38">
                <a:extLst>
                  <a:ext uri="{FF2B5EF4-FFF2-40B4-BE49-F238E27FC236}">
                    <a16:creationId xmlns:a16="http://schemas.microsoft.com/office/drawing/2014/main" id="{593DA70C-A1D4-467E-8AFE-5DE08BA74884}"/>
                  </a:ext>
                </a:extLst>
              </p:cNvPr>
              <p:cNvSpPr/>
              <p:nvPr/>
            </p:nvSpPr>
            <p:spPr>
              <a:xfrm>
                <a:off x="5416479" y="4820126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4" name="Google Shape;4150;p38">
                <a:extLst>
                  <a:ext uri="{FF2B5EF4-FFF2-40B4-BE49-F238E27FC236}">
                    <a16:creationId xmlns:a16="http://schemas.microsoft.com/office/drawing/2014/main" id="{61C005D7-F70B-4DD2-AEFE-0D74FB06DAFA}"/>
                  </a:ext>
                </a:extLst>
              </p:cNvPr>
              <p:cNvSpPr/>
              <p:nvPr/>
            </p:nvSpPr>
            <p:spPr>
              <a:xfrm>
                <a:off x="5342159" y="4824983"/>
                <a:ext cx="35544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544" h="24669" extrusionOk="0">
                    <a:moveTo>
                      <a:pt x="0" y="7525"/>
                    </a:moveTo>
                    <a:lnTo>
                      <a:pt x="7793" y="0"/>
                    </a:lnTo>
                    <a:lnTo>
                      <a:pt x="35544" y="19050"/>
                    </a:lnTo>
                    <a:lnTo>
                      <a:pt x="33834" y="24670"/>
                    </a:lnTo>
                    <a:cubicBezTo>
                      <a:pt x="33834" y="24670"/>
                      <a:pt x="13115" y="15907"/>
                      <a:pt x="12450" y="15145"/>
                    </a:cubicBezTo>
                    <a:cubicBezTo>
                      <a:pt x="11785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5" name="Google Shape;4151;p38">
                <a:extLst>
                  <a:ext uri="{FF2B5EF4-FFF2-40B4-BE49-F238E27FC236}">
                    <a16:creationId xmlns:a16="http://schemas.microsoft.com/office/drawing/2014/main" id="{929F0067-F534-4631-9E53-D8BA3D1D2586}"/>
                  </a:ext>
                </a:extLst>
              </p:cNvPr>
              <p:cNvSpPr/>
              <p:nvPr/>
            </p:nvSpPr>
            <p:spPr>
              <a:xfrm>
                <a:off x="5269455" y="4783550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lnTo>
                      <a:pt x="39441" y="17907"/>
                    </a:ln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6" name="Google Shape;4152;p38">
                <a:extLst>
                  <a:ext uri="{FF2B5EF4-FFF2-40B4-BE49-F238E27FC236}">
                    <a16:creationId xmlns:a16="http://schemas.microsoft.com/office/drawing/2014/main" id="{81771B53-0109-4ECB-9D3C-5F04B698F4D3}"/>
                  </a:ext>
                </a:extLst>
              </p:cNvPr>
              <p:cNvSpPr/>
              <p:nvPr/>
            </p:nvSpPr>
            <p:spPr>
              <a:xfrm>
                <a:off x="5310227" y="4760118"/>
                <a:ext cx="20528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383" extrusionOk="0">
                    <a:moveTo>
                      <a:pt x="20528" y="18383"/>
                    </a:moveTo>
                    <a:lnTo>
                      <a:pt x="20528" y="5429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7" name="Google Shape;4153;p38">
                <a:extLst>
                  <a:ext uri="{FF2B5EF4-FFF2-40B4-BE49-F238E27FC236}">
                    <a16:creationId xmlns:a16="http://schemas.microsoft.com/office/drawing/2014/main" id="{AA5B098D-774B-4A82-9251-BEF62F743A2C}"/>
                  </a:ext>
                </a:extLst>
              </p:cNvPr>
              <p:cNvSpPr/>
              <p:nvPr/>
            </p:nvSpPr>
            <p:spPr>
              <a:xfrm>
                <a:off x="5218325" y="475621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8" name="Google Shape;4154;p38">
                <a:extLst>
                  <a:ext uri="{FF2B5EF4-FFF2-40B4-BE49-F238E27FC236}">
                    <a16:creationId xmlns:a16="http://schemas.microsoft.com/office/drawing/2014/main" id="{7CD78DF9-AF46-4040-8CEC-3707816651D7}"/>
                  </a:ext>
                </a:extLst>
              </p:cNvPr>
              <p:cNvSpPr/>
              <p:nvPr/>
            </p:nvSpPr>
            <p:spPr>
              <a:xfrm>
                <a:off x="5219085" y="4799552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01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9" name="Google Shape;4155;p38">
                <a:extLst>
                  <a:ext uri="{FF2B5EF4-FFF2-40B4-BE49-F238E27FC236}">
                    <a16:creationId xmlns:a16="http://schemas.microsoft.com/office/drawing/2014/main" id="{C88EF937-C878-4BBB-BBA3-7F28BE7DC945}"/>
                  </a:ext>
                </a:extLst>
              </p:cNvPr>
              <p:cNvSpPr/>
              <p:nvPr/>
            </p:nvSpPr>
            <p:spPr>
              <a:xfrm>
                <a:off x="5218990" y="4743450"/>
                <a:ext cx="221102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9065" extrusionOk="0">
                    <a:moveTo>
                      <a:pt x="111955" y="22098"/>
                    </a:moveTo>
                    <a:cubicBezTo>
                      <a:pt x="109027" y="22098"/>
                      <a:pt x="106100" y="22355"/>
                      <a:pt x="103211" y="22860"/>
                    </a:cubicBezTo>
                    <a:cubicBezTo>
                      <a:pt x="99315" y="23431"/>
                      <a:pt x="94943" y="24194"/>
                      <a:pt x="90096" y="25241"/>
                    </a:cubicBezTo>
                    <a:cubicBezTo>
                      <a:pt x="85249" y="26289"/>
                      <a:pt x="80592" y="27527"/>
                      <a:pt x="74985" y="29051"/>
                    </a:cubicBezTo>
                    <a:cubicBezTo>
                      <a:pt x="69891" y="30623"/>
                      <a:pt x="64911" y="32537"/>
                      <a:pt x="60064" y="34766"/>
                    </a:cubicBezTo>
                    <a:lnTo>
                      <a:pt x="98079" y="56864"/>
                    </a:lnTo>
                    <a:lnTo>
                      <a:pt x="104922" y="54483"/>
                    </a:lnTo>
                    <a:cubicBezTo>
                      <a:pt x="114426" y="51245"/>
                      <a:pt x="123929" y="48482"/>
                      <a:pt x="132388" y="46196"/>
                    </a:cubicBezTo>
                    <a:cubicBezTo>
                      <a:pt x="140514" y="44063"/>
                      <a:pt x="148820" y="42691"/>
                      <a:pt x="157193" y="42101"/>
                    </a:cubicBezTo>
                    <a:cubicBezTo>
                      <a:pt x="164796" y="41643"/>
                      <a:pt x="172427" y="42148"/>
                      <a:pt x="179907" y="43624"/>
                    </a:cubicBezTo>
                    <a:cubicBezTo>
                      <a:pt x="187576" y="45291"/>
                      <a:pt x="194923" y="48187"/>
                      <a:pt x="201670" y="52197"/>
                    </a:cubicBezTo>
                    <a:cubicBezTo>
                      <a:pt x="208294" y="55540"/>
                      <a:pt x="213949" y="60522"/>
                      <a:pt x="218112" y="66675"/>
                    </a:cubicBezTo>
                    <a:cubicBezTo>
                      <a:pt x="220887" y="71133"/>
                      <a:pt x="221780" y="76514"/>
                      <a:pt x="220583" y="81629"/>
                    </a:cubicBezTo>
                    <a:cubicBezTo>
                      <a:pt x="218929" y="87249"/>
                      <a:pt x="215859" y="92335"/>
                      <a:pt x="211649" y="96393"/>
                    </a:cubicBezTo>
                    <a:cubicBezTo>
                      <a:pt x="206375" y="101660"/>
                      <a:pt x="200511" y="106299"/>
                      <a:pt x="194162" y="110204"/>
                    </a:cubicBezTo>
                    <a:lnTo>
                      <a:pt x="218492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96" y="123473"/>
                      <a:pt x="156812" y="128102"/>
                      <a:pt x="144267" y="131540"/>
                    </a:cubicBezTo>
                    <a:cubicBezTo>
                      <a:pt x="131095" y="135169"/>
                      <a:pt x="117657" y="137684"/>
                      <a:pt x="104066" y="139065"/>
                    </a:cubicBezTo>
                    <a:lnTo>
                      <a:pt x="91236" y="116014"/>
                    </a:lnTo>
                    <a:cubicBezTo>
                      <a:pt x="94829" y="116014"/>
                      <a:pt x="98421" y="115757"/>
                      <a:pt x="101976" y="115253"/>
                    </a:cubicBezTo>
                    <a:cubicBezTo>
                      <a:pt x="106727" y="114681"/>
                      <a:pt x="112050" y="113729"/>
                      <a:pt x="117942" y="112490"/>
                    </a:cubicBezTo>
                    <a:cubicBezTo>
                      <a:pt x="123834" y="111252"/>
                      <a:pt x="130107" y="109633"/>
                      <a:pt x="136950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9163" y="85011"/>
                      <a:pt x="90410" y="87459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0" y="92726"/>
                      <a:pt x="45827" y="92126"/>
                      <a:pt x="39346" y="90678"/>
                    </a:cubicBezTo>
                    <a:cubicBezTo>
                      <a:pt x="32921" y="89049"/>
                      <a:pt x="26753" y="86544"/>
                      <a:pt x="21003" y="83248"/>
                    </a:cubicBezTo>
                    <a:cubicBezTo>
                      <a:pt x="14759" y="79915"/>
                      <a:pt x="9342" y="75229"/>
                      <a:pt x="5132" y="69532"/>
                    </a:cubicBezTo>
                    <a:cubicBezTo>
                      <a:pt x="2053" y="65246"/>
                      <a:pt x="542" y="60036"/>
                      <a:pt x="855" y="54769"/>
                    </a:cubicBezTo>
                    <a:cubicBezTo>
                      <a:pt x="1359" y="49282"/>
                      <a:pt x="3554" y="44091"/>
                      <a:pt x="7128" y="39910"/>
                    </a:cubicBezTo>
                    <a:cubicBezTo>
                      <a:pt x="11500" y="34442"/>
                      <a:pt x="16698" y="29689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55" y="12849"/>
                      <a:pt x="57070" y="8830"/>
                      <a:pt x="68427" y="6001"/>
                    </a:cubicBezTo>
                    <a:cubicBezTo>
                      <a:pt x="79205" y="3258"/>
                      <a:pt x="90162" y="1248"/>
                      <a:pt x="101215" y="0"/>
                    </a:cubicBezTo>
                    <a:close/>
                    <a:moveTo>
                      <a:pt x="47044" y="62294"/>
                    </a:moveTo>
                    <a:cubicBezTo>
                      <a:pt x="52052" y="65179"/>
                      <a:pt x="57840" y="66408"/>
                      <a:pt x="63580" y="65818"/>
                    </a:cubicBezTo>
                    <a:cubicBezTo>
                      <a:pt x="71345" y="64961"/>
                      <a:pt x="78986" y="63275"/>
                      <a:pt x="86389" y="60770"/>
                    </a:cubicBezTo>
                    <a:lnTo>
                      <a:pt x="50560" y="40005"/>
                    </a:lnTo>
                    <a:cubicBezTo>
                      <a:pt x="37255" y="48673"/>
                      <a:pt x="35924" y="56007"/>
                      <a:pt x="46854" y="62294"/>
                    </a:cubicBezTo>
                    <a:close/>
                    <a:moveTo>
                      <a:pt x="172494" y="72771"/>
                    </a:moveTo>
                    <a:cubicBezTo>
                      <a:pt x="167048" y="69771"/>
                      <a:pt x="160775" y="68628"/>
                      <a:pt x="154627" y="69532"/>
                    </a:cubicBezTo>
                    <a:cubicBezTo>
                      <a:pt x="146149" y="70609"/>
                      <a:pt x="137776" y="72457"/>
                      <a:pt x="129632" y="75057"/>
                    </a:cubicBezTo>
                    <a:lnTo>
                      <a:pt x="165176" y="95631"/>
                    </a:lnTo>
                    <a:cubicBezTo>
                      <a:pt x="180192" y="86296"/>
                      <a:pt x="182568" y="78677"/>
                      <a:pt x="172304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4" name="Google Shape;4156;p38">
              <a:extLst>
                <a:ext uri="{FF2B5EF4-FFF2-40B4-BE49-F238E27FC236}">
                  <a16:creationId xmlns:a16="http://schemas.microsoft.com/office/drawing/2014/main" id="{B20013DB-99DE-4A6B-8DE1-D7A73E573A05}"/>
                </a:ext>
              </a:extLst>
            </p:cNvPr>
            <p:cNvGrpSpPr/>
            <p:nvPr/>
          </p:nvGrpSpPr>
          <p:grpSpPr>
            <a:xfrm>
              <a:off x="3200486" y="3710215"/>
              <a:ext cx="664598" cy="467011"/>
              <a:chOff x="4981586" y="4526565"/>
              <a:chExt cx="664598" cy="467011"/>
            </a:xfrm>
          </p:grpSpPr>
          <p:sp>
            <p:nvSpPr>
              <p:cNvPr id="238" name="Google Shape;4157;p38">
                <a:extLst>
                  <a:ext uri="{FF2B5EF4-FFF2-40B4-BE49-F238E27FC236}">
                    <a16:creationId xmlns:a16="http://schemas.microsoft.com/office/drawing/2014/main" id="{DA57B096-5E00-4C8B-A4C8-F7343A9B8664}"/>
                  </a:ext>
                </a:extLst>
              </p:cNvPr>
              <p:cNvSpPr/>
              <p:nvPr/>
            </p:nvSpPr>
            <p:spPr>
              <a:xfrm>
                <a:off x="4981586" y="4608957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4158;p38">
                <a:extLst>
                  <a:ext uri="{FF2B5EF4-FFF2-40B4-BE49-F238E27FC236}">
                    <a16:creationId xmlns:a16="http://schemas.microsoft.com/office/drawing/2014/main" id="{7EBFD1F8-614D-4DAA-B633-4A20F3E322F4}"/>
                  </a:ext>
                </a:extLst>
              </p:cNvPr>
              <p:cNvSpPr/>
              <p:nvPr/>
            </p:nvSpPr>
            <p:spPr>
              <a:xfrm>
                <a:off x="4981681" y="4716589"/>
                <a:ext cx="65671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4159;p38">
                <a:extLst>
                  <a:ext uri="{FF2B5EF4-FFF2-40B4-BE49-F238E27FC236}">
                    <a16:creationId xmlns:a16="http://schemas.microsoft.com/office/drawing/2014/main" id="{DFDFB7B5-E291-4278-9FD8-21EC09C7BD29}"/>
                  </a:ext>
                </a:extLst>
              </p:cNvPr>
              <p:cNvSpPr/>
              <p:nvPr/>
            </p:nvSpPr>
            <p:spPr>
              <a:xfrm>
                <a:off x="5596100" y="4718875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4160;p38">
                <a:extLst>
                  <a:ext uri="{FF2B5EF4-FFF2-40B4-BE49-F238E27FC236}">
                    <a16:creationId xmlns:a16="http://schemas.microsoft.com/office/drawing/2014/main" id="{860F5728-51B4-4455-89D7-036C46F791E7}"/>
                  </a:ext>
                </a:extLst>
              </p:cNvPr>
              <p:cNvSpPr/>
              <p:nvPr/>
            </p:nvSpPr>
            <p:spPr>
              <a:xfrm>
                <a:off x="4981586" y="452656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4161;p38">
                <a:extLst>
                  <a:ext uri="{FF2B5EF4-FFF2-40B4-BE49-F238E27FC236}">
                    <a16:creationId xmlns:a16="http://schemas.microsoft.com/office/drawing/2014/main" id="{113F6394-E844-464A-90E5-115CDA529309}"/>
                  </a:ext>
                </a:extLst>
              </p:cNvPr>
              <p:cNvSpPr/>
              <p:nvPr/>
            </p:nvSpPr>
            <p:spPr>
              <a:xfrm>
                <a:off x="5076086" y="4578881"/>
                <a:ext cx="475673" cy="275344"/>
              </a:xfrm>
              <a:custGeom>
                <a:avLst/>
                <a:gdLst/>
                <a:ahLst/>
                <a:cxnLst/>
                <a:rect l="l" t="t" r="r" b="b"/>
                <a:pathLst>
                  <a:path w="475673" h="275344" extrusionOk="0">
                    <a:moveTo>
                      <a:pt x="475252" y="145994"/>
                    </a:moveTo>
                    <a:cubicBezTo>
                      <a:pt x="471830" y="178380"/>
                      <a:pt x="448831" y="210193"/>
                      <a:pt x="405969" y="235053"/>
                    </a:cubicBezTo>
                    <a:cubicBezTo>
                      <a:pt x="313117" y="288774"/>
                      <a:pt x="162482" y="288774"/>
                      <a:pt x="69535" y="235053"/>
                    </a:cubicBezTo>
                    <a:cubicBezTo>
                      <a:pt x="26768" y="210193"/>
                      <a:pt x="3769" y="178380"/>
                      <a:pt x="443" y="145994"/>
                    </a:cubicBezTo>
                    <a:cubicBezTo>
                      <a:pt x="-3549" y="107894"/>
                      <a:pt x="19450" y="69318"/>
                      <a:pt x="69535" y="40362"/>
                    </a:cubicBezTo>
                    <a:cubicBezTo>
                      <a:pt x="162482" y="-13454"/>
                      <a:pt x="313117" y="-13454"/>
                      <a:pt x="405969" y="40362"/>
                    </a:cubicBezTo>
                    <a:cubicBezTo>
                      <a:pt x="456054" y="69318"/>
                      <a:pt x="479148" y="108085"/>
                      <a:pt x="475252" y="14599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4162;p38">
                <a:extLst>
                  <a:ext uri="{FF2B5EF4-FFF2-40B4-BE49-F238E27FC236}">
                    <a16:creationId xmlns:a16="http://schemas.microsoft.com/office/drawing/2014/main" id="{ED43E2BD-2412-458E-8576-4D0EC897979F}"/>
                  </a:ext>
                </a:extLst>
              </p:cNvPr>
              <p:cNvSpPr/>
              <p:nvPr/>
            </p:nvSpPr>
            <p:spPr>
              <a:xfrm>
                <a:off x="5076528" y="4595360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516"/>
                    </a:moveTo>
                    <a:cubicBezTo>
                      <a:pt x="471388" y="161901"/>
                      <a:pt x="448389" y="193715"/>
                      <a:pt x="405526" y="218575"/>
                    </a:cubicBezTo>
                    <a:cubicBezTo>
                      <a:pt x="312675" y="272296"/>
                      <a:pt x="162040" y="272296"/>
                      <a:pt x="69092" y="218575"/>
                    </a:cubicBezTo>
                    <a:cubicBezTo>
                      <a:pt x="26325" y="193715"/>
                      <a:pt x="3326" y="161901"/>
                      <a:pt x="0" y="129516"/>
                    </a:cubicBezTo>
                    <a:cubicBezTo>
                      <a:pt x="3326" y="97131"/>
                      <a:pt x="26325" y="65222"/>
                      <a:pt x="69092" y="40362"/>
                    </a:cubicBezTo>
                    <a:cubicBezTo>
                      <a:pt x="162040" y="-13454"/>
                      <a:pt x="312675" y="-13454"/>
                      <a:pt x="405526" y="40362"/>
                    </a:cubicBezTo>
                    <a:cubicBezTo>
                      <a:pt x="448389" y="65222"/>
                      <a:pt x="471388" y="97131"/>
                      <a:pt x="474809" y="129516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4163;p38">
                <a:extLst>
                  <a:ext uri="{FF2B5EF4-FFF2-40B4-BE49-F238E27FC236}">
                    <a16:creationId xmlns:a16="http://schemas.microsoft.com/office/drawing/2014/main" id="{49171216-A136-40FC-B204-6D1501117492}"/>
                  </a:ext>
                </a:extLst>
              </p:cNvPr>
              <p:cNvSpPr/>
              <p:nvPr/>
            </p:nvSpPr>
            <p:spPr>
              <a:xfrm>
                <a:off x="5197892" y="4657629"/>
                <a:ext cx="221515" cy="139160"/>
              </a:xfrm>
              <a:custGeom>
                <a:avLst/>
                <a:gdLst/>
                <a:ahLst/>
                <a:cxnLst/>
                <a:rect l="l" t="t" r="r" b="b"/>
                <a:pathLst>
                  <a:path w="221515" h="139160" extrusionOk="0">
                    <a:moveTo>
                      <a:pt x="112525" y="22193"/>
                    </a:moveTo>
                    <a:cubicBezTo>
                      <a:pt x="109598" y="22155"/>
                      <a:pt x="106670" y="22374"/>
                      <a:pt x="103781" y="22860"/>
                    </a:cubicBezTo>
                    <a:cubicBezTo>
                      <a:pt x="99885" y="23432"/>
                      <a:pt x="95513" y="24194"/>
                      <a:pt x="90666" y="25241"/>
                    </a:cubicBezTo>
                    <a:cubicBezTo>
                      <a:pt x="85819" y="26289"/>
                      <a:pt x="81162" y="27527"/>
                      <a:pt x="75460" y="29146"/>
                    </a:cubicBezTo>
                    <a:cubicBezTo>
                      <a:pt x="70376" y="30632"/>
                      <a:pt x="65424" y="32509"/>
                      <a:pt x="60634" y="34766"/>
                    </a:cubicBezTo>
                    <a:lnTo>
                      <a:pt x="98649" y="56960"/>
                    </a:lnTo>
                    <a:lnTo>
                      <a:pt x="105492" y="54483"/>
                    </a:lnTo>
                    <a:cubicBezTo>
                      <a:pt x="114996" y="51245"/>
                      <a:pt x="124500" y="48482"/>
                      <a:pt x="132958" y="46196"/>
                    </a:cubicBezTo>
                    <a:cubicBezTo>
                      <a:pt x="141046" y="44044"/>
                      <a:pt x="149324" y="42701"/>
                      <a:pt x="157668" y="42196"/>
                    </a:cubicBezTo>
                    <a:cubicBezTo>
                      <a:pt x="165309" y="41691"/>
                      <a:pt x="172978" y="42196"/>
                      <a:pt x="180477" y="43720"/>
                    </a:cubicBezTo>
                    <a:cubicBezTo>
                      <a:pt x="188146" y="45330"/>
                      <a:pt x="195502" y="48187"/>
                      <a:pt x="202241" y="52197"/>
                    </a:cubicBezTo>
                    <a:cubicBezTo>
                      <a:pt x="208817" y="55607"/>
                      <a:pt x="214443" y="60617"/>
                      <a:pt x="218587" y="66770"/>
                    </a:cubicBezTo>
                    <a:cubicBezTo>
                      <a:pt x="221343" y="71238"/>
                      <a:pt x="222199" y="76619"/>
                      <a:pt x="220963" y="81725"/>
                    </a:cubicBezTo>
                    <a:cubicBezTo>
                      <a:pt x="219347" y="87354"/>
                      <a:pt x="216268" y="92450"/>
                      <a:pt x="212029" y="96488"/>
                    </a:cubicBezTo>
                    <a:cubicBezTo>
                      <a:pt x="206755" y="101756"/>
                      <a:pt x="200891" y="106394"/>
                      <a:pt x="194543" y="110300"/>
                    </a:cubicBezTo>
                    <a:lnTo>
                      <a:pt x="218872" y="124396"/>
                    </a:lnTo>
                    <a:lnTo>
                      <a:pt x="205662" y="132017"/>
                    </a:lnTo>
                    <a:lnTo>
                      <a:pt x="181142" y="117824"/>
                    </a:lnTo>
                    <a:cubicBezTo>
                      <a:pt x="169462" y="123625"/>
                      <a:pt x="157240" y="128254"/>
                      <a:pt x="144648" y="131636"/>
                    </a:cubicBezTo>
                    <a:cubicBezTo>
                      <a:pt x="131494" y="135322"/>
                      <a:pt x="118037" y="137846"/>
                      <a:pt x="104447" y="139160"/>
                    </a:cubicBezTo>
                    <a:lnTo>
                      <a:pt x="91711" y="116205"/>
                    </a:lnTo>
                    <a:cubicBezTo>
                      <a:pt x="95275" y="116110"/>
                      <a:pt x="98830" y="115824"/>
                      <a:pt x="102356" y="115348"/>
                    </a:cubicBezTo>
                    <a:cubicBezTo>
                      <a:pt x="107754" y="114710"/>
                      <a:pt x="113114" y="113786"/>
                      <a:pt x="118417" y="112586"/>
                    </a:cubicBezTo>
                    <a:cubicBezTo>
                      <a:pt x="124310" y="111347"/>
                      <a:pt x="130487" y="109728"/>
                      <a:pt x="137425" y="107823"/>
                    </a:cubicBezTo>
                    <a:cubicBezTo>
                      <a:pt x="143925" y="105985"/>
                      <a:pt x="150283" y="103661"/>
                      <a:pt x="156432" y="100870"/>
                    </a:cubicBezTo>
                    <a:lnTo>
                      <a:pt x="118417" y="78867"/>
                    </a:lnTo>
                    <a:lnTo>
                      <a:pt x="113475" y="80582"/>
                    </a:lnTo>
                    <a:lnTo>
                      <a:pt x="108248" y="82201"/>
                    </a:lnTo>
                    <a:cubicBezTo>
                      <a:pt x="98744" y="85344"/>
                      <a:pt x="89906" y="87821"/>
                      <a:pt x="81923" y="89630"/>
                    </a:cubicBezTo>
                    <a:cubicBezTo>
                      <a:pt x="74557" y="91307"/>
                      <a:pt x="67049" y="92297"/>
                      <a:pt x="59494" y="92583"/>
                    </a:cubicBezTo>
                    <a:cubicBezTo>
                      <a:pt x="52851" y="92812"/>
                      <a:pt x="46217" y="92212"/>
                      <a:pt x="39726" y="90773"/>
                    </a:cubicBezTo>
                    <a:cubicBezTo>
                      <a:pt x="33301" y="89240"/>
                      <a:pt x="27143" y="86735"/>
                      <a:pt x="21479" y="83344"/>
                    </a:cubicBezTo>
                    <a:cubicBezTo>
                      <a:pt x="15187" y="80039"/>
                      <a:pt x="9732" y="75352"/>
                      <a:pt x="5512" y="69628"/>
                    </a:cubicBezTo>
                    <a:cubicBezTo>
                      <a:pt x="2433" y="65342"/>
                      <a:pt x="922" y="60132"/>
                      <a:pt x="1236" y="54864"/>
                    </a:cubicBezTo>
                    <a:cubicBezTo>
                      <a:pt x="1825" y="49406"/>
                      <a:pt x="4011" y="44234"/>
                      <a:pt x="7508" y="40005"/>
                    </a:cubicBezTo>
                    <a:cubicBezTo>
                      <a:pt x="11918" y="34566"/>
                      <a:pt x="17145" y="29842"/>
                      <a:pt x="22999" y="26003"/>
                    </a:cubicBezTo>
                    <a:lnTo>
                      <a:pt x="0" y="12859"/>
                    </a:lnTo>
                    <a:lnTo>
                      <a:pt x="13210" y="5144"/>
                    </a:lnTo>
                    <a:lnTo>
                      <a:pt x="35544" y="18098"/>
                    </a:lnTo>
                    <a:cubicBezTo>
                      <a:pt x="45998" y="12878"/>
                      <a:pt x="56994" y="8820"/>
                      <a:pt x="68332" y="6001"/>
                    </a:cubicBezTo>
                    <a:cubicBezTo>
                      <a:pt x="79110" y="3258"/>
                      <a:pt x="90067" y="1248"/>
                      <a:pt x="101120" y="0"/>
                    </a:cubicBezTo>
                    <a:close/>
                    <a:moveTo>
                      <a:pt x="47519" y="62294"/>
                    </a:moveTo>
                    <a:cubicBezTo>
                      <a:pt x="52556" y="65189"/>
                      <a:pt x="58372" y="66418"/>
                      <a:pt x="64151" y="65818"/>
                    </a:cubicBezTo>
                    <a:cubicBezTo>
                      <a:pt x="71877" y="64951"/>
                      <a:pt x="79499" y="63265"/>
                      <a:pt x="86865" y="60770"/>
                    </a:cubicBezTo>
                    <a:lnTo>
                      <a:pt x="51130" y="40005"/>
                    </a:lnTo>
                    <a:cubicBezTo>
                      <a:pt x="38015" y="48701"/>
                      <a:pt x="36808" y="56131"/>
                      <a:pt x="47519" y="62294"/>
                    </a:cubicBezTo>
                    <a:close/>
                    <a:moveTo>
                      <a:pt x="172969" y="72771"/>
                    </a:moveTo>
                    <a:cubicBezTo>
                      <a:pt x="167523" y="69771"/>
                      <a:pt x="161251" y="68628"/>
                      <a:pt x="155102" y="69533"/>
                    </a:cubicBezTo>
                    <a:cubicBezTo>
                      <a:pt x="146663" y="70656"/>
                      <a:pt x="138328" y="72504"/>
                      <a:pt x="130202" y="75057"/>
                    </a:cubicBezTo>
                    <a:lnTo>
                      <a:pt x="165746" y="95631"/>
                    </a:lnTo>
                    <a:cubicBezTo>
                      <a:pt x="180572" y="86392"/>
                      <a:pt x="183328" y="78677"/>
                      <a:pt x="172969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4164;p38">
                <a:extLst>
                  <a:ext uri="{FF2B5EF4-FFF2-40B4-BE49-F238E27FC236}">
                    <a16:creationId xmlns:a16="http://schemas.microsoft.com/office/drawing/2014/main" id="{77D811C5-073B-4365-9ECF-6237F6730E55}"/>
                  </a:ext>
                </a:extLst>
              </p:cNvPr>
              <p:cNvSpPr/>
              <p:nvPr/>
            </p:nvSpPr>
            <p:spPr>
              <a:xfrm>
                <a:off x="5289888" y="4760785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4165;p38">
                <a:extLst>
                  <a:ext uri="{FF2B5EF4-FFF2-40B4-BE49-F238E27FC236}">
                    <a16:creationId xmlns:a16="http://schemas.microsoft.com/office/drawing/2014/main" id="{672CE3CD-9DBC-4BDA-91A2-BB1395153ACA}"/>
                  </a:ext>
                </a:extLst>
              </p:cNvPr>
              <p:cNvSpPr/>
              <p:nvPr/>
            </p:nvSpPr>
            <p:spPr>
              <a:xfrm>
                <a:off x="5385496" y="4768976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954"/>
                    </a:moveTo>
                    <a:lnTo>
                      <a:pt x="31552" y="0"/>
                    </a:lnTo>
                    <a:lnTo>
                      <a:pt x="0" y="2477"/>
                    </a:lnTo>
                    <a:lnTo>
                      <a:pt x="18152" y="14859"/>
                    </a:lnTo>
                    <a:lnTo>
                      <a:pt x="31552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4166;p38">
                <a:extLst>
                  <a:ext uri="{FF2B5EF4-FFF2-40B4-BE49-F238E27FC236}">
                    <a16:creationId xmlns:a16="http://schemas.microsoft.com/office/drawing/2014/main" id="{392AED47-6999-4A49-BEF6-573057ABBAB3}"/>
                  </a:ext>
                </a:extLst>
              </p:cNvPr>
              <p:cNvSpPr/>
              <p:nvPr/>
            </p:nvSpPr>
            <p:spPr>
              <a:xfrm>
                <a:off x="5396046" y="4721447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4167;p38">
                <a:extLst>
                  <a:ext uri="{FF2B5EF4-FFF2-40B4-BE49-F238E27FC236}">
                    <a16:creationId xmlns:a16="http://schemas.microsoft.com/office/drawing/2014/main" id="{1D8B4CE7-383E-4607-A14C-7C6474093742}"/>
                  </a:ext>
                </a:extLst>
              </p:cNvPr>
              <p:cNvSpPr/>
              <p:nvPr/>
            </p:nvSpPr>
            <p:spPr>
              <a:xfrm>
                <a:off x="5321441" y="4726305"/>
                <a:ext cx="35639" cy="24764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4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4168;p38">
                <a:extLst>
                  <a:ext uri="{FF2B5EF4-FFF2-40B4-BE49-F238E27FC236}">
                    <a16:creationId xmlns:a16="http://schemas.microsoft.com/office/drawing/2014/main" id="{13E6C5D5-5E13-4873-A901-3BB8643D0912}"/>
                  </a:ext>
                </a:extLst>
              </p:cNvPr>
              <p:cNvSpPr/>
              <p:nvPr/>
            </p:nvSpPr>
            <p:spPr>
              <a:xfrm>
                <a:off x="5249117" y="4684871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287"/>
                    </a:moveTo>
                    <a:lnTo>
                      <a:pt x="36780" y="29146"/>
                    </a:lnTo>
                    <a:lnTo>
                      <a:pt x="44383" y="23717"/>
                    </a:lnTo>
                    <a:lnTo>
                      <a:pt x="39346" y="17907"/>
                    </a:lnTo>
                    <a:cubicBezTo>
                      <a:pt x="36105" y="14116"/>
                      <a:pt x="32246" y="10896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" name="Google Shape;4169;p38">
                <a:extLst>
                  <a:ext uri="{FF2B5EF4-FFF2-40B4-BE49-F238E27FC236}">
                    <a16:creationId xmlns:a16="http://schemas.microsoft.com/office/drawing/2014/main" id="{494C501A-1387-4D09-BDF2-2BA8E878A146}"/>
                  </a:ext>
                </a:extLst>
              </p:cNvPr>
              <p:cNvSpPr/>
              <p:nvPr/>
            </p:nvSpPr>
            <p:spPr>
              <a:xfrm>
                <a:off x="5289888" y="4661344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" name="Google Shape;4170;p38">
                <a:extLst>
                  <a:ext uri="{FF2B5EF4-FFF2-40B4-BE49-F238E27FC236}">
                    <a16:creationId xmlns:a16="http://schemas.microsoft.com/office/drawing/2014/main" id="{3AB99ED2-63AD-44BA-BB71-128267A19BE9}"/>
                  </a:ext>
                </a:extLst>
              </p:cNvPr>
              <p:cNvSpPr/>
              <p:nvPr/>
            </p:nvSpPr>
            <p:spPr>
              <a:xfrm>
                <a:off x="5197987" y="4657534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8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" name="Google Shape;4171;p38">
                <a:extLst>
                  <a:ext uri="{FF2B5EF4-FFF2-40B4-BE49-F238E27FC236}">
                    <a16:creationId xmlns:a16="http://schemas.microsoft.com/office/drawing/2014/main" id="{F7BB5A36-B539-444E-9DB3-549DD227EA1E}"/>
                  </a:ext>
                </a:extLst>
              </p:cNvPr>
              <p:cNvSpPr/>
              <p:nvPr/>
            </p:nvSpPr>
            <p:spPr>
              <a:xfrm>
                <a:off x="5198652" y="4700873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cubicBezTo>
                      <a:pt x="0" y="13430"/>
                      <a:pt x="0" y="0"/>
                      <a:pt x="0" y="0"/>
                    </a:cubicBezTo>
                    <a:lnTo>
                      <a:pt x="22429" y="0"/>
                    </a:lnTo>
                    <a:lnTo>
                      <a:pt x="16917" y="12002"/>
                    </a:lnTo>
                    <a:lnTo>
                      <a:pt x="7413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3" name="Google Shape;4172;p38">
                <a:extLst>
                  <a:ext uri="{FF2B5EF4-FFF2-40B4-BE49-F238E27FC236}">
                    <a16:creationId xmlns:a16="http://schemas.microsoft.com/office/drawing/2014/main" id="{B5D45455-4543-49AA-B496-D909E112DC7F}"/>
                  </a:ext>
                </a:extLst>
              </p:cNvPr>
              <p:cNvSpPr/>
              <p:nvPr/>
            </p:nvSpPr>
            <p:spPr>
              <a:xfrm>
                <a:off x="5197892" y="4644961"/>
                <a:ext cx="221610" cy="138874"/>
              </a:xfrm>
              <a:custGeom>
                <a:avLst/>
                <a:gdLst/>
                <a:ahLst/>
                <a:cxnLst/>
                <a:rect l="l" t="t" r="r" b="b"/>
                <a:pathLst>
                  <a:path w="221610" h="138874" extrusionOk="0">
                    <a:moveTo>
                      <a:pt x="112525" y="22288"/>
                    </a:moveTo>
                    <a:cubicBezTo>
                      <a:pt x="109598" y="22298"/>
                      <a:pt x="106680" y="22517"/>
                      <a:pt x="103781" y="22955"/>
                    </a:cubicBezTo>
                    <a:cubicBezTo>
                      <a:pt x="99885" y="23527"/>
                      <a:pt x="95513" y="24289"/>
                      <a:pt x="90666" y="25337"/>
                    </a:cubicBezTo>
                    <a:cubicBezTo>
                      <a:pt x="85819" y="26384"/>
                      <a:pt x="81162" y="27718"/>
                      <a:pt x="75460" y="29242"/>
                    </a:cubicBezTo>
                    <a:cubicBezTo>
                      <a:pt x="70395" y="30804"/>
                      <a:pt x="65434" y="32709"/>
                      <a:pt x="60634" y="34957"/>
                    </a:cubicBezTo>
                    <a:lnTo>
                      <a:pt x="98649" y="57055"/>
                    </a:lnTo>
                    <a:lnTo>
                      <a:pt x="105492" y="54578"/>
                    </a:lnTo>
                    <a:cubicBezTo>
                      <a:pt x="114996" y="51435"/>
                      <a:pt x="124500" y="48673"/>
                      <a:pt x="132958" y="46387"/>
                    </a:cubicBezTo>
                    <a:cubicBezTo>
                      <a:pt x="141036" y="44205"/>
                      <a:pt x="149314" y="42834"/>
                      <a:pt x="157668" y="42291"/>
                    </a:cubicBezTo>
                    <a:cubicBezTo>
                      <a:pt x="165309" y="41786"/>
                      <a:pt x="172978" y="42291"/>
                      <a:pt x="180477" y="43815"/>
                    </a:cubicBezTo>
                    <a:cubicBezTo>
                      <a:pt x="188127" y="45501"/>
                      <a:pt x="195464" y="48358"/>
                      <a:pt x="202241" y="52292"/>
                    </a:cubicBezTo>
                    <a:cubicBezTo>
                      <a:pt x="208846" y="55702"/>
                      <a:pt x="214501" y="60712"/>
                      <a:pt x="218682" y="66865"/>
                    </a:cubicBezTo>
                    <a:cubicBezTo>
                      <a:pt x="221438" y="71333"/>
                      <a:pt x="222294" y="76714"/>
                      <a:pt x="221058" y="81820"/>
                    </a:cubicBezTo>
                    <a:cubicBezTo>
                      <a:pt x="219442" y="87449"/>
                      <a:pt x="216363" y="92545"/>
                      <a:pt x="212125" y="96583"/>
                    </a:cubicBezTo>
                    <a:cubicBezTo>
                      <a:pt x="206869" y="101851"/>
                      <a:pt x="200996" y="106451"/>
                      <a:pt x="194638" y="110299"/>
                    </a:cubicBezTo>
                    <a:lnTo>
                      <a:pt x="218967" y="124396"/>
                    </a:lnTo>
                    <a:lnTo>
                      <a:pt x="205757" y="132112"/>
                    </a:lnTo>
                    <a:lnTo>
                      <a:pt x="181427" y="117538"/>
                    </a:lnTo>
                    <a:cubicBezTo>
                      <a:pt x="169728" y="123301"/>
                      <a:pt x="157506" y="127930"/>
                      <a:pt x="144933" y="131350"/>
                    </a:cubicBezTo>
                    <a:cubicBezTo>
                      <a:pt x="131760" y="134950"/>
                      <a:pt x="118313" y="137465"/>
                      <a:pt x="104732" y="138874"/>
                    </a:cubicBezTo>
                    <a:lnTo>
                      <a:pt x="91997" y="115824"/>
                    </a:lnTo>
                    <a:cubicBezTo>
                      <a:pt x="95561" y="115729"/>
                      <a:pt x="99115" y="115443"/>
                      <a:pt x="102641" y="114967"/>
                    </a:cubicBezTo>
                    <a:cubicBezTo>
                      <a:pt x="108039" y="114367"/>
                      <a:pt x="113399" y="113471"/>
                      <a:pt x="118702" y="112300"/>
                    </a:cubicBezTo>
                    <a:cubicBezTo>
                      <a:pt x="124595" y="110966"/>
                      <a:pt x="130772" y="109347"/>
                      <a:pt x="137710" y="107442"/>
                    </a:cubicBezTo>
                    <a:cubicBezTo>
                      <a:pt x="144229" y="105651"/>
                      <a:pt x="150578" y="103327"/>
                      <a:pt x="156717" y="100489"/>
                    </a:cubicBezTo>
                    <a:lnTo>
                      <a:pt x="118702" y="78486"/>
                    </a:lnTo>
                    <a:lnTo>
                      <a:pt x="113760" y="80296"/>
                    </a:lnTo>
                    <a:lnTo>
                      <a:pt x="108533" y="81820"/>
                    </a:lnTo>
                    <a:cubicBezTo>
                      <a:pt x="99029" y="84963"/>
                      <a:pt x="90191" y="87439"/>
                      <a:pt x="82208" y="89249"/>
                    </a:cubicBezTo>
                    <a:cubicBezTo>
                      <a:pt x="74842" y="90954"/>
                      <a:pt x="67334" y="91973"/>
                      <a:pt x="59779" y="92297"/>
                    </a:cubicBezTo>
                    <a:cubicBezTo>
                      <a:pt x="53136" y="92497"/>
                      <a:pt x="46493" y="91859"/>
                      <a:pt x="40011" y="90392"/>
                    </a:cubicBezTo>
                    <a:cubicBezTo>
                      <a:pt x="33586" y="88859"/>
                      <a:pt x="27428" y="86354"/>
                      <a:pt x="21764" y="82963"/>
                    </a:cubicBezTo>
                    <a:cubicBezTo>
                      <a:pt x="15463" y="79724"/>
                      <a:pt x="9998" y="75057"/>
                      <a:pt x="5797" y="69342"/>
                    </a:cubicBezTo>
                    <a:cubicBezTo>
                      <a:pt x="2737" y="65056"/>
                      <a:pt x="1226" y="59845"/>
                      <a:pt x="1521" y="54578"/>
                    </a:cubicBezTo>
                    <a:cubicBezTo>
                      <a:pt x="2091" y="49111"/>
                      <a:pt x="4277" y="43939"/>
                      <a:pt x="7793" y="39719"/>
                    </a:cubicBezTo>
                    <a:cubicBezTo>
                      <a:pt x="12203" y="34252"/>
                      <a:pt x="17430" y="29499"/>
                      <a:pt x="23284" y="25622"/>
                    </a:cubicBezTo>
                    <a:lnTo>
                      <a:pt x="0" y="12763"/>
                    </a:lnTo>
                    <a:lnTo>
                      <a:pt x="13210" y="5144"/>
                    </a:lnTo>
                    <a:lnTo>
                      <a:pt x="35544" y="18002"/>
                    </a:lnTo>
                    <a:cubicBezTo>
                      <a:pt x="46017" y="12821"/>
                      <a:pt x="57004" y="8763"/>
                      <a:pt x="68332" y="5905"/>
                    </a:cubicBezTo>
                    <a:cubicBezTo>
                      <a:pt x="79119" y="3191"/>
                      <a:pt x="90067" y="1219"/>
                      <a:pt x="101120" y="0"/>
                    </a:cubicBezTo>
                    <a:close/>
                    <a:moveTo>
                      <a:pt x="47519" y="62008"/>
                    </a:moveTo>
                    <a:cubicBezTo>
                      <a:pt x="52547" y="64932"/>
                      <a:pt x="58363" y="66199"/>
                      <a:pt x="64151" y="65627"/>
                    </a:cubicBezTo>
                    <a:cubicBezTo>
                      <a:pt x="71887" y="64770"/>
                      <a:pt x="79509" y="63037"/>
                      <a:pt x="86865" y="60484"/>
                    </a:cubicBezTo>
                    <a:lnTo>
                      <a:pt x="51130" y="39814"/>
                    </a:lnTo>
                    <a:cubicBezTo>
                      <a:pt x="38015" y="48387"/>
                      <a:pt x="36808" y="55788"/>
                      <a:pt x="47519" y="62008"/>
                    </a:cubicBezTo>
                    <a:close/>
                    <a:moveTo>
                      <a:pt x="172969" y="72485"/>
                    </a:moveTo>
                    <a:cubicBezTo>
                      <a:pt x="167514" y="69513"/>
                      <a:pt x="161241" y="68409"/>
                      <a:pt x="155102" y="69342"/>
                    </a:cubicBezTo>
                    <a:cubicBezTo>
                      <a:pt x="146663" y="70428"/>
                      <a:pt x="138328" y="72247"/>
                      <a:pt x="130202" y="74771"/>
                    </a:cubicBezTo>
                    <a:lnTo>
                      <a:pt x="165746" y="95345"/>
                    </a:lnTo>
                    <a:cubicBezTo>
                      <a:pt x="180572" y="86106"/>
                      <a:pt x="183328" y="78486"/>
                      <a:pt x="172969" y="72485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5" name="Google Shape;4173;p38">
              <a:extLst>
                <a:ext uri="{FF2B5EF4-FFF2-40B4-BE49-F238E27FC236}">
                  <a16:creationId xmlns:a16="http://schemas.microsoft.com/office/drawing/2014/main" id="{58D7AD4C-6E70-4C90-B1EF-D5F53D565611}"/>
                </a:ext>
              </a:extLst>
            </p:cNvPr>
            <p:cNvGrpSpPr/>
            <p:nvPr/>
          </p:nvGrpSpPr>
          <p:grpSpPr>
            <a:xfrm>
              <a:off x="2181300" y="4477454"/>
              <a:ext cx="746806" cy="516445"/>
              <a:chOff x="3962400" y="5293804"/>
              <a:chExt cx="746806" cy="516445"/>
            </a:xfrm>
          </p:grpSpPr>
          <p:sp>
            <p:nvSpPr>
              <p:cNvPr id="221" name="Google Shape;4174;p38">
                <a:extLst>
                  <a:ext uri="{FF2B5EF4-FFF2-40B4-BE49-F238E27FC236}">
                    <a16:creationId xmlns:a16="http://schemas.microsoft.com/office/drawing/2014/main" id="{8B7D07B9-8477-4E90-8C7B-FC5B18562A28}"/>
                  </a:ext>
                </a:extLst>
              </p:cNvPr>
              <p:cNvSpPr/>
              <p:nvPr/>
            </p:nvSpPr>
            <p:spPr>
              <a:xfrm>
                <a:off x="3962400" y="5425630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2" name="Google Shape;4175;p38">
                <a:extLst>
                  <a:ext uri="{FF2B5EF4-FFF2-40B4-BE49-F238E27FC236}">
                    <a16:creationId xmlns:a16="http://schemas.microsoft.com/office/drawing/2014/main" id="{DCF633AB-1B8A-48FB-84E6-FEBC62D1EE0F}"/>
                  </a:ext>
                </a:extLst>
              </p:cNvPr>
              <p:cNvSpPr/>
              <p:nvPr/>
            </p:nvSpPr>
            <p:spPr>
              <a:xfrm>
                <a:off x="4044607" y="537619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19"/>
                      <a:pt x="332252" y="384619"/>
                    </a:cubicBezTo>
                    <a:cubicBezTo>
                      <a:pt x="148754" y="384619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4176;p38">
                <a:extLst>
                  <a:ext uri="{FF2B5EF4-FFF2-40B4-BE49-F238E27FC236}">
                    <a16:creationId xmlns:a16="http://schemas.microsoft.com/office/drawing/2014/main" id="{FC1DF2BE-C19F-4FCD-87D3-95B1E7ECF26A}"/>
                  </a:ext>
                </a:extLst>
              </p:cNvPr>
              <p:cNvSpPr/>
              <p:nvPr/>
            </p:nvSpPr>
            <p:spPr>
              <a:xfrm>
                <a:off x="4044702" y="548382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4177;p38">
                <a:extLst>
                  <a:ext uri="{FF2B5EF4-FFF2-40B4-BE49-F238E27FC236}">
                    <a16:creationId xmlns:a16="http://schemas.microsoft.com/office/drawing/2014/main" id="{710AD7EE-646B-48C8-A5DA-A955B0B5CD62}"/>
                  </a:ext>
                </a:extLst>
              </p:cNvPr>
              <p:cNvSpPr/>
              <p:nvPr/>
            </p:nvSpPr>
            <p:spPr>
              <a:xfrm>
                <a:off x="4659217" y="548611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4178;p38">
                <a:extLst>
                  <a:ext uri="{FF2B5EF4-FFF2-40B4-BE49-F238E27FC236}">
                    <a16:creationId xmlns:a16="http://schemas.microsoft.com/office/drawing/2014/main" id="{687DF4BE-1881-4612-A006-48B844A5E275}"/>
                  </a:ext>
                </a:extLst>
              </p:cNvPr>
              <p:cNvSpPr/>
              <p:nvPr/>
            </p:nvSpPr>
            <p:spPr>
              <a:xfrm>
                <a:off x="4044607" y="529380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4179;p38">
                <a:extLst>
                  <a:ext uri="{FF2B5EF4-FFF2-40B4-BE49-F238E27FC236}">
                    <a16:creationId xmlns:a16="http://schemas.microsoft.com/office/drawing/2014/main" id="{E8D5127F-268C-4BBC-8D3F-4CD349219935}"/>
                  </a:ext>
                </a:extLst>
              </p:cNvPr>
              <p:cNvSpPr/>
              <p:nvPr/>
            </p:nvSpPr>
            <p:spPr>
              <a:xfrm>
                <a:off x="4139107" y="5346215"/>
                <a:ext cx="475657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57" h="275248" extrusionOk="0">
                    <a:moveTo>
                      <a:pt x="475252" y="145899"/>
                    </a:moveTo>
                    <a:cubicBezTo>
                      <a:pt x="471926" y="178284"/>
                      <a:pt x="448831" y="210193"/>
                      <a:pt x="406064" y="234958"/>
                    </a:cubicBezTo>
                    <a:cubicBezTo>
                      <a:pt x="313117" y="288679"/>
                      <a:pt x="162482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149" y="69223"/>
                      <a:pt x="47905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4180;p38">
                <a:extLst>
                  <a:ext uri="{FF2B5EF4-FFF2-40B4-BE49-F238E27FC236}">
                    <a16:creationId xmlns:a16="http://schemas.microsoft.com/office/drawing/2014/main" id="{7C6B24FF-81AF-47B4-B610-FF88B64BD8DD}"/>
                  </a:ext>
                </a:extLst>
              </p:cNvPr>
              <p:cNvSpPr/>
              <p:nvPr/>
            </p:nvSpPr>
            <p:spPr>
              <a:xfrm>
                <a:off x="4139550" y="536269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480"/>
                    </a:cubicBezTo>
                    <a:cubicBezTo>
                      <a:pt x="312675" y="272201"/>
                      <a:pt x="162040" y="272201"/>
                      <a:pt x="69188" y="218480"/>
                    </a:cubicBezTo>
                    <a:cubicBezTo>
                      <a:pt x="26325" y="193715"/>
                      <a:pt x="3326" y="161806"/>
                      <a:pt x="0" y="129421"/>
                    </a:cubicBezTo>
                    <a:cubicBezTo>
                      <a:pt x="3326" y="97036"/>
                      <a:pt x="26325" y="65127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127"/>
                      <a:pt x="471483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" name="Google Shape;4181;p38">
                <a:extLst>
                  <a:ext uri="{FF2B5EF4-FFF2-40B4-BE49-F238E27FC236}">
                    <a16:creationId xmlns:a16="http://schemas.microsoft.com/office/drawing/2014/main" id="{C912BDA7-5627-4E26-AEC5-0A6DECC6B528}"/>
                  </a:ext>
                </a:extLst>
              </p:cNvPr>
              <p:cNvSpPr/>
              <p:nvPr/>
            </p:nvSpPr>
            <p:spPr>
              <a:xfrm>
                <a:off x="4261389" y="5424963"/>
                <a:ext cx="221102" cy="138970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8970" extrusionOk="0">
                    <a:moveTo>
                      <a:pt x="112050" y="22098"/>
                    </a:moveTo>
                    <a:cubicBezTo>
                      <a:pt x="109122" y="22060"/>
                      <a:pt x="106194" y="22279"/>
                      <a:pt x="103306" y="22765"/>
                    </a:cubicBezTo>
                    <a:cubicBezTo>
                      <a:pt x="99410" y="23336"/>
                      <a:pt x="95038" y="24098"/>
                      <a:pt x="90191" y="25146"/>
                    </a:cubicBezTo>
                    <a:cubicBezTo>
                      <a:pt x="85344" y="26194"/>
                      <a:pt x="80687" y="27432"/>
                      <a:pt x="75080" y="29051"/>
                    </a:cubicBezTo>
                    <a:cubicBezTo>
                      <a:pt x="69967" y="30566"/>
                      <a:pt x="64977" y="32480"/>
                      <a:pt x="60159" y="34766"/>
                    </a:cubicBezTo>
                    <a:lnTo>
                      <a:pt x="98174" y="56864"/>
                    </a:lnTo>
                    <a:lnTo>
                      <a:pt x="105017" y="54388"/>
                    </a:lnTo>
                    <a:cubicBezTo>
                      <a:pt x="114521" y="51149"/>
                      <a:pt x="124024" y="48387"/>
                      <a:pt x="132483" y="46196"/>
                    </a:cubicBezTo>
                    <a:cubicBezTo>
                      <a:pt x="140574" y="44120"/>
                      <a:pt x="148851" y="42844"/>
                      <a:pt x="157193" y="42386"/>
                    </a:cubicBezTo>
                    <a:cubicBezTo>
                      <a:pt x="164798" y="41881"/>
                      <a:pt x="172437" y="42386"/>
                      <a:pt x="179907" y="43910"/>
                    </a:cubicBezTo>
                    <a:cubicBezTo>
                      <a:pt x="187570" y="45539"/>
                      <a:pt x="194919" y="48406"/>
                      <a:pt x="201670" y="52388"/>
                    </a:cubicBezTo>
                    <a:cubicBezTo>
                      <a:pt x="208292" y="55731"/>
                      <a:pt x="213951" y="60713"/>
                      <a:pt x="218112" y="66866"/>
                    </a:cubicBezTo>
                    <a:cubicBezTo>
                      <a:pt x="220891" y="71323"/>
                      <a:pt x="221780" y="76705"/>
                      <a:pt x="220583" y="81820"/>
                    </a:cubicBezTo>
                    <a:cubicBezTo>
                      <a:pt x="218785" y="87506"/>
                      <a:pt x="215504" y="92602"/>
                      <a:pt x="211079" y="96584"/>
                    </a:cubicBezTo>
                    <a:cubicBezTo>
                      <a:pt x="205885" y="101898"/>
                      <a:pt x="200041" y="106547"/>
                      <a:pt x="193687" y="110395"/>
                    </a:cubicBezTo>
                    <a:lnTo>
                      <a:pt x="217922" y="124492"/>
                    </a:lnTo>
                    <a:lnTo>
                      <a:pt x="204712" y="132112"/>
                    </a:lnTo>
                    <a:lnTo>
                      <a:pt x="180952" y="117634"/>
                    </a:lnTo>
                    <a:cubicBezTo>
                      <a:pt x="169319" y="123463"/>
                      <a:pt x="157122" y="128092"/>
                      <a:pt x="144553" y="131445"/>
                    </a:cubicBezTo>
                    <a:cubicBezTo>
                      <a:pt x="131396" y="135112"/>
                      <a:pt x="117944" y="137636"/>
                      <a:pt x="104352" y="138970"/>
                    </a:cubicBezTo>
                    <a:lnTo>
                      <a:pt x="91521" y="116015"/>
                    </a:lnTo>
                    <a:cubicBezTo>
                      <a:pt x="95114" y="115919"/>
                      <a:pt x="98699" y="115634"/>
                      <a:pt x="102261" y="115158"/>
                    </a:cubicBezTo>
                    <a:cubicBezTo>
                      <a:pt x="107627" y="114510"/>
                      <a:pt x="112956" y="113586"/>
                      <a:pt x="118227" y="112395"/>
                    </a:cubicBezTo>
                    <a:cubicBezTo>
                      <a:pt x="124119" y="111157"/>
                      <a:pt x="130392" y="109538"/>
                      <a:pt x="137235" y="107633"/>
                    </a:cubicBezTo>
                    <a:cubicBezTo>
                      <a:pt x="143743" y="105823"/>
                      <a:pt x="150098" y="103489"/>
                      <a:pt x="156242" y="100679"/>
                    </a:cubicBezTo>
                    <a:lnTo>
                      <a:pt x="118227" y="78677"/>
                    </a:lnTo>
                    <a:cubicBezTo>
                      <a:pt x="116611" y="79248"/>
                      <a:pt x="114996" y="79915"/>
                      <a:pt x="113285" y="80391"/>
                    </a:cubicBezTo>
                    <a:lnTo>
                      <a:pt x="108058" y="82010"/>
                    </a:lnTo>
                    <a:cubicBezTo>
                      <a:pt x="98554" y="85154"/>
                      <a:pt x="89716" y="87630"/>
                      <a:pt x="81828" y="89440"/>
                    </a:cubicBezTo>
                    <a:cubicBezTo>
                      <a:pt x="74465" y="91154"/>
                      <a:pt x="66953" y="92145"/>
                      <a:pt x="59399" y="92393"/>
                    </a:cubicBezTo>
                    <a:cubicBezTo>
                      <a:pt x="52758" y="92678"/>
                      <a:pt x="46110" y="92069"/>
                      <a:pt x="39631" y="90583"/>
                    </a:cubicBezTo>
                    <a:cubicBezTo>
                      <a:pt x="33176" y="89059"/>
                      <a:pt x="26991" y="86554"/>
                      <a:pt x="21288" y="83153"/>
                    </a:cubicBezTo>
                    <a:cubicBezTo>
                      <a:pt x="14928" y="79924"/>
                      <a:pt x="9398" y="75257"/>
                      <a:pt x="5132" y="69533"/>
                    </a:cubicBezTo>
                    <a:cubicBezTo>
                      <a:pt x="2001" y="65275"/>
                      <a:pt x="454" y="60055"/>
                      <a:pt x="760" y="54769"/>
                    </a:cubicBezTo>
                    <a:cubicBezTo>
                      <a:pt x="1328" y="49273"/>
                      <a:pt x="3511" y="44063"/>
                      <a:pt x="7033" y="39815"/>
                    </a:cubicBezTo>
                    <a:cubicBezTo>
                      <a:pt x="11446" y="34376"/>
                      <a:pt x="16672" y="29651"/>
                      <a:pt x="22524" y="25813"/>
                    </a:cubicBezTo>
                    <a:lnTo>
                      <a:pt x="0" y="12764"/>
                    </a:lnTo>
                    <a:lnTo>
                      <a:pt x="13305" y="5048"/>
                    </a:lnTo>
                    <a:lnTo>
                      <a:pt x="35544" y="18002"/>
                    </a:lnTo>
                    <a:cubicBezTo>
                      <a:pt x="45998" y="12783"/>
                      <a:pt x="56994" y="8725"/>
                      <a:pt x="68332" y="5906"/>
                    </a:cubicBezTo>
                    <a:cubicBezTo>
                      <a:pt x="79137" y="3143"/>
                      <a:pt x="90126" y="1172"/>
                      <a:pt x="101215" y="0"/>
                    </a:cubicBezTo>
                    <a:close/>
                    <a:moveTo>
                      <a:pt x="47139" y="62198"/>
                    </a:moveTo>
                    <a:cubicBezTo>
                      <a:pt x="52133" y="65122"/>
                      <a:pt x="57921" y="66389"/>
                      <a:pt x="63675" y="65818"/>
                    </a:cubicBezTo>
                    <a:cubicBezTo>
                      <a:pt x="71401" y="64875"/>
                      <a:pt x="79011" y="63151"/>
                      <a:pt x="86389" y="60674"/>
                    </a:cubicBezTo>
                    <a:lnTo>
                      <a:pt x="50655" y="40005"/>
                    </a:lnTo>
                    <a:cubicBezTo>
                      <a:pt x="37540" y="48578"/>
                      <a:pt x="36368" y="55979"/>
                      <a:pt x="47139" y="62198"/>
                    </a:cubicBezTo>
                    <a:close/>
                    <a:moveTo>
                      <a:pt x="172589" y="72676"/>
                    </a:moveTo>
                    <a:cubicBezTo>
                      <a:pt x="167122" y="69742"/>
                      <a:pt x="160859" y="68637"/>
                      <a:pt x="154722" y="69533"/>
                    </a:cubicBezTo>
                    <a:cubicBezTo>
                      <a:pt x="146250" y="70618"/>
                      <a:pt x="137887" y="72438"/>
                      <a:pt x="129727" y="74962"/>
                    </a:cubicBezTo>
                    <a:lnTo>
                      <a:pt x="165271" y="95536"/>
                    </a:lnTo>
                    <a:cubicBezTo>
                      <a:pt x="180477" y="86296"/>
                      <a:pt x="182853" y="78677"/>
                      <a:pt x="17258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" name="Google Shape;4182;p38">
                <a:extLst>
                  <a:ext uri="{FF2B5EF4-FFF2-40B4-BE49-F238E27FC236}">
                    <a16:creationId xmlns:a16="http://schemas.microsoft.com/office/drawing/2014/main" id="{86EE3EC5-524A-484A-A601-AF9E4AC1FFB4}"/>
                  </a:ext>
                </a:extLst>
              </p:cNvPr>
              <p:cNvSpPr/>
              <p:nvPr/>
            </p:nvSpPr>
            <p:spPr>
              <a:xfrm>
                <a:off x="4352910" y="552802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4183;p38">
                <a:extLst>
                  <a:ext uri="{FF2B5EF4-FFF2-40B4-BE49-F238E27FC236}">
                    <a16:creationId xmlns:a16="http://schemas.microsoft.com/office/drawing/2014/main" id="{15E94BF5-B935-4198-A6CD-44E96C1A1C38}"/>
                  </a:ext>
                </a:extLst>
              </p:cNvPr>
              <p:cNvSpPr/>
              <p:nvPr/>
            </p:nvSpPr>
            <p:spPr>
              <a:xfrm>
                <a:off x="4448518" y="5536215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3" y="12954"/>
                    </a:moveTo>
                    <a:lnTo>
                      <a:pt x="31553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553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4184;p38">
                <a:extLst>
                  <a:ext uri="{FF2B5EF4-FFF2-40B4-BE49-F238E27FC236}">
                    <a16:creationId xmlns:a16="http://schemas.microsoft.com/office/drawing/2014/main" id="{8F62B450-C27C-44B4-83A1-867AA174365C}"/>
                  </a:ext>
                </a:extLst>
              </p:cNvPr>
              <p:cNvSpPr/>
              <p:nvPr/>
            </p:nvSpPr>
            <p:spPr>
              <a:xfrm>
                <a:off x="4459162" y="5488685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4185;p38">
                <a:extLst>
                  <a:ext uri="{FF2B5EF4-FFF2-40B4-BE49-F238E27FC236}">
                    <a16:creationId xmlns:a16="http://schemas.microsoft.com/office/drawing/2014/main" id="{D9464E21-7412-46C6-8D7E-DD6363542053}"/>
                  </a:ext>
                </a:extLst>
              </p:cNvPr>
              <p:cNvSpPr/>
              <p:nvPr/>
            </p:nvSpPr>
            <p:spPr>
              <a:xfrm>
                <a:off x="4384748" y="549354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670"/>
                    </a:lnTo>
                    <a:cubicBezTo>
                      <a:pt x="33929" y="24670"/>
                      <a:pt x="13210" y="15907"/>
                      <a:pt x="12545" y="15145"/>
                    </a:cubicBezTo>
                    <a:cubicBezTo>
                      <a:pt x="11880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" name="Google Shape;4186;p38">
                <a:extLst>
                  <a:ext uri="{FF2B5EF4-FFF2-40B4-BE49-F238E27FC236}">
                    <a16:creationId xmlns:a16="http://schemas.microsoft.com/office/drawing/2014/main" id="{8170D1C9-2753-41BB-B778-20F6178BD531}"/>
                  </a:ext>
                </a:extLst>
              </p:cNvPr>
              <p:cNvSpPr/>
              <p:nvPr/>
            </p:nvSpPr>
            <p:spPr>
              <a:xfrm>
                <a:off x="4312139" y="5452109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441" y="17907"/>
                    </a:cubicBezTo>
                    <a:cubicBezTo>
                      <a:pt x="36140" y="14135"/>
                      <a:pt x="32258" y="10925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4187;p38">
                <a:extLst>
                  <a:ext uri="{FF2B5EF4-FFF2-40B4-BE49-F238E27FC236}">
                    <a16:creationId xmlns:a16="http://schemas.microsoft.com/office/drawing/2014/main" id="{D27154B9-5FC0-48E0-AC5A-1D9A6E6898A4}"/>
                  </a:ext>
                </a:extLst>
              </p:cNvPr>
              <p:cNvSpPr/>
              <p:nvPr/>
            </p:nvSpPr>
            <p:spPr>
              <a:xfrm>
                <a:off x="4352910" y="542858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" name="Google Shape;4188;p38">
                <a:extLst>
                  <a:ext uri="{FF2B5EF4-FFF2-40B4-BE49-F238E27FC236}">
                    <a16:creationId xmlns:a16="http://schemas.microsoft.com/office/drawing/2014/main" id="{0E787816-4ABB-4A49-9CA2-658BA3B92A07}"/>
                  </a:ext>
                </a:extLst>
              </p:cNvPr>
              <p:cNvSpPr/>
              <p:nvPr/>
            </p:nvSpPr>
            <p:spPr>
              <a:xfrm>
                <a:off x="4261008" y="542477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" name="Google Shape;4189;p38">
                <a:extLst>
                  <a:ext uri="{FF2B5EF4-FFF2-40B4-BE49-F238E27FC236}">
                    <a16:creationId xmlns:a16="http://schemas.microsoft.com/office/drawing/2014/main" id="{19260213-CF06-4692-9BC5-59AEE03A946F}"/>
                  </a:ext>
                </a:extLst>
              </p:cNvPr>
              <p:cNvSpPr/>
              <p:nvPr/>
            </p:nvSpPr>
            <p:spPr>
              <a:xfrm>
                <a:off x="4261769" y="5468111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4190;p38">
                <a:extLst>
                  <a:ext uri="{FF2B5EF4-FFF2-40B4-BE49-F238E27FC236}">
                    <a16:creationId xmlns:a16="http://schemas.microsoft.com/office/drawing/2014/main" id="{053A9503-D862-4B8B-A7DC-98E880BF73A5}"/>
                  </a:ext>
                </a:extLst>
              </p:cNvPr>
              <p:cNvSpPr/>
              <p:nvPr/>
            </p:nvSpPr>
            <p:spPr>
              <a:xfrm>
                <a:off x="4261389" y="5412009"/>
                <a:ext cx="22119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97" h="139065" extrusionOk="0">
                    <a:moveTo>
                      <a:pt x="112050" y="22098"/>
                    </a:moveTo>
                    <a:cubicBezTo>
                      <a:pt x="109119" y="22098"/>
                      <a:pt x="106193" y="22355"/>
                      <a:pt x="103306" y="22860"/>
                    </a:cubicBezTo>
                    <a:cubicBezTo>
                      <a:pt x="99441" y="23431"/>
                      <a:pt x="95069" y="24194"/>
                      <a:pt x="90191" y="25146"/>
                    </a:cubicBezTo>
                    <a:cubicBezTo>
                      <a:pt x="85344" y="26194"/>
                      <a:pt x="80687" y="27527"/>
                      <a:pt x="75080" y="29051"/>
                    </a:cubicBezTo>
                    <a:cubicBezTo>
                      <a:pt x="69981" y="30613"/>
                      <a:pt x="64995" y="32518"/>
                      <a:pt x="60159" y="34766"/>
                    </a:cubicBezTo>
                    <a:lnTo>
                      <a:pt x="98174" y="56864"/>
                    </a:lnTo>
                    <a:lnTo>
                      <a:pt x="105017" y="54483"/>
                    </a:lnTo>
                    <a:cubicBezTo>
                      <a:pt x="114521" y="51245"/>
                      <a:pt x="124024" y="48482"/>
                      <a:pt x="132483" y="46196"/>
                    </a:cubicBezTo>
                    <a:cubicBezTo>
                      <a:pt x="140606" y="44063"/>
                      <a:pt x="148910" y="42691"/>
                      <a:pt x="157288" y="42100"/>
                    </a:cubicBezTo>
                    <a:cubicBezTo>
                      <a:pt x="164893" y="41643"/>
                      <a:pt x="172525" y="42158"/>
                      <a:pt x="180002" y="43624"/>
                    </a:cubicBezTo>
                    <a:cubicBezTo>
                      <a:pt x="187668" y="45291"/>
                      <a:pt x="195018" y="48187"/>
                      <a:pt x="201765" y="52197"/>
                    </a:cubicBezTo>
                    <a:cubicBezTo>
                      <a:pt x="208387" y="55540"/>
                      <a:pt x="214046" y="60522"/>
                      <a:pt x="218207" y="66675"/>
                    </a:cubicBezTo>
                    <a:cubicBezTo>
                      <a:pt x="220986" y="71133"/>
                      <a:pt x="221875" y="76514"/>
                      <a:pt x="220678" y="81629"/>
                    </a:cubicBezTo>
                    <a:cubicBezTo>
                      <a:pt x="218855" y="87297"/>
                      <a:pt x="215578" y="92393"/>
                      <a:pt x="211174" y="96393"/>
                    </a:cubicBezTo>
                    <a:cubicBezTo>
                      <a:pt x="205956" y="101689"/>
                      <a:pt x="200116" y="106318"/>
                      <a:pt x="193782" y="110204"/>
                    </a:cubicBezTo>
                    <a:lnTo>
                      <a:pt x="218017" y="124206"/>
                    </a:lnTo>
                    <a:lnTo>
                      <a:pt x="204807" y="131921"/>
                    </a:lnTo>
                    <a:lnTo>
                      <a:pt x="180287" y="117729"/>
                    </a:lnTo>
                    <a:cubicBezTo>
                      <a:pt x="168831" y="123434"/>
                      <a:pt x="156868" y="128064"/>
                      <a:pt x="144553" y="131540"/>
                    </a:cubicBezTo>
                    <a:cubicBezTo>
                      <a:pt x="131385" y="135169"/>
                      <a:pt x="117937" y="137684"/>
                      <a:pt x="104352" y="139065"/>
                    </a:cubicBezTo>
                    <a:lnTo>
                      <a:pt x="91521" y="116014"/>
                    </a:lnTo>
                    <a:cubicBezTo>
                      <a:pt x="95113" y="115967"/>
                      <a:pt x="98698" y="115710"/>
                      <a:pt x="102261" y="115253"/>
                    </a:cubicBezTo>
                    <a:cubicBezTo>
                      <a:pt x="107013" y="114681"/>
                      <a:pt x="112335" y="113729"/>
                      <a:pt x="118227" y="112490"/>
                    </a:cubicBezTo>
                    <a:cubicBezTo>
                      <a:pt x="124119" y="111252"/>
                      <a:pt x="130392" y="109633"/>
                      <a:pt x="137235" y="107728"/>
                    </a:cubicBezTo>
                    <a:cubicBezTo>
                      <a:pt x="143731" y="105842"/>
                      <a:pt x="150083" y="103479"/>
                      <a:pt x="156242" y="100679"/>
                    </a:cubicBezTo>
                    <a:lnTo>
                      <a:pt x="118227" y="78772"/>
                    </a:lnTo>
                    <a:lnTo>
                      <a:pt x="113285" y="80486"/>
                    </a:lnTo>
                    <a:lnTo>
                      <a:pt x="108058" y="82105"/>
                    </a:lnTo>
                    <a:cubicBezTo>
                      <a:pt x="99447" y="85001"/>
                      <a:pt x="90692" y="87449"/>
                      <a:pt x="81828" y="89440"/>
                    </a:cubicBezTo>
                    <a:cubicBezTo>
                      <a:pt x="74467" y="91183"/>
                      <a:pt x="66956" y="92202"/>
                      <a:pt x="59399" y="92488"/>
                    </a:cubicBezTo>
                    <a:cubicBezTo>
                      <a:pt x="52754" y="92745"/>
                      <a:pt x="46105" y="92107"/>
                      <a:pt x="39631" y="90583"/>
                    </a:cubicBezTo>
                    <a:cubicBezTo>
                      <a:pt x="33193" y="89049"/>
                      <a:pt x="27013" y="86573"/>
                      <a:pt x="21288" y="83248"/>
                    </a:cubicBezTo>
                    <a:cubicBezTo>
                      <a:pt x="14922" y="79981"/>
                      <a:pt x="9393" y="75286"/>
                      <a:pt x="5132" y="69532"/>
                    </a:cubicBezTo>
                    <a:cubicBezTo>
                      <a:pt x="2001" y="65275"/>
                      <a:pt x="454" y="60055"/>
                      <a:pt x="760" y="54769"/>
                    </a:cubicBezTo>
                    <a:cubicBezTo>
                      <a:pt x="1351" y="49311"/>
                      <a:pt x="3533" y="44139"/>
                      <a:pt x="7033" y="39910"/>
                    </a:cubicBezTo>
                    <a:cubicBezTo>
                      <a:pt x="11467" y="34462"/>
                      <a:pt x="16689" y="29708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19" y="12849"/>
                      <a:pt x="57010" y="8830"/>
                      <a:pt x="68332" y="6001"/>
                    </a:cubicBezTo>
                    <a:cubicBezTo>
                      <a:pt x="79145" y="3258"/>
                      <a:pt x="90131" y="1248"/>
                      <a:pt x="101215" y="0"/>
                    </a:cubicBezTo>
                    <a:close/>
                    <a:moveTo>
                      <a:pt x="47139" y="62294"/>
                    </a:moveTo>
                    <a:cubicBezTo>
                      <a:pt x="52142" y="65189"/>
                      <a:pt x="57930" y="66418"/>
                      <a:pt x="63675" y="65818"/>
                    </a:cubicBezTo>
                    <a:cubicBezTo>
                      <a:pt x="71416" y="64970"/>
                      <a:pt x="79036" y="63246"/>
                      <a:pt x="86389" y="60674"/>
                    </a:cubicBezTo>
                    <a:lnTo>
                      <a:pt x="50655" y="40005"/>
                    </a:lnTo>
                    <a:cubicBezTo>
                      <a:pt x="37540" y="48578"/>
                      <a:pt x="36368" y="56007"/>
                      <a:pt x="47139" y="62294"/>
                    </a:cubicBezTo>
                    <a:close/>
                    <a:moveTo>
                      <a:pt x="172589" y="72771"/>
                    </a:moveTo>
                    <a:cubicBezTo>
                      <a:pt x="167144" y="69771"/>
                      <a:pt x="160871" y="68628"/>
                      <a:pt x="154722" y="69532"/>
                    </a:cubicBezTo>
                    <a:cubicBezTo>
                      <a:pt x="146240" y="70609"/>
                      <a:pt x="137873" y="72457"/>
                      <a:pt x="129727" y="75057"/>
                    </a:cubicBezTo>
                    <a:lnTo>
                      <a:pt x="165271" y="95631"/>
                    </a:lnTo>
                    <a:cubicBezTo>
                      <a:pt x="180477" y="86296"/>
                      <a:pt x="182853" y="78677"/>
                      <a:pt x="17258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6" name="Google Shape;4191;p38">
              <a:extLst>
                <a:ext uri="{FF2B5EF4-FFF2-40B4-BE49-F238E27FC236}">
                  <a16:creationId xmlns:a16="http://schemas.microsoft.com/office/drawing/2014/main" id="{C9934591-F887-494D-9F1C-48EF7F6C479A}"/>
                </a:ext>
              </a:extLst>
            </p:cNvPr>
            <p:cNvGrpSpPr/>
            <p:nvPr/>
          </p:nvGrpSpPr>
          <p:grpSpPr>
            <a:xfrm>
              <a:off x="2290688" y="4374965"/>
              <a:ext cx="664599" cy="467010"/>
              <a:chOff x="4071788" y="5191315"/>
              <a:chExt cx="664599" cy="467010"/>
            </a:xfrm>
          </p:grpSpPr>
          <p:sp>
            <p:nvSpPr>
              <p:cNvPr id="205" name="Google Shape;4192;p38">
                <a:extLst>
                  <a:ext uri="{FF2B5EF4-FFF2-40B4-BE49-F238E27FC236}">
                    <a16:creationId xmlns:a16="http://schemas.microsoft.com/office/drawing/2014/main" id="{AF2B47D4-7807-4338-B6F5-359436F42DAC}"/>
                  </a:ext>
                </a:extLst>
              </p:cNvPr>
              <p:cNvSpPr/>
              <p:nvPr/>
            </p:nvSpPr>
            <p:spPr>
              <a:xfrm>
                <a:off x="4071788" y="527370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4193;p38">
                <a:extLst>
                  <a:ext uri="{FF2B5EF4-FFF2-40B4-BE49-F238E27FC236}">
                    <a16:creationId xmlns:a16="http://schemas.microsoft.com/office/drawing/2014/main" id="{F9909726-2951-432B-B06D-2FA2E342521A}"/>
                  </a:ext>
                </a:extLst>
              </p:cNvPr>
              <p:cNvSpPr/>
              <p:nvPr/>
            </p:nvSpPr>
            <p:spPr>
              <a:xfrm>
                <a:off x="4071883" y="5381339"/>
                <a:ext cx="65671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4194;p38">
                <a:extLst>
                  <a:ext uri="{FF2B5EF4-FFF2-40B4-BE49-F238E27FC236}">
                    <a16:creationId xmlns:a16="http://schemas.microsoft.com/office/drawing/2014/main" id="{EA9D9159-7FC9-4993-A9E4-685D00F74E58}"/>
                  </a:ext>
                </a:extLst>
              </p:cNvPr>
              <p:cNvSpPr/>
              <p:nvPr/>
            </p:nvSpPr>
            <p:spPr>
              <a:xfrm>
                <a:off x="4686303" y="5383625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4195;p38">
                <a:extLst>
                  <a:ext uri="{FF2B5EF4-FFF2-40B4-BE49-F238E27FC236}">
                    <a16:creationId xmlns:a16="http://schemas.microsoft.com/office/drawing/2014/main" id="{5164537C-B266-4B18-BD34-C0082CD77F58}"/>
                  </a:ext>
                </a:extLst>
              </p:cNvPr>
              <p:cNvSpPr/>
              <p:nvPr/>
            </p:nvSpPr>
            <p:spPr>
              <a:xfrm>
                <a:off x="4071788" y="519131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4196;p38">
                <a:extLst>
                  <a:ext uri="{FF2B5EF4-FFF2-40B4-BE49-F238E27FC236}">
                    <a16:creationId xmlns:a16="http://schemas.microsoft.com/office/drawing/2014/main" id="{AEB9E8B2-3548-4CD2-BE8F-55695521C0A8}"/>
                  </a:ext>
                </a:extLst>
              </p:cNvPr>
              <p:cNvSpPr/>
              <p:nvPr/>
            </p:nvSpPr>
            <p:spPr>
              <a:xfrm>
                <a:off x="4166288" y="5243631"/>
                <a:ext cx="475673" cy="275343"/>
              </a:xfrm>
              <a:custGeom>
                <a:avLst/>
                <a:gdLst/>
                <a:ahLst/>
                <a:cxnLst/>
                <a:rect l="l" t="t" r="r" b="b"/>
                <a:pathLst>
                  <a:path w="475673" h="275343" extrusionOk="0">
                    <a:moveTo>
                      <a:pt x="475252" y="145899"/>
                    </a:moveTo>
                    <a:cubicBezTo>
                      <a:pt x="471830" y="178284"/>
                      <a:pt x="448831" y="210193"/>
                      <a:pt x="405969" y="235053"/>
                    </a:cubicBezTo>
                    <a:cubicBezTo>
                      <a:pt x="313117" y="288774"/>
                      <a:pt x="162482" y="288774"/>
                      <a:pt x="69535" y="235053"/>
                    </a:cubicBezTo>
                    <a:cubicBezTo>
                      <a:pt x="26768" y="210193"/>
                      <a:pt x="3769" y="177903"/>
                      <a:pt x="443" y="145899"/>
                    </a:cubicBezTo>
                    <a:cubicBezTo>
                      <a:pt x="-3549" y="107799"/>
                      <a:pt x="19450" y="69699"/>
                      <a:pt x="69535" y="40362"/>
                    </a:cubicBezTo>
                    <a:cubicBezTo>
                      <a:pt x="162482" y="-13454"/>
                      <a:pt x="313117" y="-13454"/>
                      <a:pt x="405969" y="40362"/>
                    </a:cubicBezTo>
                    <a:cubicBezTo>
                      <a:pt x="456054" y="69318"/>
                      <a:pt x="479148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4197;p38">
                <a:extLst>
                  <a:ext uri="{FF2B5EF4-FFF2-40B4-BE49-F238E27FC236}">
                    <a16:creationId xmlns:a16="http://schemas.microsoft.com/office/drawing/2014/main" id="{977CF1D4-91D0-43A3-A1BC-3734778993CB}"/>
                  </a:ext>
                </a:extLst>
              </p:cNvPr>
              <p:cNvSpPr/>
              <p:nvPr/>
            </p:nvSpPr>
            <p:spPr>
              <a:xfrm>
                <a:off x="4166731" y="5260109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421"/>
                    </a:moveTo>
                    <a:cubicBezTo>
                      <a:pt x="471388" y="161806"/>
                      <a:pt x="448389" y="193715"/>
                      <a:pt x="405527" y="218575"/>
                    </a:cubicBezTo>
                    <a:cubicBezTo>
                      <a:pt x="312675" y="272296"/>
                      <a:pt x="162040" y="272296"/>
                      <a:pt x="69093" y="218575"/>
                    </a:cubicBezTo>
                    <a:cubicBezTo>
                      <a:pt x="26325" y="193715"/>
                      <a:pt x="3326" y="161425"/>
                      <a:pt x="0" y="129421"/>
                    </a:cubicBezTo>
                    <a:cubicBezTo>
                      <a:pt x="3326" y="97036"/>
                      <a:pt x="26325" y="65222"/>
                      <a:pt x="69093" y="40362"/>
                    </a:cubicBezTo>
                    <a:cubicBezTo>
                      <a:pt x="162040" y="-13454"/>
                      <a:pt x="312675" y="-13454"/>
                      <a:pt x="405527" y="40362"/>
                    </a:cubicBezTo>
                    <a:cubicBezTo>
                      <a:pt x="448389" y="65222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4198;p38">
                <a:extLst>
                  <a:ext uri="{FF2B5EF4-FFF2-40B4-BE49-F238E27FC236}">
                    <a16:creationId xmlns:a16="http://schemas.microsoft.com/office/drawing/2014/main" id="{4ECC82FD-C573-4477-A9ED-A9B046A20D0B}"/>
                  </a:ext>
                </a:extLst>
              </p:cNvPr>
              <p:cNvSpPr/>
              <p:nvPr/>
            </p:nvSpPr>
            <p:spPr>
              <a:xfrm>
                <a:off x="4287999" y="5322379"/>
                <a:ext cx="221706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706" h="139065" extrusionOk="0">
                    <a:moveTo>
                      <a:pt x="112620" y="22098"/>
                    </a:moveTo>
                    <a:cubicBezTo>
                      <a:pt x="109691" y="22146"/>
                      <a:pt x="106769" y="22403"/>
                      <a:pt x="103876" y="22860"/>
                    </a:cubicBezTo>
                    <a:cubicBezTo>
                      <a:pt x="99980" y="23431"/>
                      <a:pt x="95608" y="24194"/>
                      <a:pt x="90761" y="25241"/>
                    </a:cubicBezTo>
                    <a:cubicBezTo>
                      <a:pt x="85627" y="26280"/>
                      <a:pt x="80552" y="27575"/>
                      <a:pt x="75555" y="29146"/>
                    </a:cubicBezTo>
                    <a:cubicBezTo>
                      <a:pt x="70475" y="30632"/>
                      <a:pt x="65518" y="32509"/>
                      <a:pt x="60729" y="34766"/>
                    </a:cubicBezTo>
                    <a:lnTo>
                      <a:pt x="98744" y="56864"/>
                    </a:lnTo>
                    <a:lnTo>
                      <a:pt x="105587" y="54483"/>
                    </a:lnTo>
                    <a:cubicBezTo>
                      <a:pt x="115091" y="51245"/>
                      <a:pt x="124595" y="48482"/>
                      <a:pt x="133053" y="46196"/>
                    </a:cubicBezTo>
                    <a:cubicBezTo>
                      <a:pt x="141144" y="44063"/>
                      <a:pt x="149417" y="42691"/>
                      <a:pt x="157763" y="42101"/>
                    </a:cubicBezTo>
                    <a:cubicBezTo>
                      <a:pt x="165404" y="41624"/>
                      <a:pt x="173074" y="42167"/>
                      <a:pt x="180572" y="43720"/>
                    </a:cubicBezTo>
                    <a:cubicBezTo>
                      <a:pt x="188218" y="45310"/>
                      <a:pt x="195542" y="48178"/>
                      <a:pt x="202241" y="52197"/>
                    </a:cubicBezTo>
                    <a:cubicBezTo>
                      <a:pt x="208885" y="55550"/>
                      <a:pt x="214575" y="60522"/>
                      <a:pt x="218777" y="66675"/>
                    </a:cubicBezTo>
                    <a:cubicBezTo>
                      <a:pt x="221533" y="71142"/>
                      <a:pt x="222390" y="76524"/>
                      <a:pt x="221153" y="81629"/>
                    </a:cubicBezTo>
                    <a:cubicBezTo>
                      <a:pt x="219541" y="87259"/>
                      <a:pt x="216457" y="92355"/>
                      <a:pt x="212220" y="96393"/>
                    </a:cubicBezTo>
                    <a:cubicBezTo>
                      <a:pt x="206946" y="101660"/>
                      <a:pt x="201077" y="106299"/>
                      <a:pt x="194733" y="110204"/>
                    </a:cubicBezTo>
                    <a:lnTo>
                      <a:pt x="219062" y="124206"/>
                    </a:lnTo>
                    <a:lnTo>
                      <a:pt x="205852" y="131921"/>
                    </a:lnTo>
                    <a:lnTo>
                      <a:pt x="181332" y="117729"/>
                    </a:lnTo>
                    <a:cubicBezTo>
                      <a:pt x="169629" y="123473"/>
                      <a:pt x="157410" y="128102"/>
                      <a:pt x="144838" y="131540"/>
                    </a:cubicBezTo>
                    <a:cubicBezTo>
                      <a:pt x="131674" y="135179"/>
                      <a:pt x="118225" y="137703"/>
                      <a:pt x="104637" y="139065"/>
                    </a:cubicBezTo>
                    <a:lnTo>
                      <a:pt x="92567" y="116396"/>
                    </a:lnTo>
                    <a:cubicBezTo>
                      <a:pt x="96128" y="116300"/>
                      <a:pt x="99680" y="116014"/>
                      <a:pt x="103211" y="115538"/>
                    </a:cubicBezTo>
                    <a:cubicBezTo>
                      <a:pt x="108058" y="114967"/>
                      <a:pt x="113380" y="114014"/>
                      <a:pt x="119273" y="112776"/>
                    </a:cubicBezTo>
                    <a:cubicBezTo>
                      <a:pt x="125165" y="111538"/>
                      <a:pt x="131342" y="109919"/>
                      <a:pt x="138280" y="108013"/>
                    </a:cubicBezTo>
                    <a:cubicBezTo>
                      <a:pt x="144781" y="106175"/>
                      <a:pt x="151135" y="103851"/>
                      <a:pt x="157288" y="101060"/>
                    </a:cubicBezTo>
                    <a:lnTo>
                      <a:pt x="119273" y="79057"/>
                    </a:lnTo>
                    <a:lnTo>
                      <a:pt x="114236" y="80772"/>
                    </a:lnTo>
                    <a:lnTo>
                      <a:pt x="109104" y="82391"/>
                    </a:lnTo>
                    <a:cubicBezTo>
                      <a:pt x="99600" y="85535"/>
                      <a:pt x="90761" y="88011"/>
                      <a:pt x="82778" y="89821"/>
                    </a:cubicBezTo>
                    <a:cubicBezTo>
                      <a:pt x="75409" y="91497"/>
                      <a:pt x="67901" y="92488"/>
                      <a:pt x="60349" y="92773"/>
                    </a:cubicBezTo>
                    <a:cubicBezTo>
                      <a:pt x="53710" y="93002"/>
                      <a:pt x="47068" y="92402"/>
                      <a:pt x="40581" y="90964"/>
                    </a:cubicBezTo>
                    <a:cubicBezTo>
                      <a:pt x="34183" y="89354"/>
                      <a:pt x="28042" y="86849"/>
                      <a:pt x="22334" y="83534"/>
                    </a:cubicBezTo>
                    <a:cubicBezTo>
                      <a:pt x="16043" y="80229"/>
                      <a:pt x="10584" y="75543"/>
                      <a:pt x="6368" y="69818"/>
                    </a:cubicBezTo>
                    <a:cubicBezTo>
                      <a:pt x="3291" y="65532"/>
                      <a:pt x="1781" y="60322"/>
                      <a:pt x="2091" y="55054"/>
                    </a:cubicBezTo>
                    <a:cubicBezTo>
                      <a:pt x="2294" y="49730"/>
                      <a:pt x="4009" y="44577"/>
                      <a:pt x="7033" y="40196"/>
                    </a:cubicBezTo>
                    <a:cubicBezTo>
                      <a:pt x="11467" y="34747"/>
                      <a:pt x="16689" y="29994"/>
                      <a:pt x="22524" y="26098"/>
                    </a:cubicBezTo>
                    <a:lnTo>
                      <a:pt x="0" y="13049"/>
                    </a:lnTo>
                    <a:lnTo>
                      <a:pt x="13210" y="5429"/>
                    </a:lnTo>
                    <a:lnTo>
                      <a:pt x="35544" y="18002"/>
                    </a:lnTo>
                    <a:cubicBezTo>
                      <a:pt x="46019" y="12849"/>
                      <a:pt x="57010" y="8830"/>
                      <a:pt x="68332" y="6001"/>
                    </a:cubicBezTo>
                    <a:cubicBezTo>
                      <a:pt x="79113" y="3258"/>
                      <a:pt x="90067" y="1248"/>
                      <a:pt x="101120" y="0"/>
                    </a:cubicBezTo>
                    <a:close/>
                    <a:moveTo>
                      <a:pt x="47614" y="62294"/>
                    </a:moveTo>
                    <a:cubicBezTo>
                      <a:pt x="52651" y="65189"/>
                      <a:pt x="58470" y="66418"/>
                      <a:pt x="64246" y="65818"/>
                    </a:cubicBezTo>
                    <a:cubicBezTo>
                      <a:pt x="71975" y="64951"/>
                      <a:pt x="79590" y="63265"/>
                      <a:pt x="86960" y="60770"/>
                    </a:cubicBezTo>
                    <a:lnTo>
                      <a:pt x="51225" y="40196"/>
                    </a:lnTo>
                    <a:cubicBezTo>
                      <a:pt x="38110" y="48673"/>
                      <a:pt x="36875" y="56007"/>
                      <a:pt x="47614" y="62294"/>
                    </a:cubicBezTo>
                    <a:close/>
                    <a:moveTo>
                      <a:pt x="173064" y="72771"/>
                    </a:moveTo>
                    <a:cubicBezTo>
                      <a:pt x="167619" y="69771"/>
                      <a:pt x="161346" y="68628"/>
                      <a:pt x="155197" y="69532"/>
                    </a:cubicBezTo>
                    <a:cubicBezTo>
                      <a:pt x="146746" y="70609"/>
                      <a:pt x="138412" y="72457"/>
                      <a:pt x="130297" y="75057"/>
                    </a:cubicBezTo>
                    <a:lnTo>
                      <a:pt x="165841" y="95631"/>
                    </a:lnTo>
                    <a:cubicBezTo>
                      <a:pt x="180952" y="86296"/>
                      <a:pt x="183423" y="78296"/>
                      <a:pt x="173064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4199;p38">
                <a:extLst>
                  <a:ext uri="{FF2B5EF4-FFF2-40B4-BE49-F238E27FC236}">
                    <a16:creationId xmlns:a16="http://schemas.microsoft.com/office/drawing/2014/main" id="{6D8247D0-5B42-4B10-BE2A-72784AEC60D0}"/>
                  </a:ext>
                </a:extLst>
              </p:cNvPr>
              <p:cNvSpPr/>
              <p:nvPr/>
            </p:nvSpPr>
            <p:spPr>
              <a:xfrm>
                <a:off x="4380566" y="5425821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4200;p38">
                <a:extLst>
                  <a:ext uri="{FF2B5EF4-FFF2-40B4-BE49-F238E27FC236}">
                    <a16:creationId xmlns:a16="http://schemas.microsoft.com/office/drawing/2014/main" id="{6574970D-6E1D-4D83-8365-43C365CEE801}"/>
                  </a:ext>
                </a:extLst>
              </p:cNvPr>
              <p:cNvSpPr/>
              <p:nvPr/>
            </p:nvSpPr>
            <p:spPr>
              <a:xfrm>
                <a:off x="4475699" y="5433726"/>
                <a:ext cx="31552" cy="14763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763" extrusionOk="0">
                    <a:moveTo>
                      <a:pt x="31553" y="12859"/>
                    </a:moveTo>
                    <a:lnTo>
                      <a:pt x="31553" y="0"/>
                    </a:lnTo>
                    <a:lnTo>
                      <a:pt x="0" y="2381"/>
                    </a:lnTo>
                    <a:lnTo>
                      <a:pt x="18152" y="14764"/>
                    </a:lnTo>
                    <a:lnTo>
                      <a:pt x="31553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4201;p38">
                <a:extLst>
                  <a:ext uri="{FF2B5EF4-FFF2-40B4-BE49-F238E27FC236}">
                    <a16:creationId xmlns:a16="http://schemas.microsoft.com/office/drawing/2014/main" id="{0E7CE465-C42C-4909-B455-B1C608879FCD}"/>
                  </a:ext>
                </a:extLst>
              </p:cNvPr>
              <p:cNvSpPr/>
              <p:nvPr/>
            </p:nvSpPr>
            <p:spPr>
              <a:xfrm>
                <a:off x="4486248" y="5386197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4202;p38">
                <a:extLst>
                  <a:ext uri="{FF2B5EF4-FFF2-40B4-BE49-F238E27FC236}">
                    <a16:creationId xmlns:a16="http://schemas.microsoft.com/office/drawing/2014/main" id="{A7D0FBC0-54C6-41C5-A64A-A5B8238A474A}"/>
                  </a:ext>
                </a:extLst>
              </p:cNvPr>
              <p:cNvSpPr/>
              <p:nvPr/>
            </p:nvSpPr>
            <p:spPr>
              <a:xfrm>
                <a:off x="4411929" y="5390959"/>
                <a:ext cx="35639" cy="24764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4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4203;p38">
                <a:extLst>
                  <a:ext uri="{FF2B5EF4-FFF2-40B4-BE49-F238E27FC236}">
                    <a16:creationId xmlns:a16="http://schemas.microsoft.com/office/drawing/2014/main" id="{7B0278BA-2D6D-4E71-A89B-1D80FAE68061}"/>
                  </a:ext>
                </a:extLst>
              </p:cNvPr>
              <p:cNvSpPr/>
              <p:nvPr/>
            </p:nvSpPr>
            <p:spPr>
              <a:xfrm>
                <a:off x="4339320" y="5349621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191"/>
                    </a:moveTo>
                    <a:lnTo>
                      <a:pt x="36780" y="29146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346" y="17812"/>
                    </a:cubicBezTo>
                    <a:cubicBezTo>
                      <a:pt x="36032" y="14097"/>
                      <a:pt x="32188" y="10887"/>
                      <a:pt x="27941" y="8287"/>
                    </a:cubicBezTo>
                    <a:cubicBezTo>
                      <a:pt x="25185" y="7810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4204;p38">
                <a:extLst>
                  <a:ext uri="{FF2B5EF4-FFF2-40B4-BE49-F238E27FC236}">
                    <a16:creationId xmlns:a16="http://schemas.microsoft.com/office/drawing/2014/main" id="{913E6BB6-A699-45D6-81F2-9C90CB10FBA3}"/>
                  </a:ext>
                </a:extLst>
              </p:cNvPr>
              <p:cNvSpPr/>
              <p:nvPr/>
            </p:nvSpPr>
            <p:spPr>
              <a:xfrm>
                <a:off x="4380091" y="5326094"/>
                <a:ext cx="20528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383" extrusionOk="0">
                    <a:moveTo>
                      <a:pt x="20528" y="18383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4205;p38">
                <a:extLst>
                  <a:ext uri="{FF2B5EF4-FFF2-40B4-BE49-F238E27FC236}">
                    <a16:creationId xmlns:a16="http://schemas.microsoft.com/office/drawing/2014/main" id="{EBE8D8D2-DB88-4B07-82D5-BD2B8D07F247}"/>
                  </a:ext>
                </a:extLst>
              </p:cNvPr>
              <p:cNvSpPr/>
              <p:nvPr/>
            </p:nvSpPr>
            <p:spPr>
              <a:xfrm>
                <a:off x="4288189" y="5322284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4206;p38">
                <a:extLst>
                  <a:ext uri="{FF2B5EF4-FFF2-40B4-BE49-F238E27FC236}">
                    <a16:creationId xmlns:a16="http://schemas.microsoft.com/office/drawing/2014/main" id="{8DDFBE11-374E-4A05-AAEC-15D7C717B10C}"/>
                  </a:ext>
                </a:extLst>
              </p:cNvPr>
              <p:cNvSpPr/>
              <p:nvPr/>
            </p:nvSpPr>
            <p:spPr>
              <a:xfrm>
                <a:off x="4288855" y="5365623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cubicBezTo>
                      <a:pt x="0" y="13430"/>
                      <a:pt x="0" y="0"/>
                      <a:pt x="0" y="0"/>
                    </a:cubicBezTo>
                    <a:lnTo>
                      <a:pt x="22429" y="0"/>
                    </a:lnTo>
                    <a:lnTo>
                      <a:pt x="16917" y="12001"/>
                    </a:lnTo>
                    <a:lnTo>
                      <a:pt x="7413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4207;p38">
                <a:extLst>
                  <a:ext uri="{FF2B5EF4-FFF2-40B4-BE49-F238E27FC236}">
                    <a16:creationId xmlns:a16="http://schemas.microsoft.com/office/drawing/2014/main" id="{F076EEC4-54A0-43C3-9FA7-9E924ADF738F}"/>
                  </a:ext>
                </a:extLst>
              </p:cNvPr>
              <p:cNvSpPr/>
              <p:nvPr/>
            </p:nvSpPr>
            <p:spPr>
              <a:xfrm>
                <a:off x="4289330" y="5309520"/>
                <a:ext cx="220369" cy="139160"/>
              </a:xfrm>
              <a:custGeom>
                <a:avLst/>
                <a:gdLst/>
                <a:ahLst/>
                <a:cxnLst/>
                <a:rect l="l" t="t" r="r" b="b"/>
                <a:pathLst>
                  <a:path w="220369" h="139160" extrusionOk="0">
                    <a:moveTo>
                      <a:pt x="111289" y="22098"/>
                    </a:moveTo>
                    <a:cubicBezTo>
                      <a:pt x="108361" y="22060"/>
                      <a:pt x="105434" y="22279"/>
                      <a:pt x="102546" y="22765"/>
                    </a:cubicBezTo>
                    <a:cubicBezTo>
                      <a:pt x="98649" y="23336"/>
                      <a:pt x="94278" y="24098"/>
                      <a:pt x="89431" y="25146"/>
                    </a:cubicBezTo>
                    <a:cubicBezTo>
                      <a:pt x="84584" y="26194"/>
                      <a:pt x="79452" y="27432"/>
                      <a:pt x="74225" y="29051"/>
                    </a:cubicBezTo>
                    <a:cubicBezTo>
                      <a:pt x="69142" y="30566"/>
                      <a:pt x="64185" y="32480"/>
                      <a:pt x="59399" y="34766"/>
                    </a:cubicBezTo>
                    <a:lnTo>
                      <a:pt x="97414" y="56864"/>
                    </a:lnTo>
                    <a:lnTo>
                      <a:pt x="104257" y="54388"/>
                    </a:lnTo>
                    <a:cubicBezTo>
                      <a:pt x="113760" y="51149"/>
                      <a:pt x="123264" y="48482"/>
                      <a:pt x="131722" y="46196"/>
                    </a:cubicBezTo>
                    <a:cubicBezTo>
                      <a:pt x="139804" y="44015"/>
                      <a:pt x="148080" y="42644"/>
                      <a:pt x="156432" y="42101"/>
                    </a:cubicBezTo>
                    <a:cubicBezTo>
                      <a:pt x="164070" y="41596"/>
                      <a:pt x="171739" y="42101"/>
                      <a:pt x="179241" y="43625"/>
                    </a:cubicBezTo>
                    <a:cubicBezTo>
                      <a:pt x="186874" y="45253"/>
                      <a:pt x="194193" y="48120"/>
                      <a:pt x="200910" y="52102"/>
                    </a:cubicBezTo>
                    <a:cubicBezTo>
                      <a:pt x="207554" y="55455"/>
                      <a:pt x="213244" y="60427"/>
                      <a:pt x="217447" y="66580"/>
                    </a:cubicBezTo>
                    <a:cubicBezTo>
                      <a:pt x="220193" y="71047"/>
                      <a:pt x="221049" y="76429"/>
                      <a:pt x="219823" y="81534"/>
                    </a:cubicBezTo>
                    <a:cubicBezTo>
                      <a:pt x="218233" y="87173"/>
                      <a:pt x="215145" y="92278"/>
                      <a:pt x="210889" y="96298"/>
                    </a:cubicBezTo>
                    <a:cubicBezTo>
                      <a:pt x="205705" y="101613"/>
                      <a:pt x="199897" y="106289"/>
                      <a:pt x="193592" y="110204"/>
                    </a:cubicBezTo>
                    <a:lnTo>
                      <a:pt x="217922" y="124301"/>
                    </a:lnTo>
                    <a:lnTo>
                      <a:pt x="204712" y="131921"/>
                    </a:lnTo>
                    <a:lnTo>
                      <a:pt x="180192" y="117729"/>
                    </a:lnTo>
                    <a:cubicBezTo>
                      <a:pt x="168525" y="123558"/>
                      <a:pt x="156297" y="128188"/>
                      <a:pt x="143697" y="131540"/>
                    </a:cubicBezTo>
                    <a:cubicBezTo>
                      <a:pt x="130535" y="135217"/>
                      <a:pt x="117088" y="137760"/>
                      <a:pt x="103496" y="139160"/>
                    </a:cubicBezTo>
                    <a:lnTo>
                      <a:pt x="91236" y="116014"/>
                    </a:lnTo>
                    <a:cubicBezTo>
                      <a:pt x="94797" y="115919"/>
                      <a:pt x="98350" y="115634"/>
                      <a:pt x="101881" y="115157"/>
                    </a:cubicBezTo>
                    <a:cubicBezTo>
                      <a:pt x="107279" y="114519"/>
                      <a:pt x="112641" y="113595"/>
                      <a:pt x="117942" y="112395"/>
                    </a:cubicBezTo>
                    <a:cubicBezTo>
                      <a:pt x="123834" y="111157"/>
                      <a:pt x="130012" y="109538"/>
                      <a:pt x="136950" y="107633"/>
                    </a:cubicBezTo>
                    <a:cubicBezTo>
                      <a:pt x="143464" y="105842"/>
                      <a:pt x="149821" y="103518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248"/>
                      <a:pt x="114616" y="79915"/>
                      <a:pt x="112905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7" y="89440"/>
                    </a:cubicBezTo>
                    <a:cubicBezTo>
                      <a:pt x="74081" y="91145"/>
                      <a:pt x="66572" y="92164"/>
                      <a:pt x="59019" y="92488"/>
                    </a:cubicBezTo>
                    <a:cubicBezTo>
                      <a:pt x="52375" y="92688"/>
                      <a:pt x="45733" y="92050"/>
                      <a:pt x="39251" y="90583"/>
                    </a:cubicBezTo>
                    <a:cubicBezTo>
                      <a:pt x="32826" y="89049"/>
                      <a:pt x="26672" y="86544"/>
                      <a:pt x="21003" y="83153"/>
                    </a:cubicBezTo>
                    <a:cubicBezTo>
                      <a:pt x="14721" y="79886"/>
                      <a:pt x="9261" y="75229"/>
                      <a:pt x="5037" y="69533"/>
                    </a:cubicBezTo>
                    <a:cubicBezTo>
                      <a:pt x="1975" y="65246"/>
                      <a:pt x="466" y="60036"/>
                      <a:pt x="760" y="54769"/>
                    </a:cubicBezTo>
                    <a:cubicBezTo>
                      <a:pt x="1328" y="49273"/>
                      <a:pt x="3511" y="44063"/>
                      <a:pt x="7033" y="39814"/>
                    </a:cubicBezTo>
                    <a:cubicBezTo>
                      <a:pt x="11472" y="34404"/>
                      <a:pt x="16693" y="29680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4214" y="18002"/>
                    </a:lnTo>
                    <a:cubicBezTo>
                      <a:pt x="44668" y="12783"/>
                      <a:pt x="55664" y="8725"/>
                      <a:pt x="67002" y="5905"/>
                    </a:cubicBezTo>
                    <a:cubicBezTo>
                      <a:pt x="77774" y="3143"/>
                      <a:pt x="88732" y="1172"/>
                      <a:pt x="99790" y="0"/>
                    </a:cubicBezTo>
                    <a:close/>
                    <a:moveTo>
                      <a:pt x="46283" y="62579"/>
                    </a:moveTo>
                    <a:cubicBezTo>
                      <a:pt x="51312" y="65504"/>
                      <a:pt x="57130" y="66770"/>
                      <a:pt x="62915" y="66199"/>
                    </a:cubicBezTo>
                    <a:cubicBezTo>
                      <a:pt x="70639" y="65246"/>
                      <a:pt x="78248" y="63522"/>
                      <a:pt x="85629" y="61055"/>
                    </a:cubicBezTo>
                    <a:lnTo>
                      <a:pt x="49895" y="40386"/>
                    </a:lnTo>
                    <a:cubicBezTo>
                      <a:pt x="36780" y="48835"/>
                      <a:pt x="35576" y="56226"/>
                      <a:pt x="46283" y="62579"/>
                    </a:cubicBezTo>
                    <a:close/>
                    <a:moveTo>
                      <a:pt x="171733" y="73057"/>
                    </a:moveTo>
                    <a:cubicBezTo>
                      <a:pt x="166278" y="70085"/>
                      <a:pt x="160005" y="68980"/>
                      <a:pt x="153866" y="69913"/>
                    </a:cubicBezTo>
                    <a:cubicBezTo>
                      <a:pt x="145426" y="70999"/>
                      <a:pt x="137095" y="72819"/>
                      <a:pt x="128966" y="75343"/>
                    </a:cubicBezTo>
                    <a:lnTo>
                      <a:pt x="164511" y="95917"/>
                    </a:lnTo>
                    <a:cubicBezTo>
                      <a:pt x="179622" y="86296"/>
                      <a:pt x="182093" y="78677"/>
                      <a:pt x="171733" y="7267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7" name="Google Shape;4208;p38">
              <a:extLst>
                <a:ext uri="{FF2B5EF4-FFF2-40B4-BE49-F238E27FC236}">
                  <a16:creationId xmlns:a16="http://schemas.microsoft.com/office/drawing/2014/main" id="{30B8B2BE-4DB1-4796-9ED8-281705EB695D}"/>
                </a:ext>
              </a:extLst>
            </p:cNvPr>
            <p:cNvGrpSpPr/>
            <p:nvPr/>
          </p:nvGrpSpPr>
          <p:grpSpPr>
            <a:xfrm>
              <a:off x="3915836" y="4477454"/>
              <a:ext cx="746806" cy="516445"/>
              <a:chOff x="5696936" y="5293804"/>
              <a:chExt cx="746806" cy="516445"/>
            </a:xfrm>
          </p:grpSpPr>
          <p:sp>
            <p:nvSpPr>
              <p:cNvPr id="188" name="Google Shape;4209;p38">
                <a:extLst>
                  <a:ext uri="{FF2B5EF4-FFF2-40B4-BE49-F238E27FC236}">
                    <a16:creationId xmlns:a16="http://schemas.microsoft.com/office/drawing/2014/main" id="{B6DB9663-D2BA-48E1-96C0-3E97D25FCDD3}"/>
                  </a:ext>
                </a:extLst>
              </p:cNvPr>
              <p:cNvSpPr/>
              <p:nvPr/>
            </p:nvSpPr>
            <p:spPr>
              <a:xfrm>
                <a:off x="5696936" y="5425630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" name="Google Shape;4210;p38">
                <a:extLst>
                  <a:ext uri="{FF2B5EF4-FFF2-40B4-BE49-F238E27FC236}">
                    <a16:creationId xmlns:a16="http://schemas.microsoft.com/office/drawing/2014/main" id="{E830A4E8-0BCA-43DE-9784-2885B0822988}"/>
                  </a:ext>
                </a:extLst>
              </p:cNvPr>
              <p:cNvSpPr/>
              <p:nvPr/>
            </p:nvSpPr>
            <p:spPr>
              <a:xfrm>
                <a:off x="5779143" y="537619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19"/>
                      <a:pt x="332252" y="384619"/>
                    </a:cubicBezTo>
                    <a:cubicBezTo>
                      <a:pt x="148754" y="384619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" name="Google Shape;4211;p38">
                <a:extLst>
                  <a:ext uri="{FF2B5EF4-FFF2-40B4-BE49-F238E27FC236}">
                    <a16:creationId xmlns:a16="http://schemas.microsoft.com/office/drawing/2014/main" id="{D0E60C79-9CBB-460F-AFE9-AD500F3CF599}"/>
                  </a:ext>
                </a:extLst>
              </p:cNvPr>
              <p:cNvSpPr/>
              <p:nvPr/>
            </p:nvSpPr>
            <p:spPr>
              <a:xfrm>
                <a:off x="5779238" y="548382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" name="Google Shape;4212;p38">
                <a:extLst>
                  <a:ext uri="{FF2B5EF4-FFF2-40B4-BE49-F238E27FC236}">
                    <a16:creationId xmlns:a16="http://schemas.microsoft.com/office/drawing/2014/main" id="{754FFD62-8D85-4F60-9C17-096583DE24D5}"/>
                  </a:ext>
                </a:extLst>
              </p:cNvPr>
              <p:cNvSpPr/>
              <p:nvPr/>
            </p:nvSpPr>
            <p:spPr>
              <a:xfrm>
                <a:off x="6393753" y="548611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2" name="Google Shape;4213;p38">
                <a:extLst>
                  <a:ext uri="{FF2B5EF4-FFF2-40B4-BE49-F238E27FC236}">
                    <a16:creationId xmlns:a16="http://schemas.microsoft.com/office/drawing/2014/main" id="{C3F1CFE7-3CC6-44D2-A728-0A0F36E2D094}"/>
                  </a:ext>
                </a:extLst>
              </p:cNvPr>
              <p:cNvSpPr/>
              <p:nvPr/>
            </p:nvSpPr>
            <p:spPr>
              <a:xfrm>
                <a:off x="5779143" y="529380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3" name="Google Shape;4214;p38">
                <a:extLst>
                  <a:ext uri="{FF2B5EF4-FFF2-40B4-BE49-F238E27FC236}">
                    <a16:creationId xmlns:a16="http://schemas.microsoft.com/office/drawing/2014/main" id="{5FA157D4-C76E-4EFD-89CC-C9635BD8C165}"/>
                  </a:ext>
                </a:extLst>
              </p:cNvPr>
              <p:cNvSpPr/>
              <p:nvPr/>
            </p:nvSpPr>
            <p:spPr>
              <a:xfrm>
                <a:off x="5873643" y="5346215"/>
                <a:ext cx="475693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3" h="275248" extrusionOk="0">
                    <a:moveTo>
                      <a:pt x="475252" y="145899"/>
                    </a:moveTo>
                    <a:cubicBezTo>
                      <a:pt x="471926" y="178284"/>
                      <a:pt x="448831" y="210193"/>
                      <a:pt x="406064" y="234958"/>
                    </a:cubicBezTo>
                    <a:cubicBezTo>
                      <a:pt x="313117" y="288679"/>
                      <a:pt x="162482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149" y="69223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4" name="Google Shape;4215;p38">
                <a:extLst>
                  <a:ext uri="{FF2B5EF4-FFF2-40B4-BE49-F238E27FC236}">
                    <a16:creationId xmlns:a16="http://schemas.microsoft.com/office/drawing/2014/main" id="{9717D355-DF5F-4D7E-ACBD-327B0415E0BF}"/>
                  </a:ext>
                </a:extLst>
              </p:cNvPr>
              <p:cNvSpPr/>
              <p:nvPr/>
            </p:nvSpPr>
            <p:spPr>
              <a:xfrm>
                <a:off x="5874086" y="536269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480"/>
                    </a:cubicBezTo>
                    <a:cubicBezTo>
                      <a:pt x="312675" y="272201"/>
                      <a:pt x="162040" y="272201"/>
                      <a:pt x="69188" y="218480"/>
                    </a:cubicBezTo>
                    <a:cubicBezTo>
                      <a:pt x="26326" y="193715"/>
                      <a:pt x="3326" y="161806"/>
                      <a:pt x="0" y="129421"/>
                    </a:cubicBezTo>
                    <a:cubicBezTo>
                      <a:pt x="3326" y="97036"/>
                      <a:pt x="26326" y="65127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127"/>
                      <a:pt x="471483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5" name="Google Shape;4216;p38">
                <a:extLst>
                  <a:ext uri="{FF2B5EF4-FFF2-40B4-BE49-F238E27FC236}">
                    <a16:creationId xmlns:a16="http://schemas.microsoft.com/office/drawing/2014/main" id="{FF4A4772-9896-4C59-B912-4DA3C662A8B6}"/>
                  </a:ext>
                </a:extLst>
              </p:cNvPr>
              <p:cNvSpPr/>
              <p:nvPr/>
            </p:nvSpPr>
            <p:spPr>
              <a:xfrm>
                <a:off x="5996115" y="5424963"/>
                <a:ext cx="220987" cy="138970"/>
              </a:xfrm>
              <a:custGeom>
                <a:avLst/>
                <a:gdLst/>
                <a:ahLst/>
                <a:cxnLst/>
                <a:rect l="l" t="t" r="r" b="b"/>
                <a:pathLst>
                  <a:path w="220987" h="138970" extrusionOk="0">
                    <a:moveTo>
                      <a:pt x="111859" y="22098"/>
                    </a:moveTo>
                    <a:cubicBezTo>
                      <a:pt x="108932" y="22060"/>
                      <a:pt x="106005" y="22279"/>
                      <a:pt x="103116" y="22765"/>
                    </a:cubicBezTo>
                    <a:cubicBezTo>
                      <a:pt x="99219" y="23336"/>
                      <a:pt x="94848" y="24098"/>
                      <a:pt x="90001" y="25146"/>
                    </a:cubicBezTo>
                    <a:cubicBezTo>
                      <a:pt x="85154" y="26194"/>
                      <a:pt x="80497" y="27432"/>
                      <a:pt x="74890" y="29051"/>
                    </a:cubicBezTo>
                    <a:cubicBezTo>
                      <a:pt x="69777" y="30566"/>
                      <a:pt x="64787" y="32480"/>
                      <a:pt x="59969" y="34766"/>
                    </a:cubicBezTo>
                    <a:lnTo>
                      <a:pt x="97984" y="56864"/>
                    </a:lnTo>
                    <a:lnTo>
                      <a:pt x="104827" y="54388"/>
                    </a:lnTo>
                    <a:cubicBezTo>
                      <a:pt x="114331" y="51149"/>
                      <a:pt x="123834" y="48387"/>
                      <a:pt x="132293" y="46196"/>
                    </a:cubicBezTo>
                    <a:cubicBezTo>
                      <a:pt x="140409" y="44015"/>
                      <a:pt x="148715" y="42644"/>
                      <a:pt x="157098" y="42101"/>
                    </a:cubicBezTo>
                    <a:cubicBezTo>
                      <a:pt x="164701" y="41596"/>
                      <a:pt x="172342" y="42101"/>
                      <a:pt x="179812" y="43625"/>
                    </a:cubicBezTo>
                    <a:cubicBezTo>
                      <a:pt x="187472" y="45253"/>
                      <a:pt x="194828" y="48120"/>
                      <a:pt x="201575" y="52102"/>
                    </a:cubicBezTo>
                    <a:cubicBezTo>
                      <a:pt x="208199" y="55445"/>
                      <a:pt x="213854" y="60427"/>
                      <a:pt x="218017" y="66580"/>
                    </a:cubicBezTo>
                    <a:cubicBezTo>
                      <a:pt x="220839" y="71019"/>
                      <a:pt x="221695" y="76438"/>
                      <a:pt x="220393" y="81534"/>
                    </a:cubicBezTo>
                    <a:cubicBezTo>
                      <a:pt x="218806" y="87173"/>
                      <a:pt x="215717" y="92278"/>
                      <a:pt x="211459" y="96298"/>
                    </a:cubicBezTo>
                    <a:cubicBezTo>
                      <a:pt x="206261" y="101613"/>
                      <a:pt x="200425" y="106261"/>
                      <a:pt x="194067" y="110109"/>
                    </a:cubicBezTo>
                    <a:lnTo>
                      <a:pt x="218302" y="124206"/>
                    </a:lnTo>
                    <a:lnTo>
                      <a:pt x="205092" y="131826"/>
                    </a:lnTo>
                    <a:lnTo>
                      <a:pt x="180667" y="117634"/>
                    </a:lnTo>
                    <a:cubicBezTo>
                      <a:pt x="169034" y="123463"/>
                      <a:pt x="156841" y="128092"/>
                      <a:pt x="144267" y="131445"/>
                    </a:cubicBezTo>
                    <a:cubicBezTo>
                      <a:pt x="131114" y="135112"/>
                      <a:pt x="117657" y="137636"/>
                      <a:pt x="104066" y="138970"/>
                    </a:cubicBezTo>
                    <a:lnTo>
                      <a:pt x="91236" y="116015"/>
                    </a:lnTo>
                    <a:cubicBezTo>
                      <a:pt x="94829" y="115919"/>
                      <a:pt x="98412" y="115634"/>
                      <a:pt x="101976" y="115158"/>
                    </a:cubicBezTo>
                    <a:cubicBezTo>
                      <a:pt x="107345" y="114510"/>
                      <a:pt x="112667" y="113586"/>
                      <a:pt x="117942" y="112395"/>
                    </a:cubicBezTo>
                    <a:cubicBezTo>
                      <a:pt x="123834" y="111157"/>
                      <a:pt x="130012" y="109538"/>
                      <a:pt x="136949" y="107633"/>
                    </a:cubicBezTo>
                    <a:cubicBezTo>
                      <a:pt x="143460" y="105823"/>
                      <a:pt x="149818" y="103489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248"/>
                      <a:pt x="114711" y="79915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543" y="89440"/>
                    </a:cubicBezTo>
                    <a:cubicBezTo>
                      <a:pt x="74177" y="91154"/>
                      <a:pt x="66669" y="92145"/>
                      <a:pt x="59114" y="92393"/>
                    </a:cubicBezTo>
                    <a:cubicBezTo>
                      <a:pt x="52470" y="92678"/>
                      <a:pt x="45827" y="92069"/>
                      <a:pt x="39346" y="90583"/>
                    </a:cubicBezTo>
                    <a:cubicBezTo>
                      <a:pt x="32893" y="89059"/>
                      <a:pt x="26706" y="86554"/>
                      <a:pt x="21003" y="83153"/>
                    </a:cubicBezTo>
                    <a:cubicBezTo>
                      <a:pt x="14750" y="79886"/>
                      <a:pt x="9314" y="75229"/>
                      <a:pt x="5132" y="69533"/>
                    </a:cubicBezTo>
                    <a:cubicBezTo>
                      <a:pt x="2005" y="65275"/>
                      <a:pt x="456" y="60055"/>
                      <a:pt x="760" y="54769"/>
                    </a:cubicBezTo>
                    <a:cubicBezTo>
                      <a:pt x="1331" y="49273"/>
                      <a:pt x="3507" y="44063"/>
                      <a:pt x="7033" y="39815"/>
                    </a:cubicBezTo>
                    <a:cubicBezTo>
                      <a:pt x="11443" y="34376"/>
                      <a:pt x="16670" y="29651"/>
                      <a:pt x="22524" y="25813"/>
                    </a:cubicBezTo>
                    <a:lnTo>
                      <a:pt x="0" y="12764"/>
                    </a:lnTo>
                    <a:lnTo>
                      <a:pt x="13305" y="5048"/>
                    </a:lnTo>
                    <a:lnTo>
                      <a:pt x="35544" y="18002"/>
                    </a:lnTo>
                    <a:cubicBezTo>
                      <a:pt x="45998" y="12783"/>
                      <a:pt x="56994" y="8725"/>
                      <a:pt x="68332" y="5906"/>
                    </a:cubicBezTo>
                    <a:cubicBezTo>
                      <a:pt x="79109" y="3153"/>
                      <a:pt x="90067" y="1181"/>
                      <a:pt x="101120" y="0"/>
                    </a:cubicBezTo>
                    <a:close/>
                    <a:moveTo>
                      <a:pt x="46949" y="62198"/>
                    </a:moveTo>
                    <a:cubicBezTo>
                      <a:pt x="51948" y="65122"/>
                      <a:pt x="57726" y="66389"/>
                      <a:pt x="63485" y="65818"/>
                    </a:cubicBezTo>
                    <a:cubicBezTo>
                      <a:pt x="71212" y="64875"/>
                      <a:pt x="78824" y="63151"/>
                      <a:pt x="86199" y="60674"/>
                    </a:cubicBezTo>
                    <a:lnTo>
                      <a:pt x="50465" y="40005"/>
                    </a:lnTo>
                    <a:cubicBezTo>
                      <a:pt x="37350" y="48578"/>
                      <a:pt x="36181" y="55979"/>
                      <a:pt x="46949" y="62198"/>
                    </a:cubicBezTo>
                    <a:close/>
                    <a:moveTo>
                      <a:pt x="172399" y="72676"/>
                    </a:moveTo>
                    <a:cubicBezTo>
                      <a:pt x="166896" y="69733"/>
                      <a:pt x="160605" y="68628"/>
                      <a:pt x="154437" y="69533"/>
                    </a:cubicBezTo>
                    <a:cubicBezTo>
                      <a:pt x="145997" y="70628"/>
                      <a:pt x="137672" y="72447"/>
                      <a:pt x="129537" y="74962"/>
                    </a:cubicBezTo>
                    <a:lnTo>
                      <a:pt x="165081" y="95536"/>
                    </a:lnTo>
                    <a:cubicBezTo>
                      <a:pt x="180667" y="86296"/>
                      <a:pt x="182663" y="78677"/>
                      <a:pt x="17239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" name="Google Shape;4217;p38">
                <a:extLst>
                  <a:ext uri="{FF2B5EF4-FFF2-40B4-BE49-F238E27FC236}">
                    <a16:creationId xmlns:a16="http://schemas.microsoft.com/office/drawing/2014/main" id="{020FB039-6F09-4D5C-9232-D0CE43C9A0A0}"/>
                  </a:ext>
                </a:extLst>
              </p:cNvPr>
              <p:cNvSpPr/>
              <p:nvPr/>
            </p:nvSpPr>
            <p:spPr>
              <a:xfrm>
                <a:off x="6087446" y="552802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7" name="Google Shape;4218;p38">
                <a:extLst>
                  <a:ext uri="{FF2B5EF4-FFF2-40B4-BE49-F238E27FC236}">
                    <a16:creationId xmlns:a16="http://schemas.microsoft.com/office/drawing/2014/main" id="{24B895EF-1B27-4CCD-B5D7-4B597DA2C3F5}"/>
                  </a:ext>
                </a:extLst>
              </p:cNvPr>
              <p:cNvSpPr/>
              <p:nvPr/>
            </p:nvSpPr>
            <p:spPr>
              <a:xfrm>
                <a:off x="6183054" y="5536215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954"/>
                    </a:moveTo>
                    <a:lnTo>
                      <a:pt x="31552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552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8" name="Google Shape;4219;p38">
                <a:extLst>
                  <a:ext uri="{FF2B5EF4-FFF2-40B4-BE49-F238E27FC236}">
                    <a16:creationId xmlns:a16="http://schemas.microsoft.com/office/drawing/2014/main" id="{F2F50697-B03F-4936-A9A3-7D995235F7B2}"/>
                  </a:ext>
                </a:extLst>
              </p:cNvPr>
              <p:cNvSpPr/>
              <p:nvPr/>
            </p:nvSpPr>
            <p:spPr>
              <a:xfrm>
                <a:off x="6193698" y="5488685"/>
                <a:ext cx="23569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569" h="13049" extrusionOk="0">
                    <a:moveTo>
                      <a:pt x="23569" y="13049"/>
                    </a:moveTo>
                    <a:lnTo>
                      <a:pt x="23569" y="0"/>
                    </a:lnTo>
                    <a:lnTo>
                      <a:pt x="0" y="8573"/>
                    </a:lnTo>
                    <a:lnTo>
                      <a:pt x="23569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9" name="Google Shape;4220;p38">
                <a:extLst>
                  <a:ext uri="{FF2B5EF4-FFF2-40B4-BE49-F238E27FC236}">
                    <a16:creationId xmlns:a16="http://schemas.microsoft.com/office/drawing/2014/main" id="{D3EC0521-C399-48ED-BA45-C1F697D7424E}"/>
                  </a:ext>
                </a:extLst>
              </p:cNvPr>
              <p:cNvSpPr/>
              <p:nvPr/>
            </p:nvSpPr>
            <p:spPr>
              <a:xfrm>
                <a:off x="6119759" y="549354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670"/>
                    </a:lnTo>
                    <a:cubicBezTo>
                      <a:pt x="33929" y="24670"/>
                      <a:pt x="13210" y="15907"/>
                      <a:pt x="12545" y="15145"/>
                    </a:cubicBezTo>
                    <a:cubicBezTo>
                      <a:pt x="11880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0" name="Google Shape;4221;p38">
                <a:extLst>
                  <a:ext uri="{FF2B5EF4-FFF2-40B4-BE49-F238E27FC236}">
                    <a16:creationId xmlns:a16="http://schemas.microsoft.com/office/drawing/2014/main" id="{3E90F118-FD1A-408A-B69F-7F266115B950}"/>
                  </a:ext>
                </a:extLst>
              </p:cNvPr>
              <p:cNvSpPr/>
              <p:nvPr/>
            </p:nvSpPr>
            <p:spPr>
              <a:xfrm>
                <a:off x="6046675" y="5452109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441" y="17907"/>
                    </a:cubicBez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1" name="Google Shape;4222;p38">
                <a:extLst>
                  <a:ext uri="{FF2B5EF4-FFF2-40B4-BE49-F238E27FC236}">
                    <a16:creationId xmlns:a16="http://schemas.microsoft.com/office/drawing/2014/main" id="{0550A100-A5A5-485B-AB0B-1DA2036B007D}"/>
                  </a:ext>
                </a:extLst>
              </p:cNvPr>
              <p:cNvSpPr/>
              <p:nvPr/>
            </p:nvSpPr>
            <p:spPr>
              <a:xfrm>
                <a:off x="6087446" y="542858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2" name="Google Shape;4223;p38">
                <a:extLst>
                  <a:ext uri="{FF2B5EF4-FFF2-40B4-BE49-F238E27FC236}">
                    <a16:creationId xmlns:a16="http://schemas.microsoft.com/office/drawing/2014/main" id="{534F9568-8C0D-4A22-B60F-01C86173288D}"/>
                  </a:ext>
                </a:extLst>
              </p:cNvPr>
              <p:cNvSpPr/>
              <p:nvPr/>
            </p:nvSpPr>
            <p:spPr>
              <a:xfrm>
                <a:off x="5995544" y="542477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3" name="Google Shape;4224;p38">
                <a:extLst>
                  <a:ext uri="{FF2B5EF4-FFF2-40B4-BE49-F238E27FC236}">
                    <a16:creationId xmlns:a16="http://schemas.microsoft.com/office/drawing/2014/main" id="{C36D69D0-D9BB-47C1-B8D0-2D193E0ECC1B}"/>
                  </a:ext>
                </a:extLst>
              </p:cNvPr>
              <p:cNvSpPr/>
              <p:nvPr/>
            </p:nvSpPr>
            <p:spPr>
              <a:xfrm>
                <a:off x="5996210" y="5468111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4" name="Google Shape;4225;p38">
                <a:extLst>
                  <a:ext uri="{FF2B5EF4-FFF2-40B4-BE49-F238E27FC236}">
                    <a16:creationId xmlns:a16="http://schemas.microsoft.com/office/drawing/2014/main" id="{4EA64F30-ABB7-41DF-81FC-C41A4383E357}"/>
                  </a:ext>
                </a:extLst>
              </p:cNvPr>
              <p:cNvSpPr/>
              <p:nvPr/>
            </p:nvSpPr>
            <p:spPr>
              <a:xfrm>
                <a:off x="5996115" y="5412009"/>
                <a:ext cx="22098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0987" h="139065" extrusionOk="0">
                    <a:moveTo>
                      <a:pt x="111859" y="22098"/>
                    </a:moveTo>
                    <a:cubicBezTo>
                      <a:pt x="108932" y="22098"/>
                      <a:pt x="106005" y="22355"/>
                      <a:pt x="103116" y="22860"/>
                    </a:cubicBezTo>
                    <a:cubicBezTo>
                      <a:pt x="99248" y="23431"/>
                      <a:pt x="94876" y="24194"/>
                      <a:pt x="90001" y="25146"/>
                    </a:cubicBezTo>
                    <a:cubicBezTo>
                      <a:pt x="85154" y="26194"/>
                      <a:pt x="80497" y="27527"/>
                      <a:pt x="74890" y="29051"/>
                    </a:cubicBezTo>
                    <a:cubicBezTo>
                      <a:pt x="69786" y="30613"/>
                      <a:pt x="64806" y="32518"/>
                      <a:pt x="59969" y="34766"/>
                    </a:cubicBezTo>
                    <a:lnTo>
                      <a:pt x="97984" y="56864"/>
                    </a:lnTo>
                    <a:lnTo>
                      <a:pt x="104827" y="54483"/>
                    </a:lnTo>
                    <a:cubicBezTo>
                      <a:pt x="114331" y="51245"/>
                      <a:pt x="123834" y="48482"/>
                      <a:pt x="132293" y="46196"/>
                    </a:cubicBezTo>
                    <a:cubicBezTo>
                      <a:pt x="140418" y="44063"/>
                      <a:pt x="148725" y="42691"/>
                      <a:pt x="157098" y="42100"/>
                    </a:cubicBezTo>
                    <a:cubicBezTo>
                      <a:pt x="164701" y="41643"/>
                      <a:pt x="172332" y="42158"/>
                      <a:pt x="179812" y="43624"/>
                    </a:cubicBezTo>
                    <a:cubicBezTo>
                      <a:pt x="187481" y="45291"/>
                      <a:pt x="194828" y="48187"/>
                      <a:pt x="201575" y="52197"/>
                    </a:cubicBezTo>
                    <a:cubicBezTo>
                      <a:pt x="208199" y="55540"/>
                      <a:pt x="213854" y="60522"/>
                      <a:pt x="218017" y="66675"/>
                    </a:cubicBezTo>
                    <a:cubicBezTo>
                      <a:pt x="220839" y="71114"/>
                      <a:pt x="221695" y="76533"/>
                      <a:pt x="220393" y="81629"/>
                    </a:cubicBezTo>
                    <a:cubicBezTo>
                      <a:pt x="218777" y="87259"/>
                      <a:pt x="215698" y="92354"/>
                      <a:pt x="211459" y="96393"/>
                    </a:cubicBezTo>
                    <a:cubicBezTo>
                      <a:pt x="206242" y="101689"/>
                      <a:pt x="200397" y="106318"/>
                      <a:pt x="194067" y="110204"/>
                    </a:cubicBezTo>
                    <a:lnTo>
                      <a:pt x="218302" y="124206"/>
                    </a:lnTo>
                    <a:lnTo>
                      <a:pt x="205092" y="131921"/>
                    </a:lnTo>
                    <a:lnTo>
                      <a:pt x="180667" y="117729"/>
                    </a:lnTo>
                    <a:cubicBezTo>
                      <a:pt x="168996" y="123473"/>
                      <a:pt x="156812" y="128102"/>
                      <a:pt x="144267" y="131540"/>
                    </a:cubicBezTo>
                    <a:cubicBezTo>
                      <a:pt x="131095" y="135169"/>
                      <a:pt x="117657" y="137684"/>
                      <a:pt x="104066" y="139065"/>
                    </a:cubicBezTo>
                    <a:lnTo>
                      <a:pt x="91236" y="116014"/>
                    </a:lnTo>
                    <a:cubicBezTo>
                      <a:pt x="94829" y="115967"/>
                      <a:pt x="98412" y="115710"/>
                      <a:pt x="101976" y="115253"/>
                    </a:cubicBezTo>
                    <a:cubicBezTo>
                      <a:pt x="106727" y="114681"/>
                      <a:pt x="112050" y="113729"/>
                      <a:pt x="117942" y="112490"/>
                    </a:cubicBezTo>
                    <a:cubicBezTo>
                      <a:pt x="123834" y="111252"/>
                      <a:pt x="130012" y="109633"/>
                      <a:pt x="136949" y="107728"/>
                    </a:cubicBezTo>
                    <a:cubicBezTo>
                      <a:pt x="143450" y="105842"/>
                      <a:pt x="149799" y="10347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9162" y="85001"/>
                      <a:pt x="90410" y="87449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0" y="92745"/>
                      <a:pt x="45818" y="92107"/>
                      <a:pt x="39346" y="90583"/>
                    </a:cubicBezTo>
                    <a:cubicBezTo>
                      <a:pt x="32912" y="89049"/>
                      <a:pt x="26725" y="86573"/>
                      <a:pt x="21003" y="83248"/>
                    </a:cubicBezTo>
                    <a:cubicBezTo>
                      <a:pt x="14740" y="79943"/>
                      <a:pt x="9314" y="75257"/>
                      <a:pt x="5132" y="69532"/>
                    </a:cubicBezTo>
                    <a:cubicBezTo>
                      <a:pt x="2005" y="65275"/>
                      <a:pt x="456" y="60055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71" y="34462"/>
                      <a:pt x="16689" y="29708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17" y="12849"/>
                      <a:pt x="57013" y="8830"/>
                      <a:pt x="68332" y="6001"/>
                    </a:cubicBezTo>
                    <a:cubicBezTo>
                      <a:pt x="79119" y="3267"/>
                      <a:pt x="90067" y="1257"/>
                      <a:pt x="101120" y="0"/>
                    </a:cubicBezTo>
                    <a:close/>
                    <a:moveTo>
                      <a:pt x="46949" y="62294"/>
                    </a:moveTo>
                    <a:cubicBezTo>
                      <a:pt x="51948" y="65189"/>
                      <a:pt x="57735" y="66418"/>
                      <a:pt x="63485" y="65818"/>
                    </a:cubicBezTo>
                    <a:cubicBezTo>
                      <a:pt x="71231" y="64970"/>
                      <a:pt x="78843" y="63246"/>
                      <a:pt x="86199" y="60674"/>
                    </a:cubicBezTo>
                    <a:lnTo>
                      <a:pt x="50465" y="40005"/>
                    </a:lnTo>
                    <a:cubicBezTo>
                      <a:pt x="37350" y="48578"/>
                      <a:pt x="36181" y="56007"/>
                      <a:pt x="46949" y="62294"/>
                    </a:cubicBezTo>
                    <a:close/>
                    <a:moveTo>
                      <a:pt x="172399" y="72771"/>
                    </a:moveTo>
                    <a:cubicBezTo>
                      <a:pt x="166924" y="69752"/>
                      <a:pt x="160614" y="68609"/>
                      <a:pt x="154437" y="69532"/>
                    </a:cubicBezTo>
                    <a:cubicBezTo>
                      <a:pt x="145988" y="70618"/>
                      <a:pt x="137653" y="72466"/>
                      <a:pt x="129537" y="75057"/>
                    </a:cubicBezTo>
                    <a:lnTo>
                      <a:pt x="165081" y="95631"/>
                    </a:lnTo>
                    <a:cubicBezTo>
                      <a:pt x="180667" y="86296"/>
                      <a:pt x="182663" y="78677"/>
                      <a:pt x="17239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58" name="Google Shape;4226;p38">
              <a:extLst>
                <a:ext uri="{FF2B5EF4-FFF2-40B4-BE49-F238E27FC236}">
                  <a16:creationId xmlns:a16="http://schemas.microsoft.com/office/drawing/2014/main" id="{7FA86A13-C4E0-4888-9816-520849E3367C}"/>
                </a:ext>
              </a:extLst>
            </p:cNvPr>
            <p:cNvSpPr/>
            <p:nvPr/>
          </p:nvSpPr>
          <p:spPr>
            <a:xfrm>
              <a:off x="5615017" y="4460119"/>
              <a:ext cx="828920" cy="479679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4227;p38">
              <a:extLst>
                <a:ext uri="{FF2B5EF4-FFF2-40B4-BE49-F238E27FC236}">
                  <a16:creationId xmlns:a16="http://schemas.microsoft.com/office/drawing/2014/main" id="{747F3DD7-C599-4610-85F9-391780FF3C89}"/>
                </a:ext>
              </a:extLst>
            </p:cNvPr>
            <p:cNvSpPr/>
            <p:nvPr/>
          </p:nvSpPr>
          <p:spPr>
            <a:xfrm>
              <a:off x="5846435" y="2182763"/>
              <a:ext cx="465451" cy="682637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4228;p38">
              <a:extLst>
                <a:ext uri="{FF2B5EF4-FFF2-40B4-BE49-F238E27FC236}">
                  <a16:creationId xmlns:a16="http://schemas.microsoft.com/office/drawing/2014/main" id="{6661B7AE-53E7-4CB6-B20E-E21EF83D53BB}"/>
                </a:ext>
              </a:extLst>
            </p:cNvPr>
            <p:cNvSpPr/>
            <p:nvPr/>
          </p:nvSpPr>
          <p:spPr>
            <a:xfrm>
              <a:off x="5832052" y="2673876"/>
              <a:ext cx="86758" cy="504907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4229;p38">
              <a:extLst>
                <a:ext uri="{FF2B5EF4-FFF2-40B4-BE49-F238E27FC236}">
                  <a16:creationId xmlns:a16="http://schemas.microsoft.com/office/drawing/2014/main" id="{57CA4BAF-C0DB-4391-AF52-DDD579864D98}"/>
                </a:ext>
              </a:extLst>
            </p:cNvPr>
            <p:cNvSpPr/>
            <p:nvPr/>
          </p:nvSpPr>
          <p:spPr>
            <a:xfrm>
              <a:off x="5882176" y="2176405"/>
              <a:ext cx="221715" cy="275766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4230;p38">
              <a:extLst>
                <a:ext uri="{FF2B5EF4-FFF2-40B4-BE49-F238E27FC236}">
                  <a16:creationId xmlns:a16="http://schemas.microsoft.com/office/drawing/2014/main" id="{3EE8E48F-FD4E-44A1-A7EA-D77C03F36782}"/>
                </a:ext>
              </a:extLst>
            </p:cNvPr>
            <p:cNvSpPr/>
            <p:nvPr/>
          </p:nvSpPr>
          <p:spPr>
            <a:xfrm>
              <a:off x="5925036" y="2475870"/>
              <a:ext cx="274953" cy="308347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4231;p38">
              <a:extLst>
                <a:ext uri="{FF2B5EF4-FFF2-40B4-BE49-F238E27FC236}">
                  <a16:creationId xmlns:a16="http://schemas.microsoft.com/office/drawing/2014/main" id="{45171268-20AE-45F9-9DC3-5C81A2DF424A}"/>
                </a:ext>
              </a:extLst>
            </p:cNvPr>
            <p:cNvSpPr/>
            <p:nvPr/>
          </p:nvSpPr>
          <p:spPr>
            <a:xfrm>
              <a:off x="5845497" y="2576533"/>
              <a:ext cx="400459" cy="461811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4232;p38">
              <a:extLst>
                <a:ext uri="{FF2B5EF4-FFF2-40B4-BE49-F238E27FC236}">
                  <a16:creationId xmlns:a16="http://schemas.microsoft.com/office/drawing/2014/main" id="{05D17762-9410-4402-A6DA-216D1EE9D97F}"/>
                </a:ext>
              </a:extLst>
            </p:cNvPr>
            <p:cNvSpPr/>
            <p:nvPr/>
          </p:nvSpPr>
          <p:spPr>
            <a:xfrm>
              <a:off x="5916607" y="2198526"/>
              <a:ext cx="294816" cy="364308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4233;p38">
              <a:extLst>
                <a:ext uri="{FF2B5EF4-FFF2-40B4-BE49-F238E27FC236}">
                  <a16:creationId xmlns:a16="http://schemas.microsoft.com/office/drawing/2014/main" id="{1DF93D94-6F50-4D83-88FC-D0DA1D90780C}"/>
                </a:ext>
              </a:extLst>
            </p:cNvPr>
            <p:cNvSpPr/>
            <p:nvPr/>
          </p:nvSpPr>
          <p:spPr>
            <a:xfrm>
              <a:off x="5928072" y="2197020"/>
              <a:ext cx="296585" cy="278850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4234;p38">
              <a:extLst>
                <a:ext uri="{FF2B5EF4-FFF2-40B4-BE49-F238E27FC236}">
                  <a16:creationId xmlns:a16="http://schemas.microsoft.com/office/drawing/2014/main" id="{FB4AA160-74C4-471B-82CC-42A57669CD28}"/>
                </a:ext>
              </a:extLst>
            </p:cNvPr>
            <p:cNvSpPr/>
            <p:nvPr/>
          </p:nvSpPr>
          <p:spPr>
            <a:xfrm>
              <a:off x="5977205" y="4610895"/>
              <a:ext cx="232912" cy="178155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4235;p38">
              <a:extLst>
                <a:ext uri="{FF2B5EF4-FFF2-40B4-BE49-F238E27FC236}">
                  <a16:creationId xmlns:a16="http://schemas.microsoft.com/office/drawing/2014/main" id="{327D0ABF-F253-4B9B-B604-4C5E045FAAD6}"/>
                </a:ext>
              </a:extLst>
            </p:cNvPr>
            <p:cNvSpPr/>
            <p:nvPr/>
          </p:nvSpPr>
          <p:spPr>
            <a:xfrm>
              <a:off x="5978157" y="4667764"/>
              <a:ext cx="231905" cy="121227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4236;p38">
              <a:extLst>
                <a:ext uri="{FF2B5EF4-FFF2-40B4-BE49-F238E27FC236}">
                  <a16:creationId xmlns:a16="http://schemas.microsoft.com/office/drawing/2014/main" id="{A7985BAA-F565-4D0F-8578-600A83B3AC41}"/>
                </a:ext>
              </a:extLst>
            </p:cNvPr>
            <p:cNvSpPr/>
            <p:nvPr/>
          </p:nvSpPr>
          <p:spPr>
            <a:xfrm>
              <a:off x="5800764" y="4571652"/>
              <a:ext cx="213680" cy="165568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4237;p38">
              <a:extLst>
                <a:ext uri="{FF2B5EF4-FFF2-40B4-BE49-F238E27FC236}">
                  <a16:creationId xmlns:a16="http://schemas.microsoft.com/office/drawing/2014/main" id="{0912862C-4F46-4816-8907-77701F31F34F}"/>
                </a:ext>
              </a:extLst>
            </p:cNvPr>
            <p:cNvSpPr/>
            <p:nvPr/>
          </p:nvSpPr>
          <p:spPr>
            <a:xfrm>
              <a:off x="5801482" y="4626139"/>
              <a:ext cx="212755" cy="111143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4238;p38">
              <a:extLst>
                <a:ext uri="{FF2B5EF4-FFF2-40B4-BE49-F238E27FC236}">
                  <a16:creationId xmlns:a16="http://schemas.microsoft.com/office/drawing/2014/main" id="{ACF4A5C9-4C79-4951-91BF-990AAC5B102B}"/>
                </a:ext>
              </a:extLst>
            </p:cNvPr>
            <p:cNvSpPr/>
            <p:nvPr/>
          </p:nvSpPr>
          <p:spPr>
            <a:xfrm>
              <a:off x="5835285" y="3032607"/>
              <a:ext cx="455829" cy="159522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4239;p38">
              <a:extLst>
                <a:ext uri="{FF2B5EF4-FFF2-40B4-BE49-F238E27FC236}">
                  <a16:creationId xmlns:a16="http://schemas.microsoft.com/office/drawing/2014/main" id="{E3B9F8ED-41EE-4916-9159-6114D59030B3}"/>
                </a:ext>
              </a:extLst>
            </p:cNvPr>
            <p:cNvSpPr/>
            <p:nvPr/>
          </p:nvSpPr>
          <p:spPr>
            <a:xfrm>
              <a:off x="5815995" y="3000698"/>
              <a:ext cx="485198" cy="1060979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4240;p38">
              <a:extLst>
                <a:ext uri="{FF2B5EF4-FFF2-40B4-BE49-F238E27FC236}">
                  <a16:creationId xmlns:a16="http://schemas.microsoft.com/office/drawing/2014/main" id="{E677A0A6-2164-4B43-BC2C-6DA7E39C27E6}"/>
                </a:ext>
              </a:extLst>
            </p:cNvPr>
            <p:cNvSpPr/>
            <p:nvPr/>
          </p:nvSpPr>
          <p:spPr>
            <a:xfrm>
              <a:off x="5561118" y="2683306"/>
              <a:ext cx="698939" cy="60971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4241;p38">
              <a:extLst>
                <a:ext uri="{FF2B5EF4-FFF2-40B4-BE49-F238E27FC236}">
                  <a16:creationId xmlns:a16="http://schemas.microsoft.com/office/drawing/2014/main" id="{A1094969-1003-42FD-A978-4543E7DD3CF0}"/>
                </a:ext>
              </a:extLst>
            </p:cNvPr>
            <p:cNvSpPr/>
            <p:nvPr/>
          </p:nvSpPr>
          <p:spPr>
            <a:xfrm>
              <a:off x="6103702" y="2644294"/>
              <a:ext cx="168312" cy="197615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4242;p38">
              <a:extLst>
                <a:ext uri="{FF2B5EF4-FFF2-40B4-BE49-F238E27FC236}">
                  <a16:creationId xmlns:a16="http://schemas.microsoft.com/office/drawing/2014/main" id="{6F93BF44-DBF4-4C9D-8F13-83C05E55784D}"/>
                </a:ext>
              </a:extLst>
            </p:cNvPr>
            <p:cNvSpPr/>
            <p:nvPr/>
          </p:nvSpPr>
          <p:spPr>
            <a:xfrm>
              <a:off x="5833319" y="2576558"/>
              <a:ext cx="135999" cy="14296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4243;p38">
              <a:extLst>
                <a:ext uri="{FF2B5EF4-FFF2-40B4-BE49-F238E27FC236}">
                  <a16:creationId xmlns:a16="http://schemas.microsoft.com/office/drawing/2014/main" id="{31E28199-7B5A-47C6-92ED-DA5AC0E4A55E}"/>
                </a:ext>
              </a:extLst>
            </p:cNvPr>
            <p:cNvSpPr/>
            <p:nvPr/>
          </p:nvSpPr>
          <p:spPr>
            <a:xfrm>
              <a:off x="2925535" y="2722330"/>
              <a:ext cx="1200895" cy="746478"/>
            </a:xfrm>
            <a:custGeom>
              <a:avLst/>
              <a:gdLst/>
              <a:ahLst/>
              <a:cxnLst/>
              <a:rect l="l" t="t" r="r" b="b"/>
              <a:pathLst>
                <a:path w="1200895" h="746478" extrusionOk="0">
                  <a:moveTo>
                    <a:pt x="1109954" y="738045"/>
                  </a:moveTo>
                  <a:lnTo>
                    <a:pt x="30323" y="113395"/>
                  </a:lnTo>
                  <a:cubicBezTo>
                    <a:pt x="1323" y="96612"/>
                    <a:pt x="-8610" y="59446"/>
                    <a:pt x="8136" y="30385"/>
                  </a:cubicBezTo>
                  <a:cubicBezTo>
                    <a:pt x="13457" y="21145"/>
                    <a:pt x="21109" y="13478"/>
                    <a:pt x="30323" y="8144"/>
                  </a:cubicBezTo>
                  <a:lnTo>
                    <a:pt x="30323" y="8144"/>
                  </a:lnTo>
                  <a:cubicBezTo>
                    <a:pt x="49084" y="-2715"/>
                    <a:pt x="72197" y="-2715"/>
                    <a:pt x="90957" y="8144"/>
                  </a:cubicBezTo>
                  <a:lnTo>
                    <a:pt x="1170588" y="633270"/>
                  </a:lnTo>
                  <a:cubicBezTo>
                    <a:pt x="1199584" y="650062"/>
                    <a:pt x="1209506" y="687229"/>
                    <a:pt x="1192750" y="716290"/>
                  </a:cubicBezTo>
                  <a:cubicBezTo>
                    <a:pt x="1186117" y="727805"/>
                    <a:pt x="1175891" y="736816"/>
                    <a:pt x="1163650" y="741950"/>
                  </a:cubicBezTo>
                  <a:lnTo>
                    <a:pt x="1163650" y="741950"/>
                  </a:lnTo>
                  <a:cubicBezTo>
                    <a:pt x="1146125" y="749151"/>
                    <a:pt x="1126253" y="747703"/>
                    <a:pt x="1109954" y="7380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4244;p38">
              <a:extLst>
                <a:ext uri="{FF2B5EF4-FFF2-40B4-BE49-F238E27FC236}">
                  <a16:creationId xmlns:a16="http://schemas.microsoft.com/office/drawing/2014/main" id="{01CE2BE1-A7F6-4BF8-A990-C81910068130}"/>
                </a:ext>
              </a:extLst>
            </p:cNvPr>
            <p:cNvSpPr/>
            <p:nvPr/>
          </p:nvSpPr>
          <p:spPr>
            <a:xfrm>
              <a:off x="2868613" y="1365288"/>
              <a:ext cx="1401428" cy="1812876"/>
            </a:xfrm>
            <a:custGeom>
              <a:avLst/>
              <a:gdLst/>
              <a:ahLst/>
              <a:cxnLst/>
              <a:rect l="l" t="t" r="r" b="b"/>
              <a:pathLst>
                <a:path w="1401428" h="1812876" extrusionOk="0">
                  <a:moveTo>
                    <a:pt x="700714" y="1717230"/>
                  </a:moveTo>
                  <a:cubicBezTo>
                    <a:pt x="314290" y="1493678"/>
                    <a:pt x="0" y="947991"/>
                    <a:pt x="0" y="500888"/>
                  </a:cubicBezTo>
                  <a:cubicBezTo>
                    <a:pt x="0" y="53784"/>
                    <a:pt x="314290" y="-127762"/>
                    <a:pt x="700714" y="95504"/>
                  </a:cubicBezTo>
                  <a:cubicBezTo>
                    <a:pt x="1087138" y="318770"/>
                    <a:pt x="1401428" y="864647"/>
                    <a:pt x="1401428" y="1311846"/>
                  </a:cubicBezTo>
                  <a:cubicBezTo>
                    <a:pt x="1401428" y="1759045"/>
                    <a:pt x="1087043" y="1940782"/>
                    <a:pt x="700714" y="1717230"/>
                  </a:cubicBezTo>
                  <a:close/>
                  <a:moveTo>
                    <a:pt x="700714" y="240855"/>
                  </a:moveTo>
                  <a:cubicBezTo>
                    <a:pt x="383478" y="57308"/>
                    <a:pt x="125355" y="206660"/>
                    <a:pt x="125355" y="573754"/>
                  </a:cubicBezTo>
                  <a:cubicBezTo>
                    <a:pt x="125355" y="940847"/>
                    <a:pt x="383478" y="1388808"/>
                    <a:pt x="700714" y="1572355"/>
                  </a:cubicBezTo>
                  <a:cubicBezTo>
                    <a:pt x="1017951" y="1755902"/>
                    <a:pt x="1275978" y="1606645"/>
                    <a:pt x="1275978" y="1239551"/>
                  </a:cubicBezTo>
                  <a:cubicBezTo>
                    <a:pt x="1275978" y="872458"/>
                    <a:pt x="1017951" y="424116"/>
                    <a:pt x="700714" y="24056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4245;p38">
              <a:extLst>
                <a:ext uri="{FF2B5EF4-FFF2-40B4-BE49-F238E27FC236}">
                  <a16:creationId xmlns:a16="http://schemas.microsoft.com/office/drawing/2014/main" id="{D6D73001-586F-4292-8416-22643BBC13CD}"/>
                </a:ext>
              </a:extLst>
            </p:cNvPr>
            <p:cNvSpPr/>
            <p:nvPr/>
          </p:nvSpPr>
          <p:spPr>
            <a:xfrm>
              <a:off x="2977907" y="1395545"/>
              <a:ext cx="128396" cy="88201"/>
            </a:xfrm>
            <a:custGeom>
              <a:avLst/>
              <a:gdLst/>
              <a:ahLst/>
              <a:cxnLst/>
              <a:rect l="l" t="t" r="r" b="b"/>
              <a:pathLst>
                <a:path w="128396" h="88201" extrusionOk="0">
                  <a:moveTo>
                    <a:pt x="0" y="70295"/>
                  </a:moveTo>
                  <a:lnTo>
                    <a:pt x="128396" y="0"/>
                  </a:lnTo>
                  <a:lnTo>
                    <a:pt x="109198" y="88201"/>
                  </a:lnTo>
                  <a:lnTo>
                    <a:pt x="0" y="70295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4246;p38">
              <a:extLst>
                <a:ext uri="{FF2B5EF4-FFF2-40B4-BE49-F238E27FC236}">
                  <a16:creationId xmlns:a16="http://schemas.microsoft.com/office/drawing/2014/main" id="{BB617B10-2B64-47A8-8FAD-A59FBC98B886}"/>
                </a:ext>
              </a:extLst>
            </p:cNvPr>
            <p:cNvSpPr/>
            <p:nvPr/>
          </p:nvSpPr>
          <p:spPr>
            <a:xfrm>
              <a:off x="3945392" y="3100901"/>
              <a:ext cx="140370" cy="95440"/>
            </a:xfrm>
            <a:custGeom>
              <a:avLst/>
              <a:gdLst/>
              <a:ahLst/>
              <a:cxnLst/>
              <a:rect l="l" t="t" r="r" b="b"/>
              <a:pathLst>
                <a:path w="140370" h="95440" extrusionOk="0">
                  <a:moveTo>
                    <a:pt x="0" y="95440"/>
                  </a:moveTo>
                  <a:cubicBezTo>
                    <a:pt x="3136" y="94012"/>
                    <a:pt x="140371" y="17050"/>
                    <a:pt x="140371" y="17050"/>
                  </a:cubicBezTo>
                  <a:lnTo>
                    <a:pt x="34309" y="0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4247;p38">
              <a:extLst>
                <a:ext uri="{FF2B5EF4-FFF2-40B4-BE49-F238E27FC236}">
                  <a16:creationId xmlns:a16="http://schemas.microsoft.com/office/drawing/2014/main" id="{05935535-E04A-4B95-B2A7-C58F1916DCEE}"/>
                </a:ext>
              </a:extLst>
            </p:cNvPr>
            <p:cNvSpPr/>
            <p:nvPr/>
          </p:nvSpPr>
          <p:spPr>
            <a:xfrm rot="-1801764">
              <a:off x="2958862" y="1416978"/>
              <a:ext cx="1040879" cy="1807000"/>
            </a:xfrm>
            <a:custGeom>
              <a:avLst/>
              <a:gdLst/>
              <a:ahLst/>
              <a:cxnLst/>
              <a:rect l="l" t="t" r="r" b="b"/>
              <a:pathLst>
                <a:path w="1041804" h="1808606" extrusionOk="0">
                  <a:moveTo>
                    <a:pt x="1041805" y="904303"/>
                  </a:moveTo>
                  <a:cubicBezTo>
                    <a:pt x="1041805" y="1403736"/>
                    <a:pt x="808589" y="1808606"/>
                    <a:pt x="520902" y="1808606"/>
                  </a:cubicBezTo>
                  <a:cubicBezTo>
                    <a:pt x="233216" y="1808606"/>
                    <a:pt x="0" y="1403736"/>
                    <a:pt x="0" y="904303"/>
                  </a:cubicBezTo>
                  <a:cubicBezTo>
                    <a:pt x="0" y="404870"/>
                    <a:pt x="233216" y="0"/>
                    <a:pt x="520902" y="0"/>
                  </a:cubicBezTo>
                  <a:cubicBezTo>
                    <a:pt x="808589" y="0"/>
                    <a:pt x="1041805" y="404870"/>
                    <a:pt x="1041805" y="90430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4248;p38">
              <a:extLst>
                <a:ext uri="{FF2B5EF4-FFF2-40B4-BE49-F238E27FC236}">
                  <a16:creationId xmlns:a16="http://schemas.microsoft.com/office/drawing/2014/main" id="{EB22D149-D362-436C-821C-44EC6F2F5972}"/>
                </a:ext>
              </a:extLst>
            </p:cNvPr>
            <p:cNvSpPr/>
            <p:nvPr/>
          </p:nvSpPr>
          <p:spPr>
            <a:xfrm>
              <a:off x="2779183" y="1414991"/>
              <a:ext cx="1401428" cy="1812826"/>
            </a:xfrm>
            <a:custGeom>
              <a:avLst/>
              <a:gdLst/>
              <a:ahLst/>
              <a:cxnLst/>
              <a:rect l="l" t="t" r="r" b="b"/>
              <a:pathLst>
                <a:path w="1401428" h="1812826" extrusionOk="0">
                  <a:moveTo>
                    <a:pt x="700714" y="1717343"/>
                  </a:moveTo>
                  <a:cubicBezTo>
                    <a:pt x="314480" y="1493695"/>
                    <a:pt x="0" y="948104"/>
                    <a:pt x="0" y="500905"/>
                  </a:cubicBezTo>
                  <a:cubicBezTo>
                    <a:pt x="0" y="53706"/>
                    <a:pt x="314385" y="-127745"/>
                    <a:pt x="700714" y="95521"/>
                  </a:cubicBezTo>
                  <a:cubicBezTo>
                    <a:pt x="1087043" y="318787"/>
                    <a:pt x="1401428" y="864760"/>
                    <a:pt x="1401428" y="1311863"/>
                  </a:cubicBezTo>
                  <a:cubicBezTo>
                    <a:pt x="1401428" y="1758967"/>
                    <a:pt x="1087138" y="1940609"/>
                    <a:pt x="700714" y="1717343"/>
                  </a:cubicBezTo>
                  <a:close/>
                  <a:moveTo>
                    <a:pt x="700714" y="240967"/>
                  </a:moveTo>
                  <a:cubicBezTo>
                    <a:pt x="383573" y="57421"/>
                    <a:pt x="125450" y="206678"/>
                    <a:pt x="125450" y="573771"/>
                  </a:cubicBezTo>
                  <a:cubicBezTo>
                    <a:pt x="125450" y="940864"/>
                    <a:pt x="383573" y="1388920"/>
                    <a:pt x="700714" y="1572467"/>
                  </a:cubicBezTo>
                  <a:cubicBezTo>
                    <a:pt x="1017855" y="1756014"/>
                    <a:pt x="1276073" y="1606662"/>
                    <a:pt x="1276073" y="1239568"/>
                  </a:cubicBezTo>
                  <a:cubicBezTo>
                    <a:pt x="1276073" y="872475"/>
                    <a:pt x="1017760" y="424229"/>
                    <a:pt x="700714" y="24068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4249;p38">
              <a:extLst>
                <a:ext uri="{FF2B5EF4-FFF2-40B4-BE49-F238E27FC236}">
                  <a16:creationId xmlns:a16="http://schemas.microsoft.com/office/drawing/2014/main" id="{C1C75D58-7162-4C08-9F4B-27763A824245}"/>
                </a:ext>
              </a:extLst>
            </p:cNvPr>
            <p:cNvSpPr/>
            <p:nvPr/>
          </p:nvSpPr>
          <p:spPr>
            <a:xfrm>
              <a:off x="3046144" y="1759790"/>
              <a:ext cx="868170" cy="1123263"/>
            </a:xfrm>
            <a:custGeom>
              <a:avLst/>
              <a:gdLst/>
              <a:ahLst/>
              <a:cxnLst/>
              <a:rect l="l" t="t" r="r" b="b"/>
              <a:pathLst>
                <a:path w="868170" h="1123263" extrusionOk="0">
                  <a:moveTo>
                    <a:pt x="433753" y="1063934"/>
                  </a:moveTo>
                  <a:cubicBezTo>
                    <a:pt x="194447" y="925440"/>
                    <a:pt x="0" y="587398"/>
                    <a:pt x="0" y="310411"/>
                  </a:cubicBezTo>
                  <a:cubicBezTo>
                    <a:pt x="0" y="33424"/>
                    <a:pt x="194733" y="-79257"/>
                    <a:pt x="434038" y="59237"/>
                  </a:cubicBezTo>
                  <a:cubicBezTo>
                    <a:pt x="673343" y="197730"/>
                    <a:pt x="868171" y="535487"/>
                    <a:pt x="868171" y="812759"/>
                  </a:cubicBezTo>
                  <a:cubicBezTo>
                    <a:pt x="868171" y="1090032"/>
                    <a:pt x="673153" y="1202523"/>
                    <a:pt x="433753" y="1063934"/>
                  </a:cubicBezTo>
                  <a:close/>
                  <a:moveTo>
                    <a:pt x="433753" y="204398"/>
                  </a:moveTo>
                  <a:cubicBezTo>
                    <a:pt x="263540" y="105909"/>
                    <a:pt x="125070" y="186015"/>
                    <a:pt x="125070" y="382992"/>
                  </a:cubicBezTo>
                  <a:cubicBezTo>
                    <a:pt x="125070" y="579969"/>
                    <a:pt x="263540" y="820380"/>
                    <a:pt x="433753" y="918868"/>
                  </a:cubicBezTo>
                  <a:cubicBezTo>
                    <a:pt x="603966" y="1017356"/>
                    <a:pt x="742436" y="937156"/>
                    <a:pt x="742436" y="740179"/>
                  </a:cubicBezTo>
                  <a:cubicBezTo>
                    <a:pt x="742436" y="543202"/>
                    <a:pt x="603966" y="302886"/>
                    <a:pt x="433753" y="20439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4250;p38">
              <a:extLst>
                <a:ext uri="{FF2B5EF4-FFF2-40B4-BE49-F238E27FC236}">
                  <a16:creationId xmlns:a16="http://schemas.microsoft.com/office/drawing/2014/main" id="{EC73EB70-DADE-4A3B-BD5A-5FA80D960981}"/>
                </a:ext>
              </a:extLst>
            </p:cNvPr>
            <p:cNvSpPr/>
            <p:nvPr/>
          </p:nvSpPr>
          <p:spPr>
            <a:xfrm>
              <a:off x="3308258" y="2099261"/>
              <a:ext cx="343371" cy="444102"/>
            </a:xfrm>
            <a:custGeom>
              <a:avLst/>
              <a:gdLst/>
              <a:ahLst/>
              <a:cxnLst/>
              <a:rect l="l" t="t" r="r" b="b"/>
              <a:pathLst>
                <a:path w="343371" h="444102" extrusionOk="0">
                  <a:moveTo>
                    <a:pt x="171638" y="420806"/>
                  </a:moveTo>
                  <a:cubicBezTo>
                    <a:pt x="76600" y="366037"/>
                    <a:pt x="0" y="232306"/>
                    <a:pt x="0" y="122768"/>
                  </a:cubicBezTo>
                  <a:cubicBezTo>
                    <a:pt x="0" y="13231"/>
                    <a:pt x="76981" y="-31346"/>
                    <a:pt x="171638" y="23423"/>
                  </a:cubicBezTo>
                  <a:cubicBezTo>
                    <a:pt x="266296" y="78191"/>
                    <a:pt x="343372" y="211922"/>
                    <a:pt x="343372" y="321460"/>
                  </a:cubicBezTo>
                  <a:cubicBezTo>
                    <a:pt x="343372" y="430997"/>
                    <a:pt x="266391" y="475289"/>
                    <a:pt x="171638" y="420806"/>
                  </a:cubicBezTo>
                  <a:close/>
                  <a:moveTo>
                    <a:pt x="171638" y="168584"/>
                  </a:moveTo>
                  <a:cubicBezTo>
                    <a:pt x="146168" y="153820"/>
                    <a:pt x="125355" y="165821"/>
                    <a:pt x="125355" y="195349"/>
                  </a:cubicBezTo>
                  <a:cubicBezTo>
                    <a:pt x="127170" y="227962"/>
                    <a:pt x="144353" y="257776"/>
                    <a:pt x="171638" y="275644"/>
                  </a:cubicBezTo>
                  <a:cubicBezTo>
                    <a:pt x="197204" y="290408"/>
                    <a:pt x="217922" y="278407"/>
                    <a:pt x="217922" y="248879"/>
                  </a:cubicBezTo>
                  <a:cubicBezTo>
                    <a:pt x="216145" y="216247"/>
                    <a:pt x="198952" y="186424"/>
                    <a:pt x="171638" y="1685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4251;p38">
              <a:extLst>
                <a:ext uri="{FF2B5EF4-FFF2-40B4-BE49-F238E27FC236}">
                  <a16:creationId xmlns:a16="http://schemas.microsoft.com/office/drawing/2014/main" id="{91A5FD1C-752E-41CA-92A6-B585DA1FF038}"/>
                </a:ext>
              </a:extLst>
            </p:cNvPr>
            <p:cNvSpPr/>
            <p:nvPr/>
          </p:nvSpPr>
          <p:spPr>
            <a:xfrm>
              <a:off x="2221786" y="2914306"/>
              <a:ext cx="208703" cy="88772"/>
            </a:xfrm>
            <a:custGeom>
              <a:avLst/>
              <a:gdLst/>
              <a:ahLst/>
              <a:cxnLst/>
              <a:rect l="l" t="t" r="r" b="b"/>
              <a:pathLst>
                <a:path w="208703" h="88772" extrusionOk="0">
                  <a:moveTo>
                    <a:pt x="64246" y="87916"/>
                  </a:moveTo>
                  <a:lnTo>
                    <a:pt x="0" y="88773"/>
                  </a:lnTo>
                  <a:lnTo>
                    <a:pt x="208703" y="0"/>
                  </a:lnTo>
                  <a:lnTo>
                    <a:pt x="87720" y="75342"/>
                  </a:lnTo>
                  <a:lnTo>
                    <a:pt x="64246" y="87916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4252;p38">
              <a:extLst>
                <a:ext uri="{FF2B5EF4-FFF2-40B4-BE49-F238E27FC236}">
                  <a16:creationId xmlns:a16="http://schemas.microsoft.com/office/drawing/2014/main" id="{FF6BCD46-B02C-459A-9503-7B8D86DAEB36}"/>
                </a:ext>
              </a:extLst>
            </p:cNvPr>
            <p:cNvSpPr/>
            <p:nvPr/>
          </p:nvSpPr>
          <p:spPr>
            <a:xfrm rot="-1801764">
              <a:off x="2288993" y="2988576"/>
              <a:ext cx="26776" cy="46440"/>
            </a:xfrm>
            <a:custGeom>
              <a:avLst/>
              <a:gdLst/>
              <a:ahLst/>
              <a:cxnLst/>
              <a:rect l="l" t="t" r="r" b="b"/>
              <a:pathLst>
                <a:path w="26800" h="46481" extrusionOk="0">
                  <a:moveTo>
                    <a:pt x="26801" y="23241"/>
                  </a:moveTo>
                  <a:cubicBezTo>
                    <a:pt x="26801" y="36076"/>
                    <a:pt x="20801" y="46482"/>
                    <a:pt x="13400" y="46482"/>
                  </a:cubicBezTo>
                  <a:cubicBezTo>
                    <a:pt x="6000" y="46482"/>
                    <a:pt x="0" y="36076"/>
                    <a:pt x="0" y="23241"/>
                  </a:cubicBezTo>
                  <a:cubicBezTo>
                    <a:pt x="0" y="10405"/>
                    <a:pt x="6000" y="0"/>
                    <a:pt x="13400" y="0"/>
                  </a:cubicBezTo>
                  <a:cubicBezTo>
                    <a:pt x="20801" y="0"/>
                    <a:pt x="26801" y="10405"/>
                    <a:pt x="26801" y="23241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4253;p38">
              <a:extLst>
                <a:ext uri="{FF2B5EF4-FFF2-40B4-BE49-F238E27FC236}">
                  <a16:creationId xmlns:a16="http://schemas.microsoft.com/office/drawing/2014/main" id="{3A48E0EE-D1BD-4703-A324-90AC7B40AB13}"/>
                </a:ext>
              </a:extLst>
            </p:cNvPr>
            <p:cNvSpPr/>
            <p:nvPr/>
          </p:nvSpPr>
          <p:spPr>
            <a:xfrm rot="-1801764">
              <a:off x="3469496" y="2304051"/>
              <a:ext cx="26776" cy="46440"/>
            </a:xfrm>
            <a:custGeom>
              <a:avLst/>
              <a:gdLst/>
              <a:ahLst/>
              <a:cxnLst/>
              <a:rect l="l" t="t" r="r" b="b"/>
              <a:pathLst>
                <a:path w="26800" h="46481" extrusionOk="0">
                  <a:moveTo>
                    <a:pt x="26801" y="23241"/>
                  </a:moveTo>
                  <a:cubicBezTo>
                    <a:pt x="26801" y="36077"/>
                    <a:pt x="20801" y="46482"/>
                    <a:pt x="13400" y="46482"/>
                  </a:cubicBezTo>
                  <a:cubicBezTo>
                    <a:pt x="5999" y="46482"/>
                    <a:pt x="0" y="36077"/>
                    <a:pt x="0" y="23241"/>
                  </a:cubicBezTo>
                  <a:cubicBezTo>
                    <a:pt x="0" y="10405"/>
                    <a:pt x="5999" y="0"/>
                    <a:pt x="13400" y="0"/>
                  </a:cubicBezTo>
                  <a:cubicBezTo>
                    <a:pt x="20801" y="0"/>
                    <a:pt x="26801" y="10405"/>
                    <a:pt x="26801" y="23241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4254;p38">
              <a:extLst>
                <a:ext uri="{FF2B5EF4-FFF2-40B4-BE49-F238E27FC236}">
                  <a16:creationId xmlns:a16="http://schemas.microsoft.com/office/drawing/2014/main" id="{EAA03746-5405-459F-9E75-2B1365EF1B4F}"/>
                </a:ext>
              </a:extLst>
            </p:cNvPr>
            <p:cNvSpPr/>
            <p:nvPr/>
          </p:nvSpPr>
          <p:spPr>
            <a:xfrm>
              <a:off x="2314638" y="2924117"/>
              <a:ext cx="167836" cy="171354"/>
            </a:xfrm>
            <a:custGeom>
              <a:avLst/>
              <a:gdLst/>
              <a:ahLst/>
              <a:cxnLst/>
              <a:rect l="l" t="t" r="r" b="b"/>
              <a:pathLst>
                <a:path w="167836" h="171354" extrusionOk="0">
                  <a:moveTo>
                    <a:pt x="15301" y="171355"/>
                  </a:moveTo>
                  <a:lnTo>
                    <a:pt x="0" y="107251"/>
                  </a:lnTo>
                  <a:lnTo>
                    <a:pt x="167837" y="0"/>
                  </a:lnTo>
                  <a:lnTo>
                    <a:pt x="160519" y="15145"/>
                  </a:lnTo>
                  <a:lnTo>
                    <a:pt x="15301" y="171355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4255;p38">
              <a:extLst>
                <a:ext uri="{FF2B5EF4-FFF2-40B4-BE49-F238E27FC236}">
                  <a16:creationId xmlns:a16="http://schemas.microsoft.com/office/drawing/2014/main" id="{00164CB1-3219-4124-B471-F6DF22EA4046}"/>
                </a:ext>
              </a:extLst>
            </p:cNvPr>
            <p:cNvSpPr/>
            <p:nvPr/>
          </p:nvSpPr>
          <p:spPr>
            <a:xfrm>
              <a:off x="2290498" y="2306802"/>
              <a:ext cx="1203749" cy="724947"/>
            </a:xfrm>
            <a:custGeom>
              <a:avLst/>
              <a:gdLst/>
              <a:ahLst/>
              <a:cxnLst/>
              <a:rect l="l" t="t" r="r" b="b"/>
              <a:pathLst>
                <a:path w="1203749" h="724947" extrusionOk="0">
                  <a:moveTo>
                    <a:pt x="23855" y="724948"/>
                  </a:moveTo>
                  <a:cubicBezTo>
                    <a:pt x="25280" y="723709"/>
                    <a:pt x="1203750" y="40958"/>
                    <a:pt x="1203750" y="40958"/>
                  </a:cubicBezTo>
                  <a:lnTo>
                    <a:pt x="1182081" y="0"/>
                  </a:lnTo>
                  <a:lnTo>
                    <a:pt x="0" y="685800"/>
                  </a:ln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81777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8" name="Google Shape;1168;p27"/>
          <p:cNvSpPr txBox="1">
            <a:spLocks noGrp="1"/>
          </p:cNvSpPr>
          <p:nvPr>
            <p:ph type="ctrTitle" idx="4294967295"/>
          </p:nvPr>
        </p:nvSpPr>
        <p:spPr>
          <a:xfrm>
            <a:off x="685800" y="876600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9,871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69" name="Google Shape;1169;p27"/>
          <p:cNvSpPr txBox="1">
            <a:spLocks noGrp="1"/>
          </p:cNvSpPr>
          <p:nvPr>
            <p:ph type="subTitle" idx="4294967295"/>
          </p:nvPr>
        </p:nvSpPr>
        <p:spPr>
          <a:xfrm>
            <a:off x="685799" y="1411308"/>
            <a:ext cx="5519615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sz="2400" dirty="0"/>
              <a:t>Total Job Postings</a:t>
            </a:r>
            <a:endParaRPr sz="2400" dirty="0"/>
          </a:p>
        </p:txBody>
      </p:sp>
      <p:sp>
        <p:nvSpPr>
          <p:cNvPr id="1170" name="Google Shape;1170;p27"/>
          <p:cNvSpPr txBox="1">
            <a:spLocks noGrp="1"/>
          </p:cNvSpPr>
          <p:nvPr>
            <p:ph type="ctrTitle" idx="4294967295"/>
          </p:nvPr>
        </p:nvSpPr>
        <p:spPr>
          <a:xfrm>
            <a:off x="685800" y="3505493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1,115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71" name="Google Shape;1171;p27"/>
          <p:cNvSpPr txBox="1">
            <a:spLocks noGrp="1"/>
          </p:cNvSpPr>
          <p:nvPr>
            <p:ph type="subTitle" idx="4294967295"/>
          </p:nvPr>
        </p:nvSpPr>
        <p:spPr>
          <a:xfrm>
            <a:off x="685800" y="4040201"/>
            <a:ext cx="4048200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2400" dirty="0"/>
              <a:t>Cities</a:t>
            </a:r>
            <a:endParaRPr sz="2400" dirty="0"/>
          </a:p>
        </p:txBody>
      </p:sp>
      <p:sp>
        <p:nvSpPr>
          <p:cNvPr id="1172" name="Google Shape;1172;p27"/>
          <p:cNvSpPr txBox="1">
            <a:spLocks noGrp="1"/>
          </p:cNvSpPr>
          <p:nvPr>
            <p:ph type="ctrTitle" idx="4294967295"/>
          </p:nvPr>
        </p:nvSpPr>
        <p:spPr>
          <a:xfrm>
            <a:off x="685800" y="2191047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254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73" name="Google Shape;1173;p27"/>
          <p:cNvSpPr txBox="1">
            <a:spLocks noGrp="1"/>
          </p:cNvSpPr>
          <p:nvPr>
            <p:ph type="subTitle" idx="4294967295"/>
          </p:nvPr>
        </p:nvSpPr>
        <p:spPr>
          <a:xfrm>
            <a:off x="685800" y="2725755"/>
            <a:ext cx="4048200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2400" dirty="0"/>
              <a:t>Remote Jobs</a:t>
            </a:r>
            <a:endParaRPr sz="2400" dirty="0"/>
          </a:p>
        </p:txBody>
      </p:sp>
      <p:sp>
        <p:nvSpPr>
          <p:cNvPr id="1174" name="Google Shape;1174;p2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9</a:t>
            </a:fld>
            <a:endParaRPr/>
          </a:p>
        </p:txBody>
      </p:sp>
      <p:pic>
        <p:nvPicPr>
          <p:cNvPr id="5122" name="Picture 2" descr="Image result for data jobs search">
            <a:extLst>
              <a:ext uri="{FF2B5EF4-FFF2-40B4-BE49-F238E27FC236}">
                <a16:creationId xmlns:a16="http://schemas.microsoft.com/office/drawing/2014/main" id="{21D6997C-FBF3-4D87-A77A-6DB94AE35C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4385" y="936376"/>
            <a:ext cx="5519615" cy="310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genda</a:t>
            </a:r>
            <a:endParaRPr dirty="0"/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4352" y="1560715"/>
            <a:ext cx="5869459" cy="2887291"/>
          </a:xfrm>
        </p:spPr>
        <p:txBody>
          <a:bodyPr/>
          <a:lstStyle/>
          <a:p>
            <a:r>
              <a:rPr lang="en-CA" dirty="0"/>
              <a:t>Project motivation</a:t>
            </a:r>
          </a:p>
          <a:p>
            <a:r>
              <a:rPr lang="en-CA" dirty="0"/>
              <a:t>ETL process</a:t>
            </a:r>
          </a:p>
          <a:p>
            <a:r>
              <a:rPr lang="en-CA" dirty="0"/>
              <a:t>Dashboard creation process</a:t>
            </a:r>
          </a:p>
          <a:p>
            <a:r>
              <a:rPr lang="en-CA" dirty="0"/>
              <a:t>Results</a:t>
            </a:r>
          </a:p>
          <a:p>
            <a:r>
              <a:rPr lang="en-CA" dirty="0"/>
              <a:t>Summary of insights</a:t>
            </a:r>
          </a:p>
          <a:p>
            <a:r>
              <a:rPr lang="en-CA" dirty="0"/>
              <a:t>Future works</a:t>
            </a:r>
          </a:p>
          <a:p>
            <a:r>
              <a:rPr lang="en-CA" dirty="0"/>
              <a:t>Q&amp;A</a:t>
            </a:r>
          </a:p>
        </p:txBody>
      </p:sp>
      <p:grpSp>
        <p:nvGrpSpPr>
          <p:cNvPr id="178" name="Google Shape;2228;p37">
            <a:extLst>
              <a:ext uri="{FF2B5EF4-FFF2-40B4-BE49-F238E27FC236}">
                <a16:creationId xmlns:a16="http://schemas.microsoft.com/office/drawing/2014/main" id="{F6238C9F-0BC1-47B0-97AD-072BC6D849F9}"/>
              </a:ext>
            </a:extLst>
          </p:cNvPr>
          <p:cNvGrpSpPr/>
          <p:nvPr/>
        </p:nvGrpSpPr>
        <p:grpSpPr>
          <a:xfrm>
            <a:off x="5114340" y="1005841"/>
            <a:ext cx="3046679" cy="2998358"/>
            <a:chOff x="2012475" y="393272"/>
            <a:chExt cx="4440240" cy="4609126"/>
          </a:xfrm>
        </p:grpSpPr>
        <p:sp>
          <p:nvSpPr>
            <p:cNvPr id="179" name="Google Shape;2229;p37">
              <a:extLst>
                <a:ext uri="{FF2B5EF4-FFF2-40B4-BE49-F238E27FC236}">
                  <a16:creationId xmlns:a16="http://schemas.microsoft.com/office/drawing/2014/main" id="{95E0599E-253A-4579-9C42-E7292D5C2721}"/>
                </a:ext>
              </a:extLst>
            </p:cNvPr>
            <p:cNvSpPr/>
            <p:nvPr/>
          </p:nvSpPr>
          <p:spPr>
            <a:xfrm>
              <a:off x="4172687" y="3422228"/>
              <a:ext cx="1096154" cy="631831"/>
            </a:xfrm>
            <a:custGeom>
              <a:avLst/>
              <a:gdLst/>
              <a:ahLst/>
              <a:cxnLst/>
              <a:rect l="l" t="t" r="r" b="b"/>
              <a:pathLst>
                <a:path w="1096154" h="631831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137" y="0"/>
                  </a:lnTo>
                  <a:lnTo>
                    <a:pt x="1096154" y="402457"/>
                  </a:lnTo>
                  <a:lnTo>
                    <a:pt x="737223" y="609484"/>
                  </a:lnTo>
                  <a:cubicBezTo>
                    <a:pt x="691155" y="636479"/>
                    <a:pt x="621386" y="639331"/>
                    <a:pt x="581029" y="61632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230;p37">
              <a:extLst>
                <a:ext uri="{FF2B5EF4-FFF2-40B4-BE49-F238E27FC236}">
                  <a16:creationId xmlns:a16="http://schemas.microsoft.com/office/drawing/2014/main" id="{E0CE2170-0BBB-480F-96A5-12920318E00E}"/>
                </a:ext>
              </a:extLst>
            </p:cNvPr>
            <p:cNvSpPr/>
            <p:nvPr/>
          </p:nvSpPr>
          <p:spPr>
            <a:xfrm>
              <a:off x="4213521" y="3398464"/>
              <a:ext cx="1096058" cy="631866"/>
            </a:xfrm>
            <a:custGeom>
              <a:avLst/>
              <a:gdLst/>
              <a:ahLst/>
              <a:cxnLst/>
              <a:rect l="l" t="t" r="r" b="b"/>
              <a:pathLst>
                <a:path w="1096058" h="631866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864"/>
                  </a:lnTo>
                  <a:cubicBezTo>
                    <a:pt x="690774" y="636479"/>
                    <a:pt x="621005" y="639331"/>
                    <a:pt x="581029" y="616328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231;p37">
              <a:extLst>
                <a:ext uri="{FF2B5EF4-FFF2-40B4-BE49-F238E27FC236}">
                  <a16:creationId xmlns:a16="http://schemas.microsoft.com/office/drawing/2014/main" id="{D9C0528A-C144-4696-8B5E-B03A0092B5C8}"/>
                </a:ext>
              </a:extLst>
            </p:cNvPr>
            <p:cNvSpPr/>
            <p:nvPr/>
          </p:nvSpPr>
          <p:spPr>
            <a:xfrm>
              <a:off x="5277122" y="3780200"/>
              <a:ext cx="32266" cy="21196"/>
            </a:xfrm>
            <a:custGeom>
              <a:avLst/>
              <a:gdLst/>
              <a:ahLst/>
              <a:cxnLst/>
              <a:rect l="l" t="t" r="r" b="b"/>
              <a:pathLst>
                <a:path w="32266" h="21196" extrusionOk="0">
                  <a:moveTo>
                    <a:pt x="32267" y="21197"/>
                  </a:moveTo>
                  <a:lnTo>
                    <a:pt x="32267" y="0"/>
                  </a:lnTo>
                  <a:lnTo>
                    <a:pt x="0" y="18630"/>
                  </a:lnTo>
                  <a:lnTo>
                    <a:pt x="32267" y="2119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232;p37">
              <a:extLst>
                <a:ext uri="{FF2B5EF4-FFF2-40B4-BE49-F238E27FC236}">
                  <a16:creationId xmlns:a16="http://schemas.microsoft.com/office/drawing/2014/main" id="{C7C054E2-F8BF-4412-A3E4-4F9760CFE3FA}"/>
                </a:ext>
              </a:extLst>
            </p:cNvPr>
            <p:cNvSpPr/>
            <p:nvPr/>
          </p:nvSpPr>
          <p:spPr>
            <a:xfrm>
              <a:off x="4213559" y="3635813"/>
              <a:ext cx="33123" cy="21387"/>
            </a:xfrm>
            <a:custGeom>
              <a:avLst/>
              <a:gdLst/>
              <a:ahLst/>
              <a:cxnLst/>
              <a:rect l="l" t="t" r="r" b="b"/>
              <a:pathLst>
                <a:path w="33123" h="21387" extrusionOk="0">
                  <a:moveTo>
                    <a:pt x="0" y="21387"/>
                  </a:moveTo>
                  <a:lnTo>
                    <a:pt x="0" y="0"/>
                  </a:lnTo>
                  <a:lnTo>
                    <a:pt x="33123" y="13688"/>
                  </a:lnTo>
                  <a:lnTo>
                    <a:pt x="0" y="2138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233;p37">
              <a:extLst>
                <a:ext uri="{FF2B5EF4-FFF2-40B4-BE49-F238E27FC236}">
                  <a16:creationId xmlns:a16="http://schemas.microsoft.com/office/drawing/2014/main" id="{327857DB-2584-4005-83B2-12388CCB98D5}"/>
                </a:ext>
              </a:extLst>
            </p:cNvPr>
            <p:cNvSpPr/>
            <p:nvPr/>
          </p:nvSpPr>
          <p:spPr>
            <a:xfrm>
              <a:off x="4213521" y="3377363"/>
              <a:ext cx="1096058" cy="631809"/>
            </a:xfrm>
            <a:custGeom>
              <a:avLst/>
              <a:gdLst/>
              <a:ahLst/>
              <a:cxnLst/>
              <a:rect l="l" t="t" r="r" b="b"/>
              <a:pathLst>
                <a:path w="1096058" h="631809" extrusionOk="0">
                  <a:moveTo>
                    <a:pt x="581029" y="616232"/>
                  </a:moveTo>
                  <a:lnTo>
                    <a:pt x="26975" y="296853"/>
                  </a:lnTo>
                  <a:cubicBezTo>
                    <a:pt x="-13002" y="273754"/>
                    <a:pt x="-7957" y="233547"/>
                    <a:pt x="38206" y="206932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769"/>
                  </a:lnTo>
                  <a:cubicBezTo>
                    <a:pt x="690774" y="636384"/>
                    <a:pt x="621005" y="639331"/>
                    <a:pt x="581029" y="616232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234;p37">
              <a:extLst>
                <a:ext uri="{FF2B5EF4-FFF2-40B4-BE49-F238E27FC236}">
                  <a16:creationId xmlns:a16="http://schemas.microsoft.com/office/drawing/2014/main" id="{88FDB8C9-2E71-4BE9-BB08-A52802A40968}"/>
                </a:ext>
              </a:extLst>
            </p:cNvPr>
            <p:cNvSpPr/>
            <p:nvPr/>
          </p:nvSpPr>
          <p:spPr>
            <a:xfrm>
              <a:off x="4526041" y="3091821"/>
              <a:ext cx="783348" cy="688378"/>
            </a:xfrm>
            <a:custGeom>
              <a:avLst/>
              <a:gdLst/>
              <a:ahLst/>
              <a:cxnLst/>
              <a:rect l="l" t="t" r="r" b="b"/>
              <a:pathLst>
                <a:path w="783348" h="688378" extrusionOk="0">
                  <a:moveTo>
                    <a:pt x="86521" y="286492"/>
                  </a:moveTo>
                  <a:lnTo>
                    <a:pt x="0" y="0"/>
                  </a:lnTo>
                  <a:lnTo>
                    <a:pt x="706346" y="404548"/>
                  </a:lnTo>
                  <a:lnTo>
                    <a:pt x="783348" y="688378"/>
                  </a:lnTo>
                  <a:lnTo>
                    <a:pt x="86521" y="286492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235;p37">
              <a:extLst>
                <a:ext uri="{FF2B5EF4-FFF2-40B4-BE49-F238E27FC236}">
                  <a16:creationId xmlns:a16="http://schemas.microsoft.com/office/drawing/2014/main" id="{01B45DD1-E42E-447C-BDC0-C36B57194C56}"/>
                </a:ext>
              </a:extLst>
            </p:cNvPr>
            <p:cNvSpPr/>
            <p:nvPr/>
          </p:nvSpPr>
          <p:spPr>
            <a:xfrm>
              <a:off x="5278931" y="3755961"/>
              <a:ext cx="30363" cy="36025"/>
            </a:xfrm>
            <a:custGeom>
              <a:avLst/>
              <a:gdLst/>
              <a:ahLst/>
              <a:cxnLst/>
              <a:rect l="l" t="t" r="r" b="b"/>
              <a:pathLst>
                <a:path w="30363" h="36025" extrusionOk="0">
                  <a:moveTo>
                    <a:pt x="9899" y="36025"/>
                  </a:moveTo>
                  <a:lnTo>
                    <a:pt x="30363" y="242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2236;p37">
              <a:extLst>
                <a:ext uri="{FF2B5EF4-FFF2-40B4-BE49-F238E27FC236}">
                  <a16:creationId xmlns:a16="http://schemas.microsoft.com/office/drawing/2014/main" id="{4499938B-8209-42BB-B8BB-24D80E04BD6A}"/>
                </a:ext>
              </a:extLst>
            </p:cNvPr>
            <p:cNvSpPr/>
            <p:nvPr/>
          </p:nvSpPr>
          <p:spPr>
            <a:xfrm>
              <a:off x="4503768" y="3102562"/>
              <a:ext cx="785061" cy="689423"/>
            </a:xfrm>
            <a:custGeom>
              <a:avLst/>
              <a:gdLst/>
              <a:ahLst/>
              <a:cxnLst/>
              <a:rect l="l" t="t" r="r" b="b"/>
              <a:pathLst>
                <a:path w="785061" h="689423" extrusionOk="0">
                  <a:moveTo>
                    <a:pt x="86425" y="286492"/>
                  </a:moveTo>
                  <a:lnTo>
                    <a:pt x="0" y="0"/>
                  </a:lnTo>
                  <a:lnTo>
                    <a:pt x="706346" y="404643"/>
                  </a:lnTo>
                  <a:lnTo>
                    <a:pt x="785061" y="689424"/>
                  </a:lnTo>
                  <a:lnTo>
                    <a:pt x="86425" y="28649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2237;p37">
              <a:extLst>
                <a:ext uri="{FF2B5EF4-FFF2-40B4-BE49-F238E27FC236}">
                  <a16:creationId xmlns:a16="http://schemas.microsoft.com/office/drawing/2014/main" id="{4542DDD6-E4D9-4D06-B701-393449A5A96B}"/>
                </a:ext>
              </a:extLst>
            </p:cNvPr>
            <p:cNvSpPr/>
            <p:nvPr/>
          </p:nvSpPr>
          <p:spPr>
            <a:xfrm>
              <a:off x="3580122" y="393272"/>
              <a:ext cx="2872593" cy="3889928"/>
            </a:xfrm>
            <a:custGeom>
              <a:avLst/>
              <a:gdLst/>
              <a:ahLst/>
              <a:cxnLst/>
              <a:rect l="l" t="t" r="r" b="b"/>
              <a:pathLst>
                <a:path w="2872593" h="3889928" extrusionOk="0">
                  <a:moveTo>
                    <a:pt x="2803111" y="3881586"/>
                  </a:moveTo>
                  <a:lnTo>
                    <a:pt x="69483" y="2305217"/>
                  </a:lnTo>
                  <a:cubicBezTo>
                    <a:pt x="31410" y="2283165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483" y="8342"/>
                  </a:cubicBezTo>
                  <a:lnTo>
                    <a:pt x="2803111" y="1584711"/>
                  </a:lnTo>
                  <a:cubicBezTo>
                    <a:pt x="2841183" y="1606763"/>
                    <a:pt x="2872593" y="1666077"/>
                    <a:pt x="2872593" y="1717121"/>
                  </a:cubicBezTo>
                  <a:lnTo>
                    <a:pt x="2872593" y="3829212"/>
                  </a:lnTo>
                  <a:cubicBezTo>
                    <a:pt x="2872593" y="3880256"/>
                    <a:pt x="2841469" y="3903734"/>
                    <a:pt x="2803111" y="3881586"/>
                  </a:cubicBez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2238;p37">
              <a:extLst>
                <a:ext uri="{FF2B5EF4-FFF2-40B4-BE49-F238E27FC236}">
                  <a16:creationId xmlns:a16="http://schemas.microsoft.com/office/drawing/2014/main" id="{B8B2C1BB-6102-4524-BAA8-EA0CAA76E56A}"/>
                </a:ext>
              </a:extLst>
            </p:cNvPr>
            <p:cNvSpPr/>
            <p:nvPr/>
          </p:nvSpPr>
          <p:spPr>
            <a:xfrm>
              <a:off x="6397319" y="4189501"/>
              <a:ext cx="30267" cy="107125"/>
            </a:xfrm>
            <a:custGeom>
              <a:avLst/>
              <a:gdLst/>
              <a:ahLst/>
              <a:cxnLst/>
              <a:rect l="l" t="t" r="r" b="b"/>
              <a:pathLst>
                <a:path w="30267" h="107125" extrusionOk="0">
                  <a:moveTo>
                    <a:pt x="0" y="107125"/>
                  </a:moveTo>
                  <a:lnTo>
                    <a:pt x="30268" y="89731"/>
                  </a:lnTo>
                  <a:lnTo>
                    <a:pt x="17228" y="0"/>
                  </a:lnTo>
                  <a:lnTo>
                    <a:pt x="0" y="107125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239;p37">
              <a:extLst>
                <a:ext uri="{FF2B5EF4-FFF2-40B4-BE49-F238E27FC236}">
                  <a16:creationId xmlns:a16="http://schemas.microsoft.com/office/drawing/2014/main" id="{130F06A1-057B-4132-962F-8767140EBD39}"/>
                </a:ext>
              </a:extLst>
            </p:cNvPr>
            <p:cNvSpPr/>
            <p:nvPr/>
          </p:nvSpPr>
          <p:spPr>
            <a:xfrm>
              <a:off x="3574887" y="397432"/>
              <a:ext cx="72623" cy="31086"/>
            </a:xfrm>
            <a:custGeom>
              <a:avLst/>
              <a:gdLst/>
              <a:ahLst/>
              <a:cxnLst/>
              <a:rect l="l" t="t" r="r" b="b"/>
              <a:pathLst>
                <a:path w="72623" h="31086" extrusionOk="0">
                  <a:moveTo>
                    <a:pt x="0" y="17110"/>
                  </a:moveTo>
                  <a:lnTo>
                    <a:pt x="29792" y="0"/>
                  </a:lnTo>
                  <a:lnTo>
                    <a:pt x="72624" y="24334"/>
                  </a:lnTo>
                  <a:cubicBezTo>
                    <a:pt x="72624" y="24334"/>
                    <a:pt x="27032" y="31273"/>
                    <a:pt x="25890" y="31083"/>
                  </a:cubicBezTo>
                  <a:cubicBezTo>
                    <a:pt x="24747" y="30892"/>
                    <a:pt x="0" y="17110"/>
                    <a:pt x="0" y="171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240;p37">
              <a:extLst>
                <a:ext uri="{FF2B5EF4-FFF2-40B4-BE49-F238E27FC236}">
                  <a16:creationId xmlns:a16="http://schemas.microsoft.com/office/drawing/2014/main" id="{DF16AC2E-00FA-49CE-8F77-69736047E601}"/>
                </a:ext>
              </a:extLst>
            </p:cNvPr>
            <p:cNvSpPr/>
            <p:nvPr/>
          </p:nvSpPr>
          <p:spPr>
            <a:xfrm>
              <a:off x="3554709" y="407720"/>
              <a:ext cx="2872878" cy="3889928"/>
            </a:xfrm>
            <a:custGeom>
              <a:avLst/>
              <a:gdLst/>
              <a:ahLst/>
              <a:cxnLst/>
              <a:rect l="l" t="t" r="r" b="b"/>
              <a:pathLst>
                <a:path w="2872878" h="3889928" extrusionOk="0">
                  <a:moveTo>
                    <a:pt x="2803491" y="3881587"/>
                  </a:moveTo>
                  <a:lnTo>
                    <a:pt x="69388" y="2304837"/>
                  </a:lnTo>
                  <a:cubicBezTo>
                    <a:pt x="31315" y="2282785"/>
                    <a:pt x="0" y="2223471"/>
                    <a:pt x="0" y="2172332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388" y="8342"/>
                  </a:cubicBezTo>
                  <a:lnTo>
                    <a:pt x="2803491" y="1584711"/>
                  </a:lnTo>
                  <a:cubicBezTo>
                    <a:pt x="2841564" y="1606763"/>
                    <a:pt x="2872879" y="1666077"/>
                    <a:pt x="2872879" y="1717216"/>
                  </a:cubicBezTo>
                  <a:lnTo>
                    <a:pt x="2872879" y="3829212"/>
                  </a:lnTo>
                  <a:cubicBezTo>
                    <a:pt x="2872879" y="3880256"/>
                    <a:pt x="2841850" y="3903734"/>
                    <a:pt x="2803491" y="3881587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241;p37">
              <a:extLst>
                <a:ext uri="{FF2B5EF4-FFF2-40B4-BE49-F238E27FC236}">
                  <a16:creationId xmlns:a16="http://schemas.microsoft.com/office/drawing/2014/main" id="{1FC18396-601B-4B87-B670-53BC791CFDA3}"/>
                </a:ext>
              </a:extLst>
            </p:cNvPr>
            <p:cNvSpPr/>
            <p:nvPr/>
          </p:nvSpPr>
          <p:spPr>
            <a:xfrm>
              <a:off x="3549854" y="410477"/>
              <a:ext cx="2872973" cy="3889886"/>
            </a:xfrm>
            <a:custGeom>
              <a:avLst/>
              <a:gdLst/>
              <a:ahLst/>
              <a:cxnLst/>
              <a:rect l="l" t="t" r="r" b="b"/>
              <a:pathLst>
                <a:path w="2872973" h="3889886" extrusionOk="0">
                  <a:moveTo>
                    <a:pt x="2803491" y="3881587"/>
                  </a:moveTo>
                  <a:lnTo>
                    <a:pt x="69483" y="2305217"/>
                  </a:lnTo>
                  <a:cubicBezTo>
                    <a:pt x="31410" y="2283070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4" y="-13806"/>
                    <a:pt x="69483" y="8342"/>
                  </a:cubicBezTo>
                  <a:lnTo>
                    <a:pt x="2803491" y="1584711"/>
                  </a:lnTo>
                  <a:cubicBezTo>
                    <a:pt x="2841564" y="1606764"/>
                    <a:pt x="2872974" y="1666077"/>
                    <a:pt x="2872974" y="1717121"/>
                  </a:cubicBezTo>
                  <a:lnTo>
                    <a:pt x="2872974" y="3829212"/>
                  </a:lnTo>
                  <a:cubicBezTo>
                    <a:pt x="2872974" y="3879971"/>
                    <a:pt x="2841849" y="3903734"/>
                    <a:pt x="2803491" y="3881587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242;p37">
              <a:extLst>
                <a:ext uri="{FF2B5EF4-FFF2-40B4-BE49-F238E27FC236}">
                  <a16:creationId xmlns:a16="http://schemas.microsoft.com/office/drawing/2014/main" id="{F48237C3-1D77-4BF6-B61C-C63EAE268958}"/>
                </a:ext>
              </a:extLst>
            </p:cNvPr>
            <p:cNvSpPr/>
            <p:nvPr/>
          </p:nvSpPr>
          <p:spPr>
            <a:xfrm>
              <a:off x="3584596" y="456003"/>
              <a:ext cx="2802063" cy="3707642"/>
            </a:xfrm>
            <a:custGeom>
              <a:avLst/>
              <a:gdLst/>
              <a:ahLst/>
              <a:cxnLst/>
              <a:rect l="l" t="t" r="r" b="b"/>
              <a:pathLst>
                <a:path w="2802063" h="3707642" extrusionOk="0">
                  <a:moveTo>
                    <a:pt x="2800636" y="3707643"/>
                  </a:moveTo>
                  <a:lnTo>
                    <a:pt x="0" y="2092872"/>
                  </a:lnTo>
                  <a:lnTo>
                    <a:pt x="1428" y="23650"/>
                  </a:lnTo>
                  <a:cubicBezTo>
                    <a:pt x="1428" y="2453"/>
                    <a:pt x="16371" y="-6102"/>
                    <a:pt x="34742" y="4639"/>
                  </a:cubicBezTo>
                  <a:lnTo>
                    <a:pt x="2768750" y="1580818"/>
                  </a:lnTo>
                  <a:cubicBezTo>
                    <a:pt x="2788395" y="1593631"/>
                    <a:pt x="2800769" y="1615018"/>
                    <a:pt x="2802063" y="16384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243;p37">
              <a:extLst>
                <a:ext uri="{FF2B5EF4-FFF2-40B4-BE49-F238E27FC236}">
                  <a16:creationId xmlns:a16="http://schemas.microsoft.com/office/drawing/2014/main" id="{89E35091-A3D5-447E-A30A-4F5A8815DB4D}"/>
                </a:ext>
              </a:extLst>
            </p:cNvPr>
            <p:cNvSpPr/>
            <p:nvPr/>
          </p:nvSpPr>
          <p:spPr>
            <a:xfrm>
              <a:off x="3711283" y="669187"/>
              <a:ext cx="283071" cy="477189"/>
            </a:xfrm>
            <a:custGeom>
              <a:avLst/>
              <a:gdLst/>
              <a:ahLst/>
              <a:cxnLst/>
              <a:rect l="l" t="t" r="r" b="b"/>
              <a:pathLst>
                <a:path w="283071" h="477189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7"/>
                    <a:pt x="181" y="312023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572"/>
                  </a:lnTo>
                  <a:cubicBezTo>
                    <a:pt x="277551" y="154933"/>
                    <a:pt x="282919" y="165172"/>
                    <a:pt x="283071" y="176138"/>
                  </a:cubicBezTo>
                  <a:lnTo>
                    <a:pt x="283071" y="464531"/>
                  </a:lnTo>
                  <a:cubicBezTo>
                    <a:pt x="283071" y="474986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244;p37">
              <a:extLst>
                <a:ext uri="{FF2B5EF4-FFF2-40B4-BE49-F238E27FC236}">
                  <a16:creationId xmlns:a16="http://schemas.microsoft.com/office/drawing/2014/main" id="{FB4B7C84-D1AD-48FB-B1F2-BC11030E0189}"/>
                </a:ext>
              </a:extLst>
            </p:cNvPr>
            <p:cNvSpPr/>
            <p:nvPr/>
          </p:nvSpPr>
          <p:spPr>
            <a:xfrm>
              <a:off x="4063456" y="872696"/>
              <a:ext cx="283832" cy="477419"/>
            </a:xfrm>
            <a:custGeom>
              <a:avLst/>
              <a:gdLst/>
              <a:ahLst/>
              <a:cxnLst/>
              <a:rect l="l" t="t" r="r" b="b"/>
              <a:pathLst>
                <a:path w="283832" h="477419" extrusionOk="0">
                  <a:moveTo>
                    <a:pt x="269365" y="475462"/>
                  </a:moveTo>
                  <a:lnTo>
                    <a:pt x="14468" y="328509"/>
                  </a:lnTo>
                  <a:cubicBezTo>
                    <a:pt x="5540" y="322087"/>
                    <a:pt x="181" y="311833"/>
                    <a:pt x="0" y="30084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572"/>
                  </a:lnTo>
                  <a:cubicBezTo>
                    <a:pt x="278217" y="154931"/>
                    <a:pt x="283709" y="165305"/>
                    <a:pt x="283833" y="176423"/>
                  </a:cubicBezTo>
                  <a:lnTo>
                    <a:pt x="283833" y="464531"/>
                  </a:lnTo>
                  <a:cubicBezTo>
                    <a:pt x="283833" y="475177"/>
                    <a:pt x="277360" y="480595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245;p37">
              <a:extLst>
                <a:ext uri="{FF2B5EF4-FFF2-40B4-BE49-F238E27FC236}">
                  <a16:creationId xmlns:a16="http://schemas.microsoft.com/office/drawing/2014/main" id="{2636C426-B3DD-4BB8-993F-6D2C5ACAC0DD}"/>
                </a:ext>
              </a:extLst>
            </p:cNvPr>
            <p:cNvSpPr/>
            <p:nvPr/>
          </p:nvSpPr>
          <p:spPr>
            <a:xfrm>
              <a:off x="4408015" y="1071223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993"/>
                  </a:lnTo>
                  <a:cubicBezTo>
                    <a:pt x="278503" y="155354"/>
                    <a:pt x="283871" y="165592"/>
                    <a:pt x="284023" y="176559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246;p37">
              <a:extLst>
                <a:ext uri="{FF2B5EF4-FFF2-40B4-BE49-F238E27FC236}">
                  <a16:creationId xmlns:a16="http://schemas.microsoft.com/office/drawing/2014/main" id="{B3F1C715-17BC-4608-AABA-11B9F68D8C45}"/>
                </a:ext>
              </a:extLst>
            </p:cNvPr>
            <p:cNvSpPr/>
            <p:nvPr/>
          </p:nvSpPr>
          <p:spPr>
            <a:xfrm>
              <a:off x="3711283" y="1076206"/>
              <a:ext cx="283071" cy="477216"/>
            </a:xfrm>
            <a:custGeom>
              <a:avLst/>
              <a:gdLst/>
              <a:ahLst/>
              <a:cxnLst/>
              <a:rect l="l" t="t" r="r" b="b"/>
              <a:pathLst>
                <a:path w="283071" h="477216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477"/>
                  </a:lnTo>
                  <a:cubicBezTo>
                    <a:pt x="277532" y="154899"/>
                    <a:pt x="282891" y="165154"/>
                    <a:pt x="283071" y="176138"/>
                  </a:cubicBezTo>
                  <a:lnTo>
                    <a:pt x="283071" y="464531"/>
                  </a:lnTo>
                  <a:cubicBezTo>
                    <a:pt x="283071" y="475177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247;p37">
              <a:extLst>
                <a:ext uri="{FF2B5EF4-FFF2-40B4-BE49-F238E27FC236}">
                  <a16:creationId xmlns:a16="http://schemas.microsoft.com/office/drawing/2014/main" id="{0B858C9A-DEAE-47D1-BBFC-FCAD65EE2757}"/>
                </a:ext>
              </a:extLst>
            </p:cNvPr>
            <p:cNvSpPr/>
            <p:nvPr/>
          </p:nvSpPr>
          <p:spPr>
            <a:xfrm>
              <a:off x="4063456" y="1279716"/>
              <a:ext cx="283556" cy="477216"/>
            </a:xfrm>
            <a:custGeom>
              <a:avLst/>
              <a:gdLst/>
              <a:ahLst/>
              <a:cxnLst/>
              <a:rect l="l" t="t" r="r" b="b"/>
              <a:pathLst>
                <a:path w="283556" h="477216" extrusionOk="0">
                  <a:moveTo>
                    <a:pt x="269365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477"/>
                  </a:lnTo>
                  <a:cubicBezTo>
                    <a:pt x="278008" y="154903"/>
                    <a:pt x="283366" y="165150"/>
                    <a:pt x="283547" y="176138"/>
                  </a:cubicBezTo>
                  <a:lnTo>
                    <a:pt x="283547" y="464531"/>
                  </a:lnTo>
                  <a:cubicBezTo>
                    <a:pt x="283833" y="475177"/>
                    <a:pt x="277360" y="480119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248;p37">
              <a:extLst>
                <a:ext uri="{FF2B5EF4-FFF2-40B4-BE49-F238E27FC236}">
                  <a16:creationId xmlns:a16="http://schemas.microsoft.com/office/drawing/2014/main" id="{8287CBF5-5DA7-4599-9C69-7D2FFB3A4939}"/>
                </a:ext>
              </a:extLst>
            </p:cNvPr>
            <p:cNvSpPr/>
            <p:nvPr/>
          </p:nvSpPr>
          <p:spPr>
            <a:xfrm>
              <a:off x="4098484" y="1260570"/>
              <a:ext cx="283570" cy="477216"/>
            </a:xfrm>
            <a:custGeom>
              <a:avLst/>
              <a:gdLst/>
              <a:ahLst/>
              <a:cxnLst/>
              <a:rect l="l" t="t" r="r" b="b"/>
              <a:pathLst>
                <a:path w="283570" h="477216" extrusionOk="0">
                  <a:moveTo>
                    <a:pt x="269079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079" y="148518"/>
                  </a:lnTo>
                  <a:cubicBezTo>
                    <a:pt x="278008" y="154943"/>
                    <a:pt x="283366" y="165190"/>
                    <a:pt x="283547" y="176178"/>
                  </a:cubicBezTo>
                  <a:lnTo>
                    <a:pt x="283547" y="464571"/>
                  </a:lnTo>
                  <a:cubicBezTo>
                    <a:pt x="284023" y="475217"/>
                    <a:pt x="277075" y="480065"/>
                    <a:pt x="269079" y="4755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2249;p37">
              <a:extLst>
                <a:ext uri="{FF2B5EF4-FFF2-40B4-BE49-F238E27FC236}">
                  <a16:creationId xmlns:a16="http://schemas.microsoft.com/office/drawing/2014/main" id="{20C03030-289B-446E-96BF-4467556B8172}"/>
                </a:ext>
              </a:extLst>
            </p:cNvPr>
            <p:cNvSpPr/>
            <p:nvPr/>
          </p:nvSpPr>
          <p:spPr>
            <a:xfrm>
              <a:off x="4408015" y="1478241"/>
              <a:ext cx="284023" cy="477161"/>
            </a:xfrm>
            <a:custGeom>
              <a:avLst/>
              <a:gdLst/>
              <a:ahLst/>
              <a:cxnLst/>
              <a:rect l="l" t="t" r="r" b="b"/>
              <a:pathLst>
                <a:path w="284023" h="477161" extrusionOk="0">
                  <a:moveTo>
                    <a:pt x="269556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556" y="148519"/>
                  </a:lnTo>
                  <a:cubicBezTo>
                    <a:pt x="278503" y="154878"/>
                    <a:pt x="283871" y="165116"/>
                    <a:pt x="284023" y="176085"/>
                  </a:cubicBezTo>
                  <a:lnTo>
                    <a:pt x="284023" y="464382"/>
                  </a:lnTo>
                  <a:cubicBezTo>
                    <a:pt x="283547" y="475124"/>
                    <a:pt x="277075" y="480066"/>
                    <a:pt x="269556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250;p37">
              <a:extLst>
                <a:ext uri="{FF2B5EF4-FFF2-40B4-BE49-F238E27FC236}">
                  <a16:creationId xmlns:a16="http://schemas.microsoft.com/office/drawing/2014/main" id="{8F10C4BF-F75A-4434-8727-8E0CC00AB47A}"/>
                </a:ext>
              </a:extLst>
            </p:cNvPr>
            <p:cNvSpPr/>
            <p:nvPr/>
          </p:nvSpPr>
          <p:spPr>
            <a:xfrm>
              <a:off x="3711283" y="1491834"/>
              <a:ext cx="283071" cy="477165"/>
            </a:xfrm>
            <a:custGeom>
              <a:avLst/>
              <a:gdLst/>
              <a:ahLst/>
              <a:cxnLst/>
              <a:rect l="l" t="t" r="r" b="b"/>
              <a:pathLst>
                <a:path w="283071" h="477165" extrusionOk="0">
                  <a:moveTo>
                    <a:pt x="268604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8604" y="148519"/>
                  </a:lnTo>
                  <a:cubicBezTo>
                    <a:pt x="277551" y="154878"/>
                    <a:pt x="282919" y="165116"/>
                    <a:pt x="283071" y="176085"/>
                  </a:cubicBezTo>
                  <a:lnTo>
                    <a:pt x="283071" y="464573"/>
                  </a:lnTo>
                  <a:cubicBezTo>
                    <a:pt x="283071" y="475123"/>
                    <a:pt x="276599" y="480066"/>
                    <a:pt x="268604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251;p37">
              <a:extLst>
                <a:ext uri="{FF2B5EF4-FFF2-40B4-BE49-F238E27FC236}">
                  <a16:creationId xmlns:a16="http://schemas.microsoft.com/office/drawing/2014/main" id="{8526DF76-C360-4A2C-958F-93E3613F8B2B}"/>
                </a:ext>
              </a:extLst>
            </p:cNvPr>
            <p:cNvSpPr/>
            <p:nvPr/>
          </p:nvSpPr>
          <p:spPr>
            <a:xfrm>
              <a:off x="3711283" y="1946286"/>
              <a:ext cx="980755" cy="657383"/>
            </a:xfrm>
            <a:custGeom>
              <a:avLst/>
              <a:gdLst/>
              <a:ahLst/>
              <a:cxnLst/>
              <a:rect l="l" t="t" r="r" b="b"/>
              <a:pathLst>
                <a:path w="980755" h="657383" extrusionOk="0">
                  <a:moveTo>
                    <a:pt x="966288" y="655629"/>
                  </a:moveTo>
                  <a:lnTo>
                    <a:pt x="14468" y="106884"/>
                  </a:lnTo>
                  <a:cubicBezTo>
                    <a:pt x="5540" y="100458"/>
                    <a:pt x="181" y="90212"/>
                    <a:pt x="0" y="79224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966288" y="550594"/>
                  </a:lnTo>
                  <a:cubicBezTo>
                    <a:pt x="975235" y="556954"/>
                    <a:pt x="980603" y="567191"/>
                    <a:pt x="980755" y="578160"/>
                  </a:cubicBezTo>
                  <a:lnTo>
                    <a:pt x="980755" y="644698"/>
                  </a:lnTo>
                  <a:cubicBezTo>
                    <a:pt x="980280" y="655344"/>
                    <a:pt x="973807" y="660286"/>
                    <a:pt x="966288" y="65562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252;p37">
              <a:extLst>
                <a:ext uri="{FF2B5EF4-FFF2-40B4-BE49-F238E27FC236}">
                  <a16:creationId xmlns:a16="http://schemas.microsoft.com/office/drawing/2014/main" id="{06650EC1-2A5D-4728-9D63-BB342AC90704}"/>
                </a:ext>
              </a:extLst>
            </p:cNvPr>
            <p:cNvSpPr/>
            <p:nvPr/>
          </p:nvSpPr>
          <p:spPr>
            <a:xfrm>
              <a:off x="3715090" y="2139055"/>
              <a:ext cx="732044" cy="480371"/>
            </a:xfrm>
            <a:custGeom>
              <a:avLst/>
              <a:gdLst/>
              <a:ahLst/>
              <a:cxnLst/>
              <a:rect l="l" t="t" r="r" b="b"/>
              <a:pathLst>
                <a:path w="732044" h="480371" extrusionOk="0">
                  <a:moveTo>
                    <a:pt x="717577" y="478449"/>
                  </a:moveTo>
                  <a:lnTo>
                    <a:pt x="14468" y="73425"/>
                  </a:lnTo>
                  <a:cubicBezTo>
                    <a:pt x="5521" y="67066"/>
                    <a:pt x="152" y="56829"/>
                    <a:pt x="0" y="45860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717577" y="407064"/>
                  </a:lnTo>
                  <a:cubicBezTo>
                    <a:pt x="726505" y="413489"/>
                    <a:pt x="731864" y="423736"/>
                    <a:pt x="732045" y="434724"/>
                  </a:cubicBezTo>
                  <a:lnTo>
                    <a:pt x="732045" y="467708"/>
                  </a:lnTo>
                  <a:cubicBezTo>
                    <a:pt x="732045" y="478449"/>
                    <a:pt x="725572" y="483392"/>
                    <a:pt x="717577" y="47844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253;p37">
              <a:extLst>
                <a:ext uri="{FF2B5EF4-FFF2-40B4-BE49-F238E27FC236}">
                  <a16:creationId xmlns:a16="http://schemas.microsoft.com/office/drawing/2014/main" id="{3387EC3D-E725-46EF-B28F-04A5E311EB25}"/>
                </a:ext>
              </a:extLst>
            </p:cNvPr>
            <p:cNvSpPr/>
            <p:nvPr/>
          </p:nvSpPr>
          <p:spPr>
            <a:xfrm>
              <a:off x="3715090" y="2264376"/>
              <a:ext cx="732044" cy="480312"/>
            </a:xfrm>
            <a:custGeom>
              <a:avLst/>
              <a:gdLst/>
              <a:ahLst/>
              <a:cxnLst/>
              <a:rect l="l" t="t" r="r" b="b"/>
              <a:pathLst>
                <a:path w="732044" h="480312" extrusionOk="0">
                  <a:moveTo>
                    <a:pt x="717577" y="478598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717577" y="407023"/>
                  </a:lnTo>
                  <a:cubicBezTo>
                    <a:pt x="726505" y="413449"/>
                    <a:pt x="731864" y="423696"/>
                    <a:pt x="732045" y="434684"/>
                  </a:cubicBezTo>
                  <a:lnTo>
                    <a:pt x="732045" y="467667"/>
                  </a:lnTo>
                  <a:cubicBezTo>
                    <a:pt x="732045" y="478313"/>
                    <a:pt x="725572" y="483161"/>
                    <a:pt x="717577" y="4785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254;p37">
              <a:extLst>
                <a:ext uri="{FF2B5EF4-FFF2-40B4-BE49-F238E27FC236}">
                  <a16:creationId xmlns:a16="http://schemas.microsoft.com/office/drawing/2014/main" id="{78EE6749-8435-410C-BC4A-F560C4EB7639}"/>
                </a:ext>
              </a:extLst>
            </p:cNvPr>
            <p:cNvSpPr/>
            <p:nvPr/>
          </p:nvSpPr>
          <p:spPr>
            <a:xfrm>
              <a:off x="3715090" y="2389467"/>
              <a:ext cx="599361" cy="403889"/>
            </a:xfrm>
            <a:custGeom>
              <a:avLst/>
              <a:gdLst/>
              <a:ahLst/>
              <a:cxnLst/>
              <a:rect l="l" t="t" r="r" b="b"/>
              <a:pathLst>
                <a:path w="599361" h="403889" extrusionOk="0">
                  <a:moveTo>
                    <a:pt x="584893" y="402175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584893" y="330600"/>
                  </a:lnTo>
                  <a:cubicBezTo>
                    <a:pt x="593822" y="337026"/>
                    <a:pt x="599180" y="347272"/>
                    <a:pt x="599361" y="358261"/>
                  </a:cubicBezTo>
                  <a:lnTo>
                    <a:pt x="599361" y="391244"/>
                  </a:lnTo>
                  <a:cubicBezTo>
                    <a:pt x="599361" y="401890"/>
                    <a:pt x="592889" y="406738"/>
                    <a:pt x="584893" y="4021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Google Shape;2255;p37">
              <a:extLst>
                <a:ext uri="{FF2B5EF4-FFF2-40B4-BE49-F238E27FC236}">
                  <a16:creationId xmlns:a16="http://schemas.microsoft.com/office/drawing/2014/main" id="{D02580C8-3E8D-4794-A433-23E43E7AE815}"/>
                </a:ext>
              </a:extLst>
            </p:cNvPr>
            <p:cNvSpPr/>
            <p:nvPr/>
          </p:nvSpPr>
          <p:spPr>
            <a:xfrm>
              <a:off x="4855752" y="2612272"/>
              <a:ext cx="1403078" cy="900663"/>
            </a:xfrm>
            <a:custGeom>
              <a:avLst/>
              <a:gdLst/>
              <a:ahLst/>
              <a:cxnLst/>
              <a:rect l="l" t="t" r="r" b="b"/>
              <a:pathLst>
                <a:path w="1403078" h="900663" extrusionOk="0">
                  <a:moveTo>
                    <a:pt x="1388610" y="898735"/>
                  </a:moveTo>
                  <a:lnTo>
                    <a:pt x="14468" y="106749"/>
                  </a:lnTo>
                  <a:cubicBezTo>
                    <a:pt x="5520" y="100390"/>
                    <a:pt x="152" y="90152"/>
                    <a:pt x="0" y="79183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388610" y="794177"/>
                  </a:lnTo>
                  <a:cubicBezTo>
                    <a:pt x="1397557" y="800536"/>
                    <a:pt x="1402926" y="810773"/>
                    <a:pt x="1403078" y="821742"/>
                  </a:cubicBezTo>
                  <a:lnTo>
                    <a:pt x="1403078" y="888280"/>
                  </a:lnTo>
                  <a:cubicBezTo>
                    <a:pt x="1403078" y="898735"/>
                    <a:pt x="1396606" y="903678"/>
                    <a:pt x="1388610" y="898735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" name="Google Shape;2256;p37">
              <a:extLst>
                <a:ext uri="{FF2B5EF4-FFF2-40B4-BE49-F238E27FC236}">
                  <a16:creationId xmlns:a16="http://schemas.microsoft.com/office/drawing/2014/main" id="{BA665A66-247A-4F03-96E4-FB500DD03C25}"/>
                </a:ext>
              </a:extLst>
            </p:cNvPr>
            <p:cNvSpPr/>
            <p:nvPr/>
          </p:nvSpPr>
          <p:spPr>
            <a:xfrm>
              <a:off x="4860130" y="2805136"/>
              <a:ext cx="1263255" cy="786670"/>
            </a:xfrm>
            <a:custGeom>
              <a:avLst/>
              <a:gdLst/>
              <a:ahLst/>
              <a:cxnLst/>
              <a:rect l="l" t="t" r="r" b="b"/>
              <a:pathLst>
                <a:path w="1263255" h="786670" extrusionOk="0">
                  <a:moveTo>
                    <a:pt x="1248788" y="784956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248788" y="713381"/>
                  </a:lnTo>
                  <a:cubicBezTo>
                    <a:pt x="1257716" y="719807"/>
                    <a:pt x="1263075" y="730053"/>
                    <a:pt x="1263256" y="741042"/>
                  </a:cubicBezTo>
                  <a:lnTo>
                    <a:pt x="1263256" y="774025"/>
                  </a:lnTo>
                  <a:cubicBezTo>
                    <a:pt x="1263256" y="784671"/>
                    <a:pt x="1256783" y="78951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" name="Google Shape;2257;p37">
              <a:extLst>
                <a:ext uri="{FF2B5EF4-FFF2-40B4-BE49-F238E27FC236}">
                  <a16:creationId xmlns:a16="http://schemas.microsoft.com/office/drawing/2014/main" id="{F5D663AE-9BB0-4C4D-A658-4664938C9961}"/>
                </a:ext>
              </a:extLst>
            </p:cNvPr>
            <p:cNvSpPr/>
            <p:nvPr/>
          </p:nvSpPr>
          <p:spPr>
            <a:xfrm>
              <a:off x="4860130" y="2930227"/>
              <a:ext cx="1263255" cy="786839"/>
            </a:xfrm>
            <a:custGeom>
              <a:avLst/>
              <a:gdLst/>
              <a:ahLst/>
              <a:cxnLst/>
              <a:rect l="l" t="t" r="r" b="b"/>
              <a:pathLst>
                <a:path w="1263255" h="786839" extrusionOk="0">
                  <a:moveTo>
                    <a:pt x="1248788" y="784956"/>
                  </a:moveTo>
                  <a:lnTo>
                    <a:pt x="14468" y="73290"/>
                  </a:lnTo>
                  <a:cubicBezTo>
                    <a:pt x="5540" y="66864"/>
                    <a:pt x="181" y="56617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4"/>
                  </a:cubicBezTo>
                  <a:lnTo>
                    <a:pt x="1248788" y="713856"/>
                  </a:lnTo>
                  <a:cubicBezTo>
                    <a:pt x="1257735" y="720215"/>
                    <a:pt x="1263104" y="730453"/>
                    <a:pt x="1263256" y="741422"/>
                  </a:cubicBezTo>
                  <a:lnTo>
                    <a:pt x="1263256" y="774405"/>
                  </a:lnTo>
                  <a:cubicBezTo>
                    <a:pt x="1263256" y="784671"/>
                    <a:pt x="1256783" y="78989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" name="Google Shape;2258;p37">
              <a:extLst>
                <a:ext uri="{FF2B5EF4-FFF2-40B4-BE49-F238E27FC236}">
                  <a16:creationId xmlns:a16="http://schemas.microsoft.com/office/drawing/2014/main" id="{CA1443B6-8FEC-4538-9453-50578DA7D3FF}"/>
                </a:ext>
              </a:extLst>
            </p:cNvPr>
            <p:cNvSpPr/>
            <p:nvPr/>
          </p:nvSpPr>
          <p:spPr>
            <a:xfrm>
              <a:off x="4860130" y="3055222"/>
              <a:ext cx="1034438" cy="654829"/>
            </a:xfrm>
            <a:custGeom>
              <a:avLst/>
              <a:gdLst/>
              <a:ahLst/>
              <a:cxnLst/>
              <a:rect l="l" t="t" r="r" b="b"/>
              <a:pathLst>
                <a:path w="1034438" h="654829" extrusionOk="0">
                  <a:moveTo>
                    <a:pt x="1019971" y="653117"/>
                  </a:moveTo>
                  <a:lnTo>
                    <a:pt x="14468" y="73290"/>
                  </a:lnTo>
                  <a:cubicBezTo>
                    <a:pt x="5540" y="66864"/>
                    <a:pt x="181" y="56618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019971" y="581542"/>
                  </a:lnTo>
                  <a:cubicBezTo>
                    <a:pt x="1028880" y="587929"/>
                    <a:pt x="1034248" y="598157"/>
                    <a:pt x="1034438" y="609107"/>
                  </a:cubicBezTo>
                  <a:lnTo>
                    <a:pt x="1034438" y="642091"/>
                  </a:lnTo>
                  <a:cubicBezTo>
                    <a:pt x="1034438" y="652832"/>
                    <a:pt x="1027871" y="657679"/>
                    <a:pt x="1019971" y="65311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" name="Google Shape;2259;p37">
              <a:extLst>
                <a:ext uri="{FF2B5EF4-FFF2-40B4-BE49-F238E27FC236}">
                  <a16:creationId xmlns:a16="http://schemas.microsoft.com/office/drawing/2014/main" id="{B424386E-38BA-47D3-B449-F0B4AE60C1F9}"/>
                </a:ext>
              </a:extLst>
            </p:cNvPr>
            <p:cNvSpPr/>
            <p:nvPr/>
          </p:nvSpPr>
          <p:spPr>
            <a:xfrm>
              <a:off x="4063456" y="1695343"/>
              <a:ext cx="283556" cy="477207"/>
            </a:xfrm>
            <a:custGeom>
              <a:avLst/>
              <a:gdLst/>
              <a:ahLst/>
              <a:cxnLst/>
              <a:rect l="l" t="t" r="r" b="b"/>
              <a:pathLst>
                <a:path w="283556" h="477207" extrusionOk="0">
                  <a:moveTo>
                    <a:pt x="269365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080" y="148519"/>
                  </a:lnTo>
                  <a:cubicBezTo>
                    <a:pt x="278027" y="154878"/>
                    <a:pt x="283395" y="165116"/>
                    <a:pt x="283547" y="176085"/>
                  </a:cubicBezTo>
                  <a:lnTo>
                    <a:pt x="283547" y="464573"/>
                  </a:lnTo>
                  <a:cubicBezTo>
                    <a:pt x="283833" y="475409"/>
                    <a:pt x="277360" y="480066"/>
                    <a:pt x="269365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" name="Google Shape;2260;p37">
              <a:extLst>
                <a:ext uri="{FF2B5EF4-FFF2-40B4-BE49-F238E27FC236}">
                  <a16:creationId xmlns:a16="http://schemas.microsoft.com/office/drawing/2014/main" id="{588F63C9-0907-40E5-BC94-EC3577A69CA5}"/>
                </a:ext>
              </a:extLst>
            </p:cNvPr>
            <p:cNvSpPr/>
            <p:nvPr/>
          </p:nvSpPr>
          <p:spPr>
            <a:xfrm>
              <a:off x="4408015" y="1893817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518"/>
                  </a:lnTo>
                  <a:cubicBezTo>
                    <a:pt x="278484" y="154943"/>
                    <a:pt x="283842" y="165190"/>
                    <a:pt x="284023" y="176178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" name="Google Shape;2261;p37">
              <a:extLst>
                <a:ext uri="{FF2B5EF4-FFF2-40B4-BE49-F238E27FC236}">
                  <a16:creationId xmlns:a16="http://schemas.microsoft.com/office/drawing/2014/main" id="{CF91D418-E405-4D2C-B422-EDE90BD1D0A1}"/>
                </a:ext>
              </a:extLst>
            </p:cNvPr>
            <p:cNvSpPr/>
            <p:nvPr/>
          </p:nvSpPr>
          <p:spPr>
            <a:xfrm>
              <a:off x="4855752" y="1988490"/>
              <a:ext cx="1403078" cy="1286379"/>
            </a:xfrm>
            <a:custGeom>
              <a:avLst/>
              <a:gdLst/>
              <a:ahLst/>
              <a:cxnLst/>
              <a:rect l="l" t="t" r="r" b="b"/>
              <a:pathLst>
                <a:path w="1403078" h="1286379" extrusionOk="0">
                  <a:moveTo>
                    <a:pt x="1388610" y="1284884"/>
                  </a:moveTo>
                  <a:lnTo>
                    <a:pt x="14468" y="492137"/>
                  </a:lnTo>
                  <a:cubicBezTo>
                    <a:pt x="5520" y="485777"/>
                    <a:pt x="152" y="475540"/>
                    <a:pt x="0" y="464571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1388610" y="794027"/>
                  </a:lnTo>
                  <a:cubicBezTo>
                    <a:pt x="1397539" y="800452"/>
                    <a:pt x="1402897" y="810699"/>
                    <a:pt x="1403078" y="821687"/>
                  </a:cubicBezTo>
                  <a:lnTo>
                    <a:pt x="1403078" y="1273572"/>
                  </a:lnTo>
                  <a:cubicBezTo>
                    <a:pt x="1403078" y="1284218"/>
                    <a:pt x="1396606" y="1289066"/>
                    <a:pt x="1388610" y="12848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2" name="Google Shape;2262;p37">
              <a:extLst>
                <a:ext uri="{FF2B5EF4-FFF2-40B4-BE49-F238E27FC236}">
                  <a16:creationId xmlns:a16="http://schemas.microsoft.com/office/drawing/2014/main" id="{2453CE5A-415A-4FA8-87A9-9302E2C0CD35}"/>
                </a:ext>
              </a:extLst>
            </p:cNvPr>
            <p:cNvSpPr/>
            <p:nvPr/>
          </p:nvSpPr>
          <p:spPr>
            <a:xfrm>
              <a:off x="4846614" y="1414848"/>
              <a:ext cx="423274" cy="545612"/>
            </a:xfrm>
            <a:custGeom>
              <a:avLst/>
              <a:gdLst/>
              <a:ahLst/>
              <a:cxnLst/>
              <a:rect l="l" t="t" r="r" b="b"/>
              <a:pathLst>
                <a:path w="423274" h="545612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cubicBezTo>
                    <a:pt x="328187" y="95947"/>
                    <a:pt x="423274" y="260295"/>
                    <a:pt x="423274" y="394795"/>
                  </a:cubicBezTo>
                  <a:cubicBezTo>
                    <a:pt x="423274" y="529296"/>
                    <a:pt x="328283" y="584142"/>
                    <a:pt x="211685" y="516844"/>
                  </a:cubicBezTo>
                  <a:close/>
                  <a:moveTo>
                    <a:pt x="211685" y="99274"/>
                  </a:move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cubicBezTo>
                    <a:pt x="362167" y="263811"/>
                    <a:pt x="294493" y="147561"/>
                    <a:pt x="211685" y="9927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3" name="Google Shape;2263;p37">
              <a:extLst>
                <a:ext uri="{FF2B5EF4-FFF2-40B4-BE49-F238E27FC236}">
                  <a16:creationId xmlns:a16="http://schemas.microsoft.com/office/drawing/2014/main" id="{9293621D-625E-4ECF-B219-049385CEE250}"/>
                </a:ext>
              </a:extLst>
            </p:cNvPr>
            <p:cNvSpPr/>
            <p:nvPr/>
          </p:nvSpPr>
          <p:spPr>
            <a:xfrm>
              <a:off x="4846614" y="1414848"/>
              <a:ext cx="423274" cy="545629"/>
            </a:xfrm>
            <a:custGeom>
              <a:avLst/>
              <a:gdLst/>
              <a:ahLst/>
              <a:cxnLst/>
              <a:rect l="l" t="t" r="r" b="b"/>
              <a:pathLst>
                <a:path w="423274" h="545629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lnTo>
                    <a:pt x="211685" y="99274"/>
                  </a:ln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lnTo>
                    <a:pt x="423274" y="394795"/>
                  </a:lnTo>
                  <a:cubicBezTo>
                    <a:pt x="423179" y="529391"/>
                    <a:pt x="328283" y="584142"/>
                    <a:pt x="211685" y="5168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4" name="Google Shape;2264;p37">
              <a:extLst>
                <a:ext uri="{FF2B5EF4-FFF2-40B4-BE49-F238E27FC236}">
                  <a16:creationId xmlns:a16="http://schemas.microsoft.com/office/drawing/2014/main" id="{24FD63DD-FABE-418B-ACE7-6F7DC655298A}"/>
                </a:ext>
              </a:extLst>
            </p:cNvPr>
            <p:cNvSpPr/>
            <p:nvPr/>
          </p:nvSpPr>
          <p:spPr>
            <a:xfrm>
              <a:off x="5340323" y="1699604"/>
              <a:ext cx="423179" cy="545654"/>
            </a:xfrm>
            <a:custGeom>
              <a:avLst/>
              <a:gdLst/>
              <a:ahLst/>
              <a:cxnLst/>
              <a:rect l="l" t="t" r="r" b="b"/>
              <a:pathLst>
                <a:path w="423179" h="545654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cubicBezTo>
                    <a:pt x="327997" y="96066"/>
                    <a:pt x="423179" y="260224"/>
                    <a:pt x="423179" y="394820"/>
                  </a:cubicBezTo>
                  <a:cubicBezTo>
                    <a:pt x="423179" y="529416"/>
                    <a:pt x="328283" y="584167"/>
                    <a:pt x="211589" y="516869"/>
                  </a:cubicBezTo>
                  <a:close/>
                  <a:moveTo>
                    <a:pt x="211589" y="99298"/>
                  </a:move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94588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89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5" name="Google Shape;2265;p37">
              <a:extLst>
                <a:ext uri="{FF2B5EF4-FFF2-40B4-BE49-F238E27FC236}">
                  <a16:creationId xmlns:a16="http://schemas.microsoft.com/office/drawing/2014/main" id="{303A668E-47E8-46E2-9702-FC7AB42B91C7}"/>
                </a:ext>
              </a:extLst>
            </p:cNvPr>
            <p:cNvSpPr/>
            <p:nvPr/>
          </p:nvSpPr>
          <p:spPr>
            <a:xfrm>
              <a:off x="5340323" y="1699604"/>
              <a:ext cx="332185" cy="545952"/>
            </a:xfrm>
            <a:custGeom>
              <a:avLst/>
              <a:gdLst/>
              <a:ahLst/>
              <a:cxnLst/>
              <a:rect l="l" t="t" r="r" b="b"/>
              <a:pathLst>
                <a:path w="332185" h="545952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lnTo>
                    <a:pt x="211589" y="99298"/>
                  </a:ln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42429" y="464114"/>
                    <a:pt x="272030" y="470483"/>
                    <a:pt x="297253" y="465350"/>
                  </a:cubicBezTo>
                  <a:lnTo>
                    <a:pt x="332185" y="543389"/>
                  </a:lnTo>
                  <a:cubicBezTo>
                    <a:pt x="296682" y="550898"/>
                    <a:pt x="254993" y="541868"/>
                    <a:pt x="211589" y="5168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6" name="Google Shape;2266;p37">
              <a:extLst>
                <a:ext uri="{FF2B5EF4-FFF2-40B4-BE49-F238E27FC236}">
                  <a16:creationId xmlns:a16="http://schemas.microsoft.com/office/drawing/2014/main" id="{5DBAB428-362E-4732-BC00-A5FAB8363979}"/>
                </a:ext>
              </a:extLst>
            </p:cNvPr>
            <p:cNvSpPr/>
            <p:nvPr/>
          </p:nvSpPr>
          <p:spPr>
            <a:xfrm>
              <a:off x="5834032" y="1984194"/>
              <a:ext cx="423559" cy="545654"/>
            </a:xfrm>
            <a:custGeom>
              <a:avLst/>
              <a:gdLst/>
              <a:ahLst/>
              <a:cxnLst/>
              <a:rect l="l" t="t" r="r" b="b"/>
              <a:pathLst>
                <a:path w="423559" h="545654" extrusionOk="0">
                  <a:moveTo>
                    <a:pt x="211590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7"/>
                    <a:pt x="95182" y="-38529"/>
                    <a:pt x="211590" y="28769"/>
                  </a:cubicBezTo>
                  <a:cubicBezTo>
                    <a:pt x="327997" y="96066"/>
                    <a:pt x="423560" y="260224"/>
                    <a:pt x="423560" y="394820"/>
                  </a:cubicBezTo>
                  <a:cubicBezTo>
                    <a:pt x="423560" y="529416"/>
                    <a:pt x="328378" y="584167"/>
                    <a:pt x="211590" y="516869"/>
                  </a:cubicBezTo>
                  <a:close/>
                  <a:moveTo>
                    <a:pt x="211590" y="99298"/>
                  </a:moveTo>
                  <a:cubicBezTo>
                    <a:pt x="128686" y="51772"/>
                    <a:pt x="61107" y="90363"/>
                    <a:pt x="61107" y="186082"/>
                  </a:cubicBezTo>
                  <a:cubicBezTo>
                    <a:pt x="61107" y="281801"/>
                    <a:pt x="128686" y="398432"/>
                    <a:pt x="211590" y="446339"/>
                  </a:cubicBezTo>
                  <a:cubicBezTo>
                    <a:pt x="294493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90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7" name="Google Shape;2267;p37">
              <a:extLst>
                <a:ext uri="{FF2B5EF4-FFF2-40B4-BE49-F238E27FC236}">
                  <a16:creationId xmlns:a16="http://schemas.microsoft.com/office/drawing/2014/main" id="{4D6CB6F3-373D-49AC-A3AF-1F971E6FAED4}"/>
                </a:ext>
              </a:extLst>
            </p:cNvPr>
            <p:cNvSpPr/>
            <p:nvPr/>
          </p:nvSpPr>
          <p:spPr>
            <a:xfrm>
              <a:off x="5834032" y="1984177"/>
              <a:ext cx="211589" cy="286951"/>
            </a:xfrm>
            <a:custGeom>
              <a:avLst/>
              <a:gdLst/>
              <a:ahLst/>
              <a:cxnLst/>
              <a:rect l="l" t="t" r="r" b="b"/>
              <a:pathLst>
                <a:path w="211589" h="286951" extrusionOk="0">
                  <a:moveTo>
                    <a:pt x="27412" y="286951"/>
                  </a:moveTo>
                  <a:cubicBezTo>
                    <a:pt x="10194" y="243588"/>
                    <a:pt x="904" y="197477"/>
                    <a:pt x="0" y="150835"/>
                  </a:cubicBezTo>
                  <a:cubicBezTo>
                    <a:pt x="0" y="16239"/>
                    <a:pt x="95182" y="-38512"/>
                    <a:pt x="211590" y="28786"/>
                  </a:cubicBezTo>
                  <a:lnTo>
                    <a:pt x="211590" y="99315"/>
                  </a:lnTo>
                  <a:cubicBezTo>
                    <a:pt x="128686" y="51789"/>
                    <a:pt x="61107" y="90380"/>
                    <a:pt x="61107" y="186099"/>
                  </a:cubicBezTo>
                  <a:cubicBezTo>
                    <a:pt x="61830" y="219254"/>
                    <a:pt x="68540" y="252000"/>
                    <a:pt x="80905" y="2827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" name="Google Shape;2268;p37">
              <a:extLst>
                <a:ext uri="{FF2B5EF4-FFF2-40B4-BE49-F238E27FC236}">
                  <a16:creationId xmlns:a16="http://schemas.microsoft.com/office/drawing/2014/main" id="{070666BB-48D5-444E-BADA-98964B2427A6}"/>
                </a:ext>
              </a:extLst>
            </p:cNvPr>
            <p:cNvSpPr/>
            <p:nvPr/>
          </p:nvSpPr>
          <p:spPr>
            <a:xfrm>
              <a:off x="5029839" y="4705642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4" y="247900"/>
                    <a:pt x="0" y="192406"/>
                    <a:pt x="0" y="123950"/>
                  </a:cubicBezTo>
                  <a:cubicBezTo>
                    <a:pt x="0" y="55494"/>
                    <a:pt x="96224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9" name="Google Shape;2269;p37">
              <a:extLst>
                <a:ext uri="{FF2B5EF4-FFF2-40B4-BE49-F238E27FC236}">
                  <a16:creationId xmlns:a16="http://schemas.microsoft.com/office/drawing/2014/main" id="{8905EA61-3C89-407D-878E-FAFB94EFF454}"/>
                </a:ext>
              </a:extLst>
            </p:cNvPr>
            <p:cNvSpPr/>
            <p:nvPr/>
          </p:nvSpPr>
          <p:spPr>
            <a:xfrm>
              <a:off x="2757750" y="4754499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" name="Google Shape;2270;p37">
              <a:extLst>
                <a:ext uri="{FF2B5EF4-FFF2-40B4-BE49-F238E27FC236}">
                  <a16:creationId xmlns:a16="http://schemas.microsoft.com/office/drawing/2014/main" id="{50A26BAD-D899-4FBA-AF21-A3CEB3F996FB}"/>
                </a:ext>
              </a:extLst>
            </p:cNvPr>
            <p:cNvSpPr/>
            <p:nvPr/>
          </p:nvSpPr>
          <p:spPr>
            <a:xfrm>
              <a:off x="2012475" y="3630110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6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1" name="Google Shape;2271;p37">
              <a:extLst>
                <a:ext uri="{FF2B5EF4-FFF2-40B4-BE49-F238E27FC236}">
                  <a16:creationId xmlns:a16="http://schemas.microsoft.com/office/drawing/2014/main" id="{2C9A6D2B-9E08-44D2-8425-96E80DF2C817}"/>
                </a:ext>
              </a:extLst>
            </p:cNvPr>
            <p:cNvSpPr/>
            <p:nvPr/>
          </p:nvSpPr>
          <p:spPr>
            <a:xfrm>
              <a:off x="5244274" y="4799933"/>
              <a:ext cx="116580" cy="90224"/>
            </a:xfrm>
            <a:custGeom>
              <a:avLst/>
              <a:gdLst/>
              <a:ahLst/>
              <a:cxnLst/>
              <a:rect l="l" t="t" r="r" b="b"/>
              <a:pathLst>
                <a:path w="116580" h="90224" extrusionOk="0">
                  <a:moveTo>
                    <a:pt x="107376" y="2"/>
                  </a:moveTo>
                  <a:cubicBezTo>
                    <a:pt x="93384" y="11314"/>
                    <a:pt x="72729" y="953"/>
                    <a:pt x="71682" y="1998"/>
                  </a:cubicBezTo>
                  <a:cubicBezTo>
                    <a:pt x="55302" y="17235"/>
                    <a:pt x="38074" y="31550"/>
                    <a:pt x="20094" y="44868"/>
                  </a:cubicBezTo>
                  <a:cubicBezTo>
                    <a:pt x="11432" y="51711"/>
                    <a:pt x="-2179" y="60932"/>
                    <a:pt x="296" y="74049"/>
                  </a:cubicBezTo>
                  <a:cubicBezTo>
                    <a:pt x="4674" y="97622"/>
                    <a:pt x="42366" y="90398"/>
                    <a:pt x="56644" y="83554"/>
                  </a:cubicBezTo>
                  <a:cubicBezTo>
                    <a:pt x="70921" y="76711"/>
                    <a:pt x="82438" y="64544"/>
                    <a:pt x="95954" y="56084"/>
                  </a:cubicBezTo>
                  <a:cubicBezTo>
                    <a:pt x="105472" y="50095"/>
                    <a:pt x="114990" y="47054"/>
                    <a:pt x="116513" y="34887"/>
                  </a:cubicBezTo>
                  <a:cubicBezTo>
                    <a:pt x="117370" y="27187"/>
                    <a:pt x="109850" y="-283"/>
                    <a:pt x="107376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2" name="Google Shape;2272;p37">
              <a:extLst>
                <a:ext uri="{FF2B5EF4-FFF2-40B4-BE49-F238E27FC236}">
                  <a16:creationId xmlns:a16="http://schemas.microsoft.com/office/drawing/2014/main" id="{4280FC99-B472-4F00-9498-F939D5C04F5D}"/>
                </a:ext>
              </a:extLst>
            </p:cNvPr>
            <p:cNvSpPr/>
            <p:nvPr/>
          </p:nvSpPr>
          <p:spPr>
            <a:xfrm>
              <a:off x="5244760" y="4829592"/>
              <a:ext cx="116051" cy="60483"/>
            </a:xfrm>
            <a:custGeom>
              <a:avLst/>
              <a:gdLst/>
              <a:ahLst/>
              <a:cxnLst/>
              <a:rect l="l" t="t" r="r" b="b"/>
              <a:pathLst>
                <a:path w="116051" h="60483" extrusionOk="0">
                  <a:moveTo>
                    <a:pt x="115837" y="0"/>
                  </a:moveTo>
                  <a:cubicBezTo>
                    <a:pt x="113933" y="11597"/>
                    <a:pt x="104605" y="14828"/>
                    <a:pt x="95087" y="20722"/>
                  </a:cubicBezTo>
                  <a:cubicBezTo>
                    <a:pt x="81381" y="29182"/>
                    <a:pt x="69388" y="41443"/>
                    <a:pt x="55110" y="48572"/>
                  </a:cubicBezTo>
                  <a:cubicBezTo>
                    <a:pt x="40833" y="55701"/>
                    <a:pt x="9233" y="61880"/>
                    <a:pt x="0" y="45055"/>
                  </a:cubicBezTo>
                  <a:cubicBezTo>
                    <a:pt x="5045" y="67773"/>
                    <a:pt x="42071" y="60644"/>
                    <a:pt x="56157" y="53515"/>
                  </a:cubicBezTo>
                  <a:cubicBezTo>
                    <a:pt x="70244" y="46386"/>
                    <a:pt x="81952" y="34505"/>
                    <a:pt x="95468" y="26045"/>
                  </a:cubicBezTo>
                  <a:cubicBezTo>
                    <a:pt x="104986" y="20056"/>
                    <a:pt x="114504" y="17015"/>
                    <a:pt x="116027" y="4848"/>
                  </a:cubicBezTo>
                  <a:cubicBezTo>
                    <a:pt x="116093" y="3232"/>
                    <a:pt x="116027" y="1606"/>
                    <a:pt x="11583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3" name="Google Shape;2273;p37">
              <a:extLst>
                <a:ext uri="{FF2B5EF4-FFF2-40B4-BE49-F238E27FC236}">
                  <a16:creationId xmlns:a16="http://schemas.microsoft.com/office/drawing/2014/main" id="{F629EC03-0977-467B-8A13-3284DFC394AA}"/>
                </a:ext>
              </a:extLst>
            </p:cNvPr>
            <p:cNvSpPr/>
            <p:nvPr/>
          </p:nvSpPr>
          <p:spPr>
            <a:xfrm>
              <a:off x="5124630" y="4754816"/>
              <a:ext cx="116569" cy="86887"/>
            </a:xfrm>
            <a:custGeom>
              <a:avLst/>
              <a:gdLst/>
              <a:ahLst/>
              <a:cxnLst/>
              <a:rect l="l" t="t" r="r" b="b"/>
              <a:pathLst>
                <a:path w="116569" h="86887" extrusionOk="0">
                  <a:moveTo>
                    <a:pt x="105663" y="63"/>
                  </a:moveTo>
                  <a:cubicBezTo>
                    <a:pt x="91671" y="11470"/>
                    <a:pt x="67590" y="-982"/>
                    <a:pt x="66162" y="63"/>
                  </a:cubicBezTo>
                  <a:cubicBezTo>
                    <a:pt x="51656" y="14825"/>
                    <a:pt x="36275" y="28693"/>
                    <a:pt x="20094" y="41602"/>
                  </a:cubicBezTo>
                  <a:cubicBezTo>
                    <a:pt x="11432" y="48446"/>
                    <a:pt x="-2179" y="57666"/>
                    <a:pt x="296" y="70783"/>
                  </a:cubicBezTo>
                  <a:cubicBezTo>
                    <a:pt x="4674" y="94261"/>
                    <a:pt x="42367" y="87037"/>
                    <a:pt x="56644" y="80288"/>
                  </a:cubicBezTo>
                  <a:cubicBezTo>
                    <a:pt x="70921" y="73540"/>
                    <a:pt x="82438" y="61278"/>
                    <a:pt x="95954" y="52818"/>
                  </a:cubicBezTo>
                  <a:cubicBezTo>
                    <a:pt x="105472" y="46830"/>
                    <a:pt x="114990" y="43313"/>
                    <a:pt x="116513" y="31621"/>
                  </a:cubicBezTo>
                  <a:cubicBezTo>
                    <a:pt x="117370" y="23922"/>
                    <a:pt x="108137" y="-222"/>
                    <a:pt x="105663" y="6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4" name="Google Shape;2274;p37">
              <a:extLst>
                <a:ext uri="{FF2B5EF4-FFF2-40B4-BE49-F238E27FC236}">
                  <a16:creationId xmlns:a16="http://schemas.microsoft.com/office/drawing/2014/main" id="{548710E1-66C1-4197-8298-5920AF2C8B6E}"/>
                </a:ext>
              </a:extLst>
            </p:cNvPr>
            <p:cNvSpPr/>
            <p:nvPr/>
          </p:nvSpPr>
          <p:spPr>
            <a:xfrm>
              <a:off x="5124926" y="4782825"/>
              <a:ext cx="116097" cy="60673"/>
            </a:xfrm>
            <a:custGeom>
              <a:avLst/>
              <a:gdLst/>
              <a:ahLst/>
              <a:cxnLst/>
              <a:rect l="l" t="t" r="r" b="b"/>
              <a:pathLst>
                <a:path w="116097" h="60673" extrusionOk="0">
                  <a:moveTo>
                    <a:pt x="115741" y="0"/>
                  </a:moveTo>
                  <a:cubicBezTo>
                    <a:pt x="114218" y="11407"/>
                    <a:pt x="104700" y="14828"/>
                    <a:pt x="95182" y="20912"/>
                  </a:cubicBezTo>
                  <a:cubicBezTo>
                    <a:pt x="81476" y="29372"/>
                    <a:pt x="69388" y="41634"/>
                    <a:pt x="55205" y="48858"/>
                  </a:cubicBezTo>
                  <a:cubicBezTo>
                    <a:pt x="41023" y="56082"/>
                    <a:pt x="9233" y="62070"/>
                    <a:pt x="0" y="45246"/>
                  </a:cubicBezTo>
                  <a:cubicBezTo>
                    <a:pt x="5045" y="67964"/>
                    <a:pt x="42071" y="60835"/>
                    <a:pt x="56157" y="53706"/>
                  </a:cubicBezTo>
                  <a:cubicBezTo>
                    <a:pt x="70244" y="46577"/>
                    <a:pt x="82047" y="34695"/>
                    <a:pt x="95468" y="26235"/>
                  </a:cubicBezTo>
                  <a:cubicBezTo>
                    <a:pt x="104986" y="20246"/>
                    <a:pt x="114504" y="16730"/>
                    <a:pt x="116027" y="5133"/>
                  </a:cubicBezTo>
                  <a:cubicBezTo>
                    <a:pt x="116179" y="3413"/>
                    <a:pt x="116084" y="1692"/>
                    <a:pt x="11574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5" name="Google Shape;2275;p37">
              <a:extLst>
                <a:ext uri="{FF2B5EF4-FFF2-40B4-BE49-F238E27FC236}">
                  <a16:creationId xmlns:a16="http://schemas.microsoft.com/office/drawing/2014/main" id="{05628C95-1097-4940-AC23-FEE2BEF94CD7}"/>
                </a:ext>
              </a:extLst>
            </p:cNvPr>
            <p:cNvSpPr/>
            <p:nvPr/>
          </p:nvSpPr>
          <p:spPr>
            <a:xfrm>
              <a:off x="5154433" y="4234936"/>
              <a:ext cx="200389" cy="574156"/>
            </a:xfrm>
            <a:custGeom>
              <a:avLst/>
              <a:gdLst/>
              <a:ahLst/>
              <a:cxnLst/>
              <a:rect l="l" t="t" r="r" b="b"/>
              <a:pathLst>
                <a:path w="200389" h="574156" extrusionOk="0">
                  <a:moveTo>
                    <a:pt x="197978" y="49713"/>
                  </a:moveTo>
                  <a:cubicBezTo>
                    <a:pt x="197312" y="70815"/>
                    <a:pt x="190745" y="162447"/>
                    <a:pt x="187794" y="211304"/>
                  </a:cubicBezTo>
                  <a:cubicBezTo>
                    <a:pt x="184843" y="260162"/>
                    <a:pt x="184177" y="319285"/>
                    <a:pt x="184177" y="319285"/>
                  </a:cubicBezTo>
                  <a:cubicBezTo>
                    <a:pt x="184177" y="319285"/>
                    <a:pt x="192553" y="354645"/>
                    <a:pt x="197978" y="396183"/>
                  </a:cubicBezTo>
                  <a:cubicBezTo>
                    <a:pt x="203404" y="437722"/>
                    <a:pt x="197978" y="568896"/>
                    <a:pt x="197978" y="568896"/>
                  </a:cubicBezTo>
                  <a:cubicBezTo>
                    <a:pt x="187080" y="575911"/>
                    <a:pt x="173088" y="575911"/>
                    <a:pt x="162190" y="568896"/>
                  </a:cubicBezTo>
                  <a:cubicBezTo>
                    <a:pt x="162190" y="568896"/>
                    <a:pt x="139822" y="464337"/>
                    <a:pt x="129448" y="416810"/>
                  </a:cubicBezTo>
                  <a:cubicBezTo>
                    <a:pt x="119073" y="369283"/>
                    <a:pt x="117359" y="342193"/>
                    <a:pt x="111934" y="312916"/>
                  </a:cubicBezTo>
                  <a:cubicBezTo>
                    <a:pt x="105462" y="277462"/>
                    <a:pt x="91375" y="111973"/>
                    <a:pt x="91375" y="111973"/>
                  </a:cubicBezTo>
                  <a:lnTo>
                    <a:pt x="85759" y="111973"/>
                  </a:lnTo>
                  <a:lnTo>
                    <a:pt x="70815" y="298753"/>
                  </a:lnTo>
                  <a:cubicBezTo>
                    <a:pt x="75479" y="312508"/>
                    <a:pt x="78668" y="326718"/>
                    <a:pt x="80334" y="341147"/>
                  </a:cubicBezTo>
                  <a:cubicBezTo>
                    <a:pt x="84426" y="371660"/>
                    <a:pt x="76050" y="524696"/>
                    <a:pt x="76050" y="524696"/>
                  </a:cubicBezTo>
                  <a:cubicBezTo>
                    <a:pt x="63896" y="531473"/>
                    <a:pt x="48952" y="530846"/>
                    <a:pt x="37406" y="523080"/>
                  </a:cubicBezTo>
                  <a:cubicBezTo>
                    <a:pt x="37406" y="523080"/>
                    <a:pt x="0" y="320331"/>
                    <a:pt x="0" y="289533"/>
                  </a:cubicBezTo>
                  <a:cubicBezTo>
                    <a:pt x="0" y="269097"/>
                    <a:pt x="3522" y="0"/>
                    <a:pt x="352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6" name="Google Shape;2276;p37">
              <a:extLst>
                <a:ext uri="{FF2B5EF4-FFF2-40B4-BE49-F238E27FC236}">
                  <a16:creationId xmlns:a16="http://schemas.microsoft.com/office/drawing/2014/main" id="{51C68658-928F-42BC-97ED-531EFA5E6109}"/>
                </a:ext>
              </a:extLst>
            </p:cNvPr>
            <p:cNvSpPr/>
            <p:nvPr/>
          </p:nvSpPr>
          <p:spPr>
            <a:xfrm>
              <a:off x="5199628" y="3876679"/>
              <a:ext cx="128464" cy="124722"/>
            </a:xfrm>
            <a:custGeom>
              <a:avLst/>
              <a:gdLst/>
              <a:ahLst/>
              <a:cxnLst/>
              <a:rect l="l" t="t" r="r" b="b"/>
              <a:pathLst>
                <a:path w="128464" h="124722" extrusionOk="0">
                  <a:moveTo>
                    <a:pt x="102147" y="0"/>
                  </a:moveTo>
                  <a:cubicBezTo>
                    <a:pt x="102147" y="0"/>
                    <a:pt x="99767" y="46006"/>
                    <a:pt x="100814" y="50093"/>
                  </a:cubicBezTo>
                  <a:cubicBezTo>
                    <a:pt x="101861" y="54181"/>
                    <a:pt x="121945" y="67678"/>
                    <a:pt x="127846" y="72431"/>
                  </a:cubicBezTo>
                  <a:cubicBezTo>
                    <a:pt x="133747" y="77183"/>
                    <a:pt x="95960" y="114445"/>
                    <a:pt x="77590" y="122904"/>
                  </a:cubicBezTo>
                  <a:cubicBezTo>
                    <a:pt x="59220" y="131364"/>
                    <a:pt x="1444" y="109122"/>
                    <a:pt x="112" y="80606"/>
                  </a:cubicBezTo>
                  <a:cubicBezTo>
                    <a:pt x="-1221" y="52089"/>
                    <a:pt x="9630" y="28136"/>
                    <a:pt x="19148" y="26900"/>
                  </a:cubicBezTo>
                  <a:cubicBezTo>
                    <a:pt x="28666" y="25665"/>
                    <a:pt x="102147" y="0"/>
                    <a:pt x="10214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7" name="Google Shape;2277;p37">
              <a:extLst>
                <a:ext uri="{FF2B5EF4-FFF2-40B4-BE49-F238E27FC236}">
                  <a16:creationId xmlns:a16="http://schemas.microsoft.com/office/drawing/2014/main" id="{5B74E4ED-E8A6-41E1-A4F0-ED7EB3ECC2F6}"/>
                </a:ext>
              </a:extLst>
            </p:cNvPr>
            <p:cNvSpPr/>
            <p:nvPr/>
          </p:nvSpPr>
          <p:spPr>
            <a:xfrm>
              <a:off x="4996526" y="3906336"/>
              <a:ext cx="182485" cy="357686"/>
            </a:xfrm>
            <a:custGeom>
              <a:avLst/>
              <a:gdLst/>
              <a:ahLst/>
              <a:cxnLst/>
              <a:rect l="l" t="t" r="r" b="b"/>
              <a:pathLst>
                <a:path w="182485" h="357686" extrusionOk="0">
                  <a:moveTo>
                    <a:pt x="179037" y="55702"/>
                  </a:moveTo>
                  <a:cubicBezTo>
                    <a:pt x="176277" y="35455"/>
                    <a:pt x="189697" y="16159"/>
                    <a:pt x="176752" y="0"/>
                  </a:cubicBezTo>
                  <a:cubicBezTo>
                    <a:pt x="131255" y="44485"/>
                    <a:pt x="136966" y="162352"/>
                    <a:pt x="126687" y="237634"/>
                  </a:cubicBezTo>
                  <a:cubicBezTo>
                    <a:pt x="92897" y="272899"/>
                    <a:pt x="25032" y="307594"/>
                    <a:pt x="5901" y="316243"/>
                  </a:cubicBezTo>
                  <a:cubicBezTo>
                    <a:pt x="2379" y="317764"/>
                    <a:pt x="-572" y="319475"/>
                    <a:pt x="95" y="323182"/>
                  </a:cubicBezTo>
                  <a:cubicBezTo>
                    <a:pt x="2665" y="335739"/>
                    <a:pt x="8061" y="347535"/>
                    <a:pt x="15895" y="357687"/>
                  </a:cubicBezTo>
                  <a:cubicBezTo>
                    <a:pt x="60821" y="338676"/>
                    <a:pt x="93183" y="327270"/>
                    <a:pt x="149150" y="274040"/>
                  </a:cubicBezTo>
                  <a:cubicBezTo>
                    <a:pt x="154509" y="268175"/>
                    <a:pt x="159287" y="261806"/>
                    <a:pt x="163427" y="255029"/>
                  </a:cubicBezTo>
                  <a:cubicBezTo>
                    <a:pt x="179608" y="207502"/>
                    <a:pt x="183605" y="90776"/>
                    <a:pt x="179037" y="5570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8" name="Google Shape;2278;p37">
              <a:extLst>
                <a:ext uri="{FF2B5EF4-FFF2-40B4-BE49-F238E27FC236}">
                  <a16:creationId xmlns:a16="http://schemas.microsoft.com/office/drawing/2014/main" id="{B4756959-7FBC-4192-BC96-0CF7A35EE0F9}"/>
                </a:ext>
              </a:extLst>
            </p:cNvPr>
            <p:cNvSpPr/>
            <p:nvPr/>
          </p:nvSpPr>
          <p:spPr>
            <a:xfrm>
              <a:off x="5154414" y="3894094"/>
              <a:ext cx="208226" cy="419055"/>
            </a:xfrm>
            <a:custGeom>
              <a:avLst/>
              <a:gdLst/>
              <a:ahLst/>
              <a:cxnLst/>
              <a:rect l="l" t="t" r="r" b="b"/>
              <a:pathLst>
                <a:path w="208226" h="419055" extrusionOk="0">
                  <a:moveTo>
                    <a:pt x="152500" y="40568"/>
                  </a:moveTo>
                  <a:cubicBezTo>
                    <a:pt x="152500" y="40568"/>
                    <a:pt x="119091" y="90376"/>
                    <a:pt x="72357" y="95033"/>
                  </a:cubicBezTo>
                  <a:cubicBezTo>
                    <a:pt x="57699" y="80585"/>
                    <a:pt x="56366" y="29066"/>
                    <a:pt x="76736" y="12527"/>
                  </a:cubicBezTo>
                  <a:cubicBezTo>
                    <a:pt x="76736" y="12527"/>
                    <a:pt x="57699" y="-2491"/>
                    <a:pt x="45135" y="360"/>
                  </a:cubicBezTo>
                  <a:cubicBezTo>
                    <a:pt x="31448" y="8744"/>
                    <a:pt x="21301" y="21823"/>
                    <a:pt x="16580" y="37146"/>
                  </a:cubicBezTo>
                  <a:cubicBezTo>
                    <a:pt x="4702" y="71346"/>
                    <a:pt x="-885" y="107419"/>
                    <a:pt x="114" y="143606"/>
                  </a:cubicBezTo>
                  <a:cubicBezTo>
                    <a:pt x="875" y="192463"/>
                    <a:pt x="114" y="341698"/>
                    <a:pt x="114" y="341698"/>
                  </a:cubicBezTo>
                  <a:cubicBezTo>
                    <a:pt x="114" y="341698"/>
                    <a:pt x="6681" y="373256"/>
                    <a:pt x="48942" y="396734"/>
                  </a:cubicBezTo>
                  <a:cubicBezTo>
                    <a:pt x="91203" y="420212"/>
                    <a:pt x="122423" y="422493"/>
                    <a:pt x="151073" y="415745"/>
                  </a:cubicBezTo>
                  <a:cubicBezTo>
                    <a:pt x="174678" y="410231"/>
                    <a:pt x="194190" y="401866"/>
                    <a:pt x="202376" y="384757"/>
                  </a:cubicBezTo>
                  <a:cubicBezTo>
                    <a:pt x="200282" y="350538"/>
                    <a:pt x="184957" y="261187"/>
                    <a:pt x="190668" y="218223"/>
                  </a:cubicBezTo>
                  <a:cubicBezTo>
                    <a:pt x="196379" y="175259"/>
                    <a:pt x="205517" y="143036"/>
                    <a:pt x="207801" y="108246"/>
                  </a:cubicBezTo>
                  <a:cubicBezTo>
                    <a:pt x="210086" y="73456"/>
                    <a:pt x="203233" y="74122"/>
                    <a:pt x="185814" y="61765"/>
                  </a:cubicBezTo>
                  <a:cubicBezTo>
                    <a:pt x="175239" y="53904"/>
                    <a:pt x="164103" y="46813"/>
                    <a:pt x="152500" y="4056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9" name="Google Shape;2279;p37">
              <a:extLst>
                <a:ext uri="{FF2B5EF4-FFF2-40B4-BE49-F238E27FC236}">
                  <a16:creationId xmlns:a16="http://schemas.microsoft.com/office/drawing/2014/main" id="{00F4619C-D80B-4ACD-A14A-D87AD62C1382}"/>
                </a:ext>
              </a:extLst>
            </p:cNvPr>
            <p:cNvSpPr/>
            <p:nvPr/>
          </p:nvSpPr>
          <p:spPr>
            <a:xfrm>
              <a:off x="5194395" y="3747198"/>
              <a:ext cx="138431" cy="168252"/>
            </a:xfrm>
            <a:custGeom>
              <a:avLst/>
              <a:gdLst/>
              <a:ahLst/>
              <a:cxnLst/>
              <a:rect l="l" t="t" r="r" b="b"/>
              <a:pathLst>
                <a:path w="138431" h="168252" extrusionOk="0">
                  <a:moveTo>
                    <a:pt x="3060" y="60853"/>
                  </a:moveTo>
                  <a:lnTo>
                    <a:pt x="3060" y="60853"/>
                  </a:lnTo>
                  <a:cubicBezTo>
                    <a:pt x="8581" y="25112"/>
                    <a:pt x="34375" y="-1978"/>
                    <a:pt x="71211" y="113"/>
                  </a:cubicBezTo>
                  <a:cubicBezTo>
                    <a:pt x="110416" y="2252"/>
                    <a:pt x="140465" y="35740"/>
                    <a:pt x="138324" y="74892"/>
                  </a:cubicBezTo>
                  <a:cubicBezTo>
                    <a:pt x="138314" y="74930"/>
                    <a:pt x="138314" y="74978"/>
                    <a:pt x="138314" y="75016"/>
                  </a:cubicBezTo>
                  <a:cubicBezTo>
                    <a:pt x="137105" y="96983"/>
                    <a:pt x="125655" y="117105"/>
                    <a:pt x="107380" y="129386"/>
                  </a:cubicBezTo>
                  <a:cubicBezTo>
                    <a:pt x="106057" y="134804"/>
                    <a:pt x="104144" y="140071"/>
                    <a:pt x="101669" y="145070"/>
                  </a:cubicBezTo>
                  <a:cubicBezTo>
                    <a:pt x="88629" y="160279"/>
                    <a:pt x="49128" y="169689"/>
                    <a:pt x="37802" y="168073"/>
                  </a:cubicBezTo>
                  <a:cubicBezTo>
                    <a:pt x="23981" y="166847"/>
                    <a:pt x="12322" y="157313"/>
                    <a:pt x="8391" y="144025"/>
                  </a:cubicBezTo>
                  <a:cubicBezTo>
                    <a:pt x="-3793" y="115984"/>
                    <a:pt x="15" y="78533"/>
                    <a:pt x="3060" y="6085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" name="Google Shape;2280;p37">
              <a:extLst>
                <a:ext uri="{FF2B5EF4-FFF2-40B4-BE49-F238E27FC236}">
                  <a16:creationId xmlns:a16="http://schemas.microsoft.com/office/drawing/2014/main" id="{A44FF415-73C7-4EFE-9AE7-DF80E515C965}"/>
                </a:ext>
              </a:extLst>
            </p:cNvPr>
            <p:cNvSpPr/>
            <p:nvPr/>
          </p:nvSpPr>
          <p:spPr>
            <a:xfrm>
              <a:off x="5199668" y="3732408"/>
              <a:ext cx="146095" cy="144175"/>
            </a:xfrm>
            <a:custGeom>
              <a:avLst/>
              <a:gdLst/>
              <a:ahLst/>
              <a:cxnLst/>
              <a:rect l="l" t="t" r="r" b="b"/>
              <a:pathLst>
                <a:path w="146095" h="144175" extrusionOk="0">
                  <a:moveTo>
                    <a:pt x="102106" y="144176"/>
                  </a:moveTo>
                  <a:lnTo>
                    <a:pt x="102106" y="144176"/>
                  </a:lnTo>
                  <a:lnTo>
                    <a:pt x="98680" y="113093"/>
                  </a:lnTo>
                  <a:cubicBezTo>
                    <a:pt x="98680" y="113093"/>
                    <a:pt x="124189" y="47126"/>
                    <a:pt x="63939" y="59768"/>
                  </a:cubicBezTo>
                  <a:cubicBezTo>
                    <a:pt x="24152" y="68133"/>
                    <a:pt x="14158" y="71745"/>
                    <a:pt x="2070" y="45130"/>
                  </a:cubicBezTo>
                  <a:cubicBezTo>
                    <a:pt x="-10018" y="18515"/>
                    <a:pt x="32624" y="-5534"/>
                    <a:pt x="83355" y="1120"/>
                  </a:cubicBezTo>
                  <a:cubicBezTo>
                    <a:pt x="119563" y="4913"/>
                    <a:pt x="146823" y="35777"/>
                    <a:pt x="146081" y="72125"/>
                  </a:cubicBezTo>
                  <a:cubicBezTo>
                    <a:pt x="144748" y="91706"/>
                    <a:pt x="139513" y="131439"/>
                    <a:pt x="102106" y="144176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1" name="Google Shape;2281;p37">
              <a:extLst>
                <a:ext uri="{FF2B5EF4-FFF2-40B4-BE49-F238E27FC236}">
                  <a16:creationId xmlns:a16="http://schemas.microsoft.com/office/drawing/2014/main" id="{E8E5FE8B-E190-4D3D-8BCA-3340C9CB625C}"/>
                </a:ext>
              </a:extLst>
            </p:cNvPr>
            <p:cNvSpPr/>
            <p:nvPr/>
          </p:nvSpPr>
          <p:spPr>
            <a:xfrm>
              <a:off x="5186268" y="3976961"/>
              <a:ext cx="186859" cy="320520"/>
            </a:xfrm>
            <a:custGeom>
              <a:avLst/>
              <a:gdLst/>
              <a:ahLst/>
              <a:cxnLst/>
              <a:rect l="l" t="t" r="r" b="b"/>
              <a:pathLst>
                <a:path w="186859" h="320520" extrusionOk="0">
                  <a:moveTo>
                    <a:pt x="186131" y="4943"/>
                  </a:moveTo>
                  <a:cubicBezTo>
                    <a:pt x="168713" y="0"/>
                    <a:pt x="182039" y="4088"/>
                    <a:pt x="168713" y="0"/>
                  </a:cubicBezTo>
                  <a:cubicBezTo>
                    <a:pt x="123216" y="44485"/>
                    <a:pt x="128832" y="120813"/>
                    <a:pt x="118552" y="196286"/>
                  </a:cubicBezTo>
                  <a:cubicBezTo>
                    <a:pt x="93424" y="237729"/>
                    <a:pt x="241" y="293906"/>
                    <a:pt x="241" y="293906"/>
                  </a:cubicBezTo>
                  <a:cubicBezTo>
                    <a:pt x="-901" y="301986"/>
                    <a:pt x="1859" y="304362"/>
                    <a:pt x="11948" y="320521"/>
                  </a:cubicBezTo>
                  <a:cubicBezTo>
                    <a:pt x="63842" y="300693"/>
                    <a:pt x="111042" y="270295"/>
                    <a:pt x="150533" y="231266"/>
                  </a:cubicBezTo>
                  <a:cubicBezTo>
                    <a:pt x="152818" y="229174"/>
                    <a:pt x="156054" y="228604"/>
                    <a:pt x="157006" y="225752"/>
                  </a:cubicBezTo>
                  <a:cubicBezTo>
                    <a:pt x="172901" y="177655"/>
                    <a:pt x="190700" y="40018"/>
                    <a:pt x="186131" y="494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2" name="Google Shape;2282;p37">
              <a:extLst>
                <a:ext uri="{FF2B5EF4-FFF2-40B4-BE49-F238E27FC236}">
                  <a16:creationId xmlns:a16="http://schemas.microsoft.com/office/drawing/2014/main" id="{C1E1BBBF-9CDF-4FC4-81B4-735949BCBCF3}"/>
                </a:ext>
              </a:extLst>
            </p:cNvPr>
            <p:cNvSpPr/>
            <p:nvPr/>
          </p:nvSpPr>
          <p:spPr>
            <a:xfrm>
              <a:off x="4957596" y="4074866"/>
              <a:ext cx="216348" cy="290578"/>
            </a:xfrm>
            <a:custGeom>
              <a:avLst/>
              <a:gdLst/>
              <a:ahLst/>
              <a:cxnLst/>
              <a:rect l="l" t="t" r="r" b="b"/>
              <a:pathLst>
                <a:path w="216348" h="290578" extrusionOk="0">
                  <a:moveTo>
                    <a:pt x="0" y="0"/>
                  </a:moveTo>
                  <a:lnTo>
                    <a:pt x="67770" y="231360"/>
                  </a:lnTo>
                  <a:lnTo>
                    <a:pt x="216349" y="290579"/>
                  </a:lnTo>
                  <a:lnTo>
                    <a:pt x="162190" y="653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3" name="Google Shape;2283;p37">
              <a:extLst>
                <a:ext uri="{FF2B5EF4-FFF2-40B4-BE49-F238E27FC236}">
                  <a16:creationId xmlns:a16="http://schemas.microsoft.com/office/drawing/2014/main" id="{FEC1E290-DEFC-4AFE-8587-CEF364AFC7AB}"/>
                </a:ext>
              </a:extLst>
            </p:cNvPr>
            <p:cNvSpPr/>
            <p:nvPr/>
          </p:nvSpPr>
          <p:spPr>
            <a:xfrm>
              <a:off x="5101717" y="4257084"/>
              <a:ext cx="109578" cy="53390"/>
            </a:xfrm>
            <a:custGeom>
              <a:avLst/>
              <a:gdLst/>
              <a:ahLst/>
              <a:cxnLst/>
              <a:rect l="l" t="t" r="r" b="b"/>
              <a:pathLst>
                <a:path w="109578" h="53390" extrusionOk="0">
                  <a:moveTo>
                    <a:pt x="108112" y="15494"/>
                  </a:moveTo>
                  <a:cubicBezTo>
                    <a:pt x="105923" y="7604"/>
                    <a:pt x="100212" y="9505"/>
                    <a:pt x="93739" y="11502"/>
                  </a:cubicBezTo>
                  <a:cubicBezTo>
                    <a:pt x="86772" y="14353"/>
                    <a:pt x="79100" y="15019"/>
                    <a:pt x="71752" y="13403"/>
                  </a:cubicBezTo>
                  <a:cubicBezTo>
                    <a:pt x="66003" y="10627"/>
                    <a:pt x="60683" y="7043"/>
                    <a:pt x="55952" y="2757"/>
                  </a:cubicBezTo>
                  <a:cubicBezTo>
                    <a:pt x="53077" y="1017"/>
                    <a:pt x="49794" y="67"/>
                    <a:pt x="46434" y="0"/>
                  </a:cubicBezTo>
                  <a:cubicBezTo>
                    <a:pt x="46434" y="1996"/>
                    <a:pt x="49860" y="13688"/>
                    <a:pt x="49860" y="13688"/>
                  </a:cubicBezTo>
                  <a:cubicBezTo>
                    <a:pt x="49860" y="13688"/>
                    <a:pt x="17308" y="13688"/>
                    <a:pt x="13977" y="13688"/>
                  </a:cubicBezTo>
                  <a:cubicBezTo>
                    <a:pt x="11045" y="13070"/>
                    <a:pt x="8171" y="14952"/>
                    <a:pt x="7552" y="17880"/>
                  </a:cubicBezTo>
                  <a:cubicBezTo>
                    <a:pt x="7200" y="19572"/>
                    <a:pt x="7676" y="21339"/>
                    <a:pt x="8837" y="22623"/>
                  </a:cubicBezTo>
                  <a:cubicBezTo>
                    <a:pt x="8104" y="22680"/>
                    <a:pt x="7381" y="22680"/>
                    <a:pt x="6648" y="22623"/>
                  </a:cubicBezTo>
                  <a:cubicBezTo>
                    <a:pt x="-15" y="21102"/>
                    <a:pt x="-2870" y="31368"/>
                    <a:pt x="3792" y="32889"/>
                  </a:cubicBezTo>
                  <a:cubicBezTo>
                    <a:pt x="5582" y="33231"/>
                    <a:pt x="7399" y="33487"/>
                    <a:pt x="9218" y="33649"/>
                  </a:cubicBezTo>
                  <a:cubicBezTo>
                    <a:pt x="4839" y="35360"/>
                    <a:pt x="3792" y="42584"/>
                    <a:pt x="9218" y="43154"/>
                  </a:cubicBezTo>
                  <a:lnTo>
                    <a:pt x="10836" y="43154"/>
                  </a:lnTo>
                  <a:cubicBezTo>
                    <a:pt x="11645" y="43373"/>
                    <a:pt x="12501" y="43373"/>
                    <a:pt x="13310" y="43154"/>
                  </a:cubicBezTo>
                  <a:lnTo>
                    <a:pt x="14262" y="43154"/>
                  </a:lnTo>
                  <a:cubicBezTo>
                    <a:pt x="13701" y="46358"/>
                    <a:pt x="15852" y="49418"/>
                    <a:pt x="19059" y="49970"/>
                  </a:cubicBezTo>
                  <a:cubicBezTo>
                    <a:pt x="19107" y="49979"/>
                    <a:pt x="19164" y="49989"/>
                    <a:pt x="19212" y="49998"/>
                  </a:cubicBezTo>
                  <a:cubicBezTo>
                    <a:pt x="35107" y="52089"/>
                    <a:pt x="58522" y="58458"/>
                    <a:pt x="72894" y="45341"/>
                  </a:cubicBezTo>
                  <a:cubicBezTo>
                    <a:pt x="82774" y="44295"/>
                    <a:pt x="92416" y="41662"/>
                    <a:pt x="101449" y="37546"/>
                  </a:cubicBezTo>
                  <a:cubicBezTo>
                    <a:pt x="110491" y="33839"/>
                    <a:pt x="110777" y="24904"/>
                    <a:pt x="108112" y="1549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4" name="Google Shape;2284;p37">
              <a:extLst>
                <a:ext uri="{FF2B5EF4-FFF2-40B4-BE49-F238E27FC236}">
                  <a16:creationId xmlns:a16="http://schemas.microsoft.com/office/drawing/2014/main" id="{C4F6B86C-6E9F-458C-957C-F04D18E04F3B}"/>
                </a:ext>
              </a:extLst>
            </p:cNvPr>
            <p:cNvSpPr/>
            <p:nvPr/>
          </p:nvSpPr>
          <p:spPr>
            <a:xfrm>
              <a:off x="4984781" y="4223327"/>
              <a:ext cx="67863" cy="55821"/>
            </a:xfrm>
            <a:custGeom>
              <a:avLst/>
              <a:gdLst/>
              <a:ahLst/>
              <a:cxnLst/>
              <a:rect l="l" t="t" r="r" b="b"/>
              <a:pathLst>
                <a:path w="67863" h="55821" extrusionOk="0">
                  <a:moveTo>
                    <a:pt x="62477" y="30335"/>
                  </a:moveTo>
                  <a:lnTo>
                    <a:pt x="60192" y="30335"/>
                  </a:lnTo>
                  <a:cubicBezTo>
                    <a:pt x="62420" y="28253"/>
                    <a:pt x="62534" y="24764"/>
                    <a:pt x="60459" y="22540"/>
                  </a:cubicBezTo>
                  <a:cubicBezTo>
                    <a:pt x="59564" y="21590"/>
                    <a:pt x="58355" y="20981"/>
                    <a:pt x="57051" y="20829"/>
                  </a:cubicBezTo>
                  <a:cubicBezTo>
                    <a:pt x="53720" y="20829"/>
                    <a:pt x="20216" y="13890"/>
                    <a:pt x="20216" y="13890"/>
                  </a:cubicBezTo>
                  <a:lnTo>
                    <a:pt x="16123" y="108"/>
                  </a:lnTo>
                  <a:cubicBezTo>
                    <a:pt x="16123" y="-653"/>
                    <a:pt x="10317" y="2864"/>
                    <a:pt x="10127" y="2959"/>
                  </a:cubicBezTo>
                  <a:cubicBezTo>
                    <a:pt x="4406" y="6723"/>
                    <a:pt x="694" y="12873"/>
                    <a:pt x="37" y="19689"/>
                  </a:cubicBezTo>
                  <a:cubicBezTo>
                    <a:pt x="-400" y="29232"/>
                    <a:pt x="3035" y="38557"/>
                    <a:pt x="9555" y="45543"/>
                  </a:cubicBezTo>
                  <a:cubicBezTo>
                    <a:pt x="15638" y="51503"/>
                    <a:pt x="23785" y="54906"/>
                    <a:pt x="32304" y="55049"/>
                  </a:cubicBezTo>
                  <a:cubicBezTo>
                    <a:pt x="36302" y="55049"/>
                    <a:pt x="40204" y="55049"/>
                    <a:pt x="43726" y="55809"/>
                  </a:cubicBezTo>
                  <a:cubicBezTo>
                    <a:pt x="46981" y="56018"/>
                    <a:pt x="49789" y="53556"/>
                    <a:pt x="49998" y="50305"/>
                  </a:cubicBezTo>
                  <a:cubicBezTo>
                    <a:pt x="49998" y="50210"/>
                    <a:pt x="50008" y="50106"/>
                    <a:pt x="50008" y="50011"/>
                  </a:cubicBezTo>
                  <a:lnTo>
                    <a:pt x="51055" y="50011"/>
                  </a:lnTo>
                  <a:cubicBezTo>
                    <a:pt x="51835" y="50201"/>
                    <a:pt x="52654" y="50201"/>
                    <a:pt x="53435" y="50011"/>
                  </a:cubicBezTo>
                  <a:lnTo>
                    <a:pt x="55148" y="50011"/>
                  </a:lnTo>
                  <a:cubicBezTo>
                    <a:pt x="60859" y="50011"/>
                    <a:pt x="61334" y="42977"/>
                    <a:pt x="57432" y="40505"/>
                  </a:cubicBezTo>
                  <a:cubicBezTo>
                    <a:pt x="59240" y="40505"/>
                    <a:pt x="61049" y="40505"/>
                    <a:pt x="62953" y="40505"/>
                  </a:cubicBezTo>
                  <a:cubicBezTo>
                    <a:pt x="69901" y="40885"/>
                    <a:pt x="69234" y="30239"/>
                    <a:pt x="62477" y="3033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5" name="Google Shape;2285;p37">
              <a:extLst>
                <a:ext uri="{FF2B5EF4-FFF2-40B4-BE49-F238E27FC236}">
                  <a16:creationId xmlns:a16="http://schemas.microsoft.com/office/drawing/2014/main" id="{76C46C8C-5720-47CA-99EC-DFD5CA434CEB}"/>
                </a:ext>
              </a:extLst>
            </p:cNvPr>
            <p:cNvSpPr/>
            <p:nvPr/>
          </p:nvSpPr>
          <p:spPr>
            <a:xfrm>
              <a:off x="5132255" y="3894454"/>
              <a:ext cx="67293" cy="97715"/>
            </a:xfrm>
            <a:custGeom>
              <a:avLst/>
              <a:gdLst/>
              <a:ahLst/>
              <a:cxnLst/>
              <a:rect l="l" t="t" r="r" b="b"/>
              <a:pathLst>
                <a:path w="67293" h="97715" extrusionOk="0">
                  <a:moveTo>
                    <a:pt x="24367" y="97715"/>
                  </a:moveTo>
                  <a:cubicBezTo>
                    <a:pt x="15153" y="97344"/>
                    <a:pt x="6435" y="93466"/>
                    <a:pt x="0" y="86879"/>
                  </a:cubicBezTo>
                  <a:cubicBezTo>
                    <a:pt x="1333" y="69769"/>
                    <a:pt x="23224" y="4848"/>
                    <a:pt x="67294" y="0"/>
                  </a:cubicBezTo>
                  <a:cubicBezTo>
                    <a:pt x="55310" y="8431"/>
                    <a:pt x="45811" y="19923"/>
                    <a:pt x="39786" y="33269"/>
                  </a:cubicBezTo>
                  <a:cubicBezTo>
                    <a:pt x="33000" y="54323"/>
                    <a:pt x="27841" y="75872"/>
                    <a:pt x="24367" y="9771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6" name="Google Shape;2286;p37">
              <a:extLst>
                <a:ext uri="{FF2B5EF4-FFF2-40B4-BE49-F238E27FC236}">
                  <a16:creationId xmlns:a16="http://schemas.microsoft.com/office/drawing/2014/main" id="{31CCE54F-6993-4983-B132-B067C1427A09}"/>
                </a:ext>
              </a:extLst>
            </p:cNvPr>
            <p:cNvSpPr/>
            <p:nvPr/>
          </p:nvSpPr>
          <p:spPr>
            <a:xfrm>
              <a:off x="5305132" y="3960902"/>
              <a:ext cx="81740" cy="121566"/>
            </a:xfrm>
            <a:custGeom>
              <a:avLst/>
              <a:gdLst/>
              <a:ahLst/>
              <a:cxnLst/>
              <a:rect l="l" t="t" r="r" b="b"/>
              <a:pathLst>
                <a:path w="81740" h="121566" extrusionOk="0">
                  <a:moveTo>
                    <a:pt x="75168" y="117100"/>
                  </a:moveTo>
                  <a:cubicBezTo>
                    <a:pt x="75168" y="117100"/>
                    <a:pt x="31289" y="132214"/>
                    <a:pt x="355" y="106834"/>
                  </a:cubicBezTo>
                  <a:cubicBezTo>
                    <a:pt x="-2977" y="101036"/>
                    <a:pt x="18249" y="26514"/>
                    <a:pt x="18249" y="26514"/>
                  </a:cubicBezTo>
                  <a:cubicBezTo>
                    <a:pt x="18249" y="26514"/>
                    <a:pt x="36714" y="-11507"/>
                    <a:pt x="65840" y="3511"/>
                  </a:cubicBezTo>
                  <a:cubicBezTo>
                    <a:pt x="94966" y="18530"/>
                    <a:pt x="75168" y="117100"/>
                    <a:pt x="75168" y="11710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7" name="Google Shape;2287;p37">
              <a:extLst>
                <a:ext uri="{FF2B5EF4-FFF2-40B4-BE49-F238E27FC236}">
                  <a16:creationId xmlns:a16="http://schemas.microsoft.com/office/drawing/2014/main" id="{3B07F874-8F64-418B-9267-8CFBE4BAE58C}"/>
                </a:ext>
              </a:extLst>
            </p:cNvPr>
            <p:cNvSpPr/>
            <p:nvPr/>
          </p:nvSpPr>
          <p:spPr>
            <a:xfrm>
              <a:off x="2821998" y="4049582"/>
              <a:ext cx="101559" cy="177370"/>
            </a:xfrm>
            <a:custGeom>
              <a:avLst/>
              <a:gdLst/>
              <a:ahLst/>
              <a:cxnLst/>
              <a:rect l="l" t="t" r="r" b="b"/>
              <a:pathLst>
                <a:path w="101559" h="177370" extrusionOk="0">
                  <a:moveTo>
                    <a:pt x="0" y="0"/>
                  </a:moveTo>
                  <a:cubicBezTo>
                    <a:pt x="0" y="0"/>
                    <a:pt x="6092" y="90966"/>
                    <a:pt x="17989" y="104084"/>
                  </a:cubicBezTo>
                  <a:cubicBezTo>
                    <a:pt x="29887" y="117201"/>
                    <a:pt x="70340" y="126136"/>
                    <a:pt x="70340" y="126136"/>
                  </a:cubicBezTo>
                  <a:lnTo>
                    <a:pt x="101559" y="177370"/>
                  </a:lnTo>
                  <a:cubicBezTo>
                    <a:pt x="101559" y="177370"/>
                    <a:pt x="73005" y="14543"/>
                    <a:pt x="66913" y="10646"/>
                  </a:cubicBezTo>
                  <a:cubicBezTo>
                    <a:pt x="60821" y="674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8" name="Google Shape;2288;p37">
              <a:extLst>
                <a:ext uri="{FF2B5EF4-FFF2-40B4-BE49-F238E27FC236}">
                  <a16:creationId xmlns:a16="http://schemas.microsoft.com/office/drawing/2014/main" id="{4B43EA7D-AA15-422E-872F-A331CCD23A88}"/>
                </a:ext>
              </a:extLst>
            </p:cNvPr>
            <p:cNvSpPr/>
            <p:nvPr/>
          </p:nvSpPr>
          <p:spPr>
            <a:xfrm>
              <a:off x="2814097" y="3945071"/>
              <a:ext cx="67769" cy="130685"/>
            </a:xfrm>
            <a:custGeom>
              <a:avLst/>
              <a:gdLst/>
              <a:ahLst/>
              <a:cxnLst/>
              <a:rect l="l" t="t" r="r" b="b"/>
              <a:pathLst>
                <a:path w="67769" h="130685" extrusionOk="0">
                  <a:moveTo>
                    <a:pt x="67770" y="3183"/>
                  </a:moveTo>
                  <a:cubicBezTo>
                    <a:pt x="52097" y="-4127"/>
                    <a:pt x="33430" y="1529"/>
                    <a:pt x="24462" y="16300"/>
                  </a:cubicBezTo>
                  <a:cubicBezTo>
                    <a:pt x="12945" y="35311"/>
                    <a:pt x="1047" y="100328"/>
                    <a:pt x="0" y="111354"/>
                  </a:cubicBezTo>
                  <a:cubicBezTo>
                    <a:pt x="0" y="111354"/>
                    <a:pt x="16086" y="133597"/>
                    <a:pt x="40167" y="13036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9" name="Google Shape;2289;p37">
              <a:extLst>
                <a:ext uri="{FF2B5EF4-FFF2-40B4-BE49-F238E27FC236}">
                  <a16:creationId xmlns:a16="http://schemas.microsoft.com/office/drawing/2014/main" id="{A8E8DE7F-F613-4FE7-9C88-48517D9BA93D}"/>
                </a:ext>
              </a:extLst>
            </p:cNvPr>
            <p:cNvSpPr/>
            <p:nvPr/>
          </p:nvSpPr>
          <p:spPr>
            <a:xfrm>
              <a:off x="2966810" y="4837262"/>
              <a:ext cx="145801" cy="82247"/>
            </a:xfrm>
            <a:custGeom>
              <a:avLst/>
              <a:gdLst/>
              <a:ahLst/>
              <a:cxnLst/>
              <a:rect l="l" t="t" r="r" b="b"/>
              <a:pathLst>
                <a:path w="145801" h="82247" extrusionOk="0">
                  <a:moveTo>
                    <a:pt x="7003" y="19800"/>
                  </a:moveTo>
                  <a:cubicBezTo>
                    <a:pt x="23964" y="24458"/>
                    <a:pt x="42087" y="22272"/>
                    <a:pt x="57449" y="13717"/>
                  </a:cubicBezTo>
                  <a:cubicBezTo>
                    <a:pt x="69537" y="13717"/>
                    <a:pt x="135498" y="-14134"/>
                    <a:pt x="144446" y="9535"/>
                  </a:cubicBezTo>
                  <a:cubicBezTo>
                    <a:pt x="152346" y="30256"/>
                    <a:pt x="123791" y="49457"/>
                    <a:pt x="108562" y="53164"/>
                  </a:cubicBezTo>
                  <a:cubicBezTo>
                    <a:pt x="75248" y="61244"/>
                    <a:pt x="50596" y="77783"/>
                    <a:pt x="37175" y="80635"/>
                  </a:cubicBezTo>
                  <a:cubicBezTo>
                    <a:pt x="27657" y="82726"/>
                    <a:pt x="14332" y="84057"/>
                    <a:pt x="6432" y="76262"/>
                  </a:cubicBezTo>
                  <a:cubicBezTo>
                    <a:pt x="-2515" y="66852"/>
                    <a:pt x="-1944" y="32157"/>
                    <a:pt x="7003" y="1980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0" name="Google Shape;2290;p37">
              <a:extLst>
                <a:ext uri="{FF2B5EF4-FFF2-40B4-BE49-F238E27FC236}">
                  <a16:creationId xmlns:a16="http://schemas.microsoft.com/office/drawing/2014/main" id="{4671CF25-7269-4C4F-B8C1-CF042FF5BB2C}"/>
                </a:ext>
              </a:extLst>
            </p:cNvPr>
            <p:cNvSpPr/>
            <p:nvPr/>
          </p:nvSpPr>
          <p:spPr>
            <a:xfrm>
              <a:off x="2969244" y="4850979"/>
              <a:ext cx="143767" cy="68530"/>
            </a:xfrm>
            <a:custGeom>
              <a:avLst/>
              <a:gdLst/>
              <a:ahLst/>
              <a:cxnLst/>
              <a:rect l="l" t="t" r="r" b="b"/>
              <a:pathLst>
                <a:path w="143767" h="68530" extrusionOk="0">
                  <a:moveTo>
                    <a:pt x="35122" y="61119"/>
                  </a:moveTo>
                  <a:cubicBezTo>
                    <a:pt x="48543" y="58363"/>
                    <a:pt x="73195" y="42109"/>
                    <a:pt x="106509" y="33649"/>
                  </a:cubicBezTo>
                  <a:cubicBezTo>
                    <a:pt x="119263" y="30607"/>
                    <a:pt x="141250" y="16634"/>
                    <a:pt x="143535" y="0"/>
                  </a:cubicBezTo>
                  <a:cubicBezTo>
                    <a:pt x="146485" y="19011"/>
                    <a:pt x="120691" y="36025"/>
                    <a:pt x="106509" y="39447"/>
                  </a:cubicBezTo>
                  <a:cubicBezTo>
                    <a:pt x="73195" y="47527"/>
                    <a:pt x="48543" y="64066"/>
                    <a:pt x="35122" y="66918"/>
                  </a:cubicBezTo>
                  <a:cubicBezTo>
                    <a:pt x="25604" y="69009"/>
                    <a:pt x="12278" y="70340"/>
                    <a:pt x="4378" y="62545"/>
                  </a:cubicBezTo>
                  <a:cubicBezTo>
                    <a:pt x="2265" y="60292"/>
                    <a:pt x="761" y="57545"/>
                    <a:pt x="0" y="54561"/>
                  </a:cubicBezTo>
                  <a:cubicBezTo>
                    <a:pt x="10013" y="62156"/>
                    <a:pt x="23034" y="64589"/>
                    <a:pt x="35122" y="61119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1" name="Google Shape;2291;p37">
              <a:extLst>
                <a:ext uri="{FF2B5EF4-FFF2-40B4-BE49-F238E27FC236}">
                  <a16:creationId xmlns:a16="http://schemas.microsoft.com/office/drawing/2014/main" id="{F1F7F509-5177-446A-BB38-2389B6E17E4D}"/>
                </a:ext>
              </a:extLst>
            </p:cNvPr>
            <p:cNvSpPr/>
            <p:nvPr/>
          </p:nvSpPr>
          <p:spPr>
            <a:xfrm>
              <a:off x="2864165" y="4805303"/>
              <a:ext cx="146191" cy="82209"/>
            </a:xfrm>
            <a:custGeom>
              <a:avLst/>
              <a:gdLst/>
              <a:ahLst/>
              <a:cxnLst/>
              <a:rect l="l" t="t" r="r" b="b"/>
              <a:pathLst>
                <a:path w="146191" h="82209" extrusionOk="0">
                  <a:moveTo>
                    <a:pt x="7327" y="19726"/>
                  </a:moveTo>
                  <a:cubicBezTo>
                    <a:pt x="24287" y="24431"/>
                    <a:pt x="42423" y="22245"/>
                    <a:pt x="57774" y="13642"/>
                  </a:cubicBezTo>
                  <a:cubicBezTo>
                    <a:pt x="69957" y="13642"/>
                    <a:pt x="135823" y="-14113"/>
                    <a:pt x="144865" y="9555"/>
                  </a:cubicBezTo>
                  <a:cubicBezTo>
                    <a:pt x="152670" y="30277"/>
                    <a:pt x="124116" y="49477"/>
                    <a:pt x="108886" y="53185"/>
                  </a:cubicBezTo>
                  <a:cubicBezTo>
                    <a:pt x="75573" y="61169"/>
                    <a:pt x="50921" y="77804"/>
                    <a:pt x="37595" y="80560"/>
                  </a:cubicBezTo>
                  <a:cubicBezTo>
                    <a:pt x="27601" y="82651"/>
                    <a:pt x="14656" y="84077"/>
                    <a:pt x="6756" y="76283"/>
                  </a:cubicBezTo>
                  <a:cubicBezTo>
                    <a:pt x="-2762" y="66872"/>
                    <a:pt x="-1905" y="32178"/>
                    <a:pt x="7327" y="19726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2" name="Google Shape;2292;p37">
              <a:extLst>
                <a:ext uri="{FF2B5EF4-FFF2-40B4-BE49-F238E27FC236}">
                  <a16:creationId xmlns:a16="http://schemas.microsoft.com/office/drawing/2014/main" id="{B1924B38-E7FD-4096-BD30-AD9AA41392A0}"/>
                </a:ext>
              </a:extLst>
            </p:cNvPr>
            <p:cNvSpPr/>
            <p:nvPr/>
          </p:nvSpPr>
          <p:spPr>
            <a:xfrm>
              <a:off x="2866543" y="4818565"/>
              <a:ext cx="143767" cy="68566"/>
            </a:xfrm>
            <a:custGeom>
              <a:avLst/>
              <a:gdLst/>
              <a:ahLst/>
              <a:cxnLst/>
              <a:rect l="l" t="t" r="r" b="b"/>
              <a:pathLst>
                <a:path w="143767" h="68566" extrusionOk="0">
                  <a:moveTo>
                    <a:pt x="35217" y="61215"/>
                  </a:moveTo>
                  <a:cubicBezTo>
                    <a:pt x="48543" y="58363"/>
                    <a:pt x="73290" y="42204"/>
                    <a:pt x="106509" y="33744"/>
                  </a:cubicBezTo>
                  <a:cubicBezTo>
                    <a:pt x="119263" y="30702"/>
                    <a:pt x="141345" y="16730"/>
                    <a:pt x="143534" y="0"/>
                  </a:cubicBezTo>
                  <a:cubicBezTo>
                    <a:pt x="146485" y="19011"/>
                    <a:pt x="120691" y="36025"/>
                    <a:pt x="106509" y="39542"/>
                  </a:cubicBezTo>
                  <a:cubicBezTo>
                    <a:pt x="73195" y="47527"/>
                    <a:pt x="48543" y="64161"/>
                    <a:pt x="35217" y="66918"/>
                  </a:cubicBezTo>
                  <a:cubicBezTo>
                    <a:pt x="25223" y="69009"/>
                    <a:pt x="12278" y="70435"/>
                    <a:pt x="4378" y="62640"/>
                  </a:cubicBezTo>
                  <a:cubicBezTo>
                    <a:pt x="2320" y="60350"/>
                    <a:pt x="821" y="57622"/>
                    <a:pt x="0" y="54656"/>
                  </a:cubicBezTo>
                  <a:cubicBezTo>
                    <a:pt x="10052" y="62251"/>
                    <a:pt x="23099" y="64684"/>
                    <a:pt x="35217" y="61215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3" name="Google Shape;2293;p37">
              <a:extLst>
                <a:ext uri="{FF2B5EF4-FFF2-40B4-BE49-F238E27FC236}">
                  <a16:creationId xmlns:a16="http://schemas.microsoft.com/office/drawing/2014/main" id="{2C6713F0-0634-40D7-84E9-C763F056C309}"/>
                </a:ext>
              </a:extLst>
            </p:cNvPr>
            <p:cNvSpPr/>
            <p:nvPr/>
          </p:nvSpPr>
          <p:spPr>
            <a:xfrm>
              <a:off x="2858160" y="4267254"/>
              <a:ext cx="210834" cy="594226"/>
            </a:xfrm>
            <a:custGeom>
              <a:avLst/>
              <a:gdLst/>
              <a:ahLst/>
              <a:cxnLst/>
              <a:rect l="l" t="t" r="r" b="b"/>
              <a:pathLst>
                <a:path w="210834" h="594226" extrusionOk="0">
                  <a:moveTo>
                    <a:pt x="6098" y="372610"/>
                  </a:moveTo>
                  <a:cubicBezTo>
                    <a:pt x="8933" y="348172"/>
                    <a:pt x="14031" y="324057"/>
                    <a:pt x="21327" y="300559"/>
                  </a:cubicBezTo>
                  <a:cubicBezTo>
                    <a:pt x="21327" y="300559"/>
                    <a:pt x="16759" y="238299"/>
                    <a:pt x="14474" y="179271"/>
                  </a:cubicBezTo>
                  <a:cubicBezTo>
                    <a:pt x="11904" y="112734"/>
                    <a:pt x="-11320" y="53420"/>
                    <a:pt x="6955" y="0"/>
                  </a:cubicBezTo>
                  <a:lnTo>
                    <a:pt x="210835" y="45340"/>
                  </a:lnTo>
                  <a:cubicBezTo>
                    <a:pt x="210835" y="45340"/>
                    <a:pt x="201317" y="312821"/>
                    <a:pt x="198176" y="345140"/>
                  </a:cubicBezTo>
                  <a:cubicBezTo>
                    <a:pt x="196596" y="370310"/>
                    <a:pt x="193417" y="395366"/>
                    <a:pt x="188657" y="420137"/>
                  </a:cubicBezTo>
                  <a:cubicBezTo>
                    <a:pt x="179139" y="471941"/>
                    <a:pt x="168955" y="587907"/>
                    <a:pt x="168955" y="587907"/>
                  </a:cubicBezTo>
                  <a:cubicBezTo>
                    <a:pt x="147063" y="600644"/>
                    <a:pt x="114987" y="590188"/>
                    <a:pt x="114987" y="590188"/>
                  </a:cubicBezTo>
                  <a:cubicBezTo>
                    <a:pt x="114987" y="590188"/>
                    <a:pt x="114987" y="445041"/>
                    <a:pt x="116224" y="407685"/>
                  </a:cubicBezTo>
                  <a:cubicBezTo>
                    <a:pt x="117937" y="362059"/>
                    <a:pt x="119365" y="365576"/>
                    <a:pt x="119365" y="365576"/>
                  </a:cubicBezTo>
                  <a:lnTo>
                    <a:pt x="112512" y="251987"/>
                  </a:lnTo>
                  <a:lnTo>
                    <a:pt x="108038" y="195525"/>
                  </a:lnTo>
                  <a:cubicBezTo>
                    <a:pt x="108038" y="195525"/>
                    <a:pt x="102327" y="236969"/>
                    <a:pt x="98520" y="273945"/>
                  </a:cubicBezTo>
                  <a:cubicBezTo>
                    <a:pt x="95284" y="306263"/>
                    <a:pt x="87479" y="335444"/>
                    <a:pt x="78722" y="395613"/>
                  </a:cubicBezTo>
                  <a:cubicBezTo>
                    <a:pt x="71203" y="447703"/>
                    <a:pt x="63398" y="554068"/>
                    <a:pt x="63398" y="554068"/>
                  </a:cubicBezTo>
                  <a:cubicBezTo>
                    <a:pt x="41506" y="566710"/>
                    <a:pt x="12000" y="557965"/>
                    <a:pt x="12000" y="557965"/>
                  </a:cubicBezTo>
                  <a:cubicBezTo>
                    <a:pt x="12000" y="557965"/>
                    <a:pt x="197" y="417856"/>
                    <a:pt x="6098" y="3726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4" name="Google Shape;2294;p37">
              <a:extLst>
                <a:ext uri="{FF2B5EF4-FFF2-40B4-BE49-F238E27FC236}">
                  <a16:creationId xmlns:a16="http://schemas.microsoft.com/office/drawing/2014/main" id="{48ACFB4E-E05B-4631-B48E-2A9A7547B540}"/>
                </a:ext>
              </a:extLst>
            </p:cNvPr>
            <p:cNvSpPr/>
            <p:nvPr/>
          </p:nvSpPr>
          <p:spPr>
            <a:xfrm>
              <a:off x="2884049" y="3772563"/>
              <a:ext cx="155365" cy="247695"/>
            </a:xfrm>
            <a:custGeom>
              <a:avLst/>
              <a:gdLst/>
              <a:ahLst/>
              <a:cxnLst/>
              <a:rect l="l" t="t" r="r" b="b"/>
              <a:pathLst>
                <a:path w="155365" h="247695" extrusionOk="0">
                  <a:moveTo>
                    <a:pt x="8859" y="177022"/>
                  </a:moveTo>
                  <a:cubicBezTo>
                    <a:pt x="24564" y="177782"/>
                    <a:pt x="36271" y="181869"/>
                    <a:pt x="38270" y="177022"/>
                  </a:cubicBezTo>
                  <a:cubicBezTo>
                    <a:pt x="39966" y="168895"/>
                    <a:pt x="41174" y="160673"/>
                    <a:pt x="41887" y="152403"/>
                  </a:cubicBezTo>
                  <a:cubicBezTo>
                    <a:pt x="40078" y="147840"/>
                    <a:pt x="38460" y="142897"/>
                    <a:pt x="38460" y="142897"/>
                  </a:cubicBezTo>
                  <a:cubicBezTo>
                    <a:pt x="18662" y="130826"/>
                    <a:pt x="12476" y="109439"/>
                    <a:pt x="9906" y="84535"/>
                  </a:cubicBezTo>
                  <a:cubicBezTo>
                    <a:pt x="5527" y="42046"/>
                    <a:pt x="28942" y="4880"/>
                    <a:pt x="71013" y="412"/>
                  </a:cubicBezTo>
                  <a:cubicBezTo>
                    <a:pt x="111084" y="-3770"/>
                    <a:pt x="140495" y="24365"/>
                    <a:pt x="148396" y="62862"/>
                  </a:cubicBezTo>
                  <a:cubicBezTo>
                    <a:pt x="152584" y="81873"/>
                    <a:pt x="161055" y="117899"/>
                    <a:pt x="149633" y="149171"/>
                  </a:cubicBezTo>
                  <a:cubicBezTo>
                    <a:pt x="143256" y="166756"/>
                    <a:pt x="135070" y="180634"/>
                    <a:pt x="126884" y="183295"/>
                  </a:cubicBezTo>
                  <a:cubicBezTo>
                    <a:pt x="118946" y="183143"/>
                    <a:pt x="111027" y="182449"/>
                    <a:pt x="103184" y="181204"/>
                  </a:cubicBezTo>
                  <a:lnTo>
                    <a:pt x="103184" y="181204"/>
                  </a:lnTo>
                  <a:cubicBezTo>
                    <a:pt x="103184" y="181204"/>
                    <a:pt x="101090" y="192991"/>
                    <a:pt x="99662" y="200215"/>
                  </a:cubicBezTo>
                  <a:cubicBezTo>
                    <a:pt x="98235" y="207439"/>
                    <a:pt x="98711" y="211716"/>
                    <a:pt x="113844" y="221031"/>
                  </a:cubicBezTo>
                  <a:cubicBezTo>
                    <a:pt x="128978" y="230347"/>
                    <a:pt x="91001" y="249548"/>
                    <a:pt x="66253" y="247551"/>
                  </a:cubicBezTo>
                  <a:cubicBezTo>
                    <a:pt x="41506" y="245555"/>
                    <a:pt x="13523" y="230727"/>
                    <a:pt x="5908" y="214758"/>
                  </a:cubicBezTo>
                  <a:cubicBezTo>
                    <a:pt x="-2754" y="197553"/>
                    <a:pt x="-1992" y="176451"/>
                    <a:pt x="8859" y="17702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5" name="Google Shape;2295;p37">
              <a:extLst>
                <a:ext uri="{FF2B5EF4-FFF2-40B4-BE49-F238E27FC236}">
                  <a16:creationId xmlns:a16="http://schemas.microsoft.com/office/drawing/2014/main" id="{0E66B0A8-0284-4D1B-9DE4-8592C8CEC53C}"/>
                </a:ext>
              </a:extLst>
            </p:cNvPr>
            <p:cNvSpPr/>
            <p:nvPr/>
          </p:nvSpPr>
          <p:spPr>
            <a:xfrm>
              <a:off x="2832349" y="3948237"/>
              <a:ext cx="239208" cy="394751"/>
            </a:xfrm>
            <a:custGeom>
              <a:avLst/>
              <a:gdLst/>
              <a:ahLst/>
              <a:cxnLst/>
              <a:rect l="l" t="t" r="r" b="b"/>
              <a:pathLst>
                <a:path w="239208" h="394751" extrusionOk="0">
                  <a:moveTo>
                    <a:pt x="83308" y="3725"/>
                  </a:moveTo>
                  <a:cubicBezTo>
                    <a:pt x="78930" y="14561"/>
                    <a:pt x="90066" y="27868"/>
                    <a:pt x="119667" y="37088"/>
                  </a:cubicBezTo>
                  <a:cubicBezTo>
                    <a:pt x="149269" y="46308"/>
                    <a:pt x="151839" y="34427"/>
                    <a:pt x="151839" y="34427"/>
                  </a:cubicBezTo>
                  <a:cubicBezTo>
                    <a:pt x="171408" y="43257"/>
                    <a:pt x="190473" y="53162"/>
                    <a:pt x="208948" y="64083"/>
                  </a:cubicBezTo>
                  <a:cubicBezTo>
                    <a:pt x="226652" y="76441"/>
                    <a:pt x="234552" y="112371"/>
                    <a:pt x="236932" y="172920"/>
                  </a:cubicBezTo>
                  <a:cubicBezTo>
                    <a:pt x="239692" y="242974"/>
                    <a:pt x="239977" y="346963"/>
                    <a:pt x="237598" y="364928"/>
                  </a:cubicBezTo>
                  <a:cubicBezTo>
                    <a:pt x="237598" y="364928"/>
                    <a:pt x="204475" y="398007"/>
                    <a:pt x="161452" y="394490"/>
                  </a:cubicBezTo>
                  <a:cubicBezTo>
                    <a:pt x="118430" y="390973"/>
                    <a:pt x="47234" y="353427"/>
                    <a:pt x="30196" y="324435"/>
                  </a:cubicBezTo>
                  <a:cubicBezTo>
                    <a:pt x="30196" y="263031"/>
                    <a:pt x="37906" y="253050"/>
                    <a:pt x="27912" y="217595"/>
                  </a:cubicBezTo>
                  <a:cubicBezTo>
                    <a:pt x="5068" y="136514"/>
                    <a:pt x="-6925" y="103531"/>
                    <a:pt x="4212" y="49540"/>
                  </a:cubicBezTo>
                  <a:cubicBezTo>
                    <a:pt x="13730" y="5150"/>
                    <a:pt x="26103" y="-363"/>
                    <a:pt x="43712" y="17"/>
                  </a:cubicBezTo>
                  <a:cubicBezTo>
                    <a:pt x="56967" y="550"/>
                    <a:pt x="70185" y="1785"/>
                    <a:pt x="83308" y="3725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6" name="Google Shape;2296;p37">
              <a:extLst>
                <a:ext uri="{FF2B5EF4-FFF2-40B4-BE49-F238E27FC236}">
                  <a16:creationId xmlns:a16="http://schemas.microsoft.com/office/drawing/2014/main" id="{7D6A70BF-7E47-43BC-88C3-DBF00CA38395}"/>
                </a:ext>
              </a:extLst>
            </p:cNvPr>
            <p:cNvSpPr/>
            <p:nvPr/>
          </p:nvSpPr>
          <p:spPr>
            <a:xfrm>
              <a:off x="3011886" y="4098914"/>
              <a:ext cx="63391" cy="288487"/>
            </a:xfrm>
            <a:custGeom>
              <a:avLst/>
              <a:gdLst/>
              <a:ahLst/>
              <a:cxnLst/>
              <a:rect l="l" t="t" r="r" b="b"/>
              <a:pathLst>
                <a:path w="63391" h="288487" extrusionOk="0">
                  <a:moveTo>
                    <a:pt x="21226" y="268241"/>
                  </a:moveTo>
                  <a:lnTo>
                    <a:pt x="0" y="24144"/>
                  </a:lnTo>
                  <a:lnTo>
                    <a:pt x="45592" y="0"/>
                  </a:lnTo>
                  <a:lnTo>
                    <a:pt x="63391" y="14923"/>
                  </a:lnTo>
                  <a:lnTo>
                    <a:pt x="57109" y="234117"/>
                  </a:lnTo>
                  <a:lnTo>
                    <a:pt x="57109" y="234117"/>
                  </a:lnTo>
                  <a:lnTo>
                    <a:pt x="57109" y="240200"/>
                  </a:lnTo>
                  <a:lnTo>
                    <a:pt x="57109" y="240200"/>
                  </a:lnTo>
                  <a:lnTo>
                    <a:pt x="57109" y="247995"/>
                  </a:lnTo>
                  <a:cubicBezTo>
                    <a:pt x="57109" y="247995"/>
                    <a:pt x="58061" y="266435"/>
                    <a:pt x="23224" y="288488"/>
                  </a:cubicBezTo>
                  <a:cubicBezTo>
                    <a:pt x="23224" y="288488"/>
                    <a:pt x="22653" y="282689"/>
                    <a:pt x="22177" y="277271"/>
                  </a:cubicBezTo>
                  <a:lnTo>
                    <a:pt x="22177" y="277271"/>
                  </a:lnTo>
                  <a:lnTo>
                    <a:pt x="21321" y="267766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7" name="Google Shape;2297;p37">
              <a:extLst>
                <a:ext uri="{FF2B5EF4-FFF2-40B4-BE49-F238E27FC236}">
                  <a16:creationId xmlns:a16="http://schemas.microsoft.com/office/drawing/2014/main" id="{92DBE9C2-A51B-4B80-81F8-0DFEEE2970C0}"/>
                </a:ext>
              </a:extLst>
            </p:cNvPr>
            <p:cNvSpPr/>
            <p:nvPr/>
          </p:nvSpPr>
          <p:spPr>
            <a:xfrm>
              <a:off x="2997806" y="3997207"/>
              <a:ext cx="83658" cy="135231"/>
            </a:xfrm>
            <a:custGeom>
              <a:avLst/>
              <a:gdLst/>
              <a:ahLst/>
              <a:cxnLst/>
              <a:rect l="l" t="t" r="r" b="b"/>
              <a:pathLst>
                <a:path w="83658" h="135231" extrusionOk="0">
                  <a:moveTo>
                    <a:pt x="29880" y="0"/>
                  </a:moveTo>
                  <a:cubicBezTo>
                    <a:pt x="53390" y="0"/>
                    <a:pt x="67953" y="11977"/>
                    <a:pt x="74140" y="48192"/>
                  </a:cubicBezTo>
                  <a:cubicBezTo>
                    <a:pt x="80327" y="84408"/>
                    <a:pt x="83658" y="114064"/>
                    <a:pt x="83658" y="114064"/>
                  </a:cubicBezTo>
                  <a:cubicBezTo>
                    <a:pt x="72826" y="126070"/>
                    <a:pt x="57807" y="133484"/>
                    <a:pt x="41683" y="134786"/>
                  </a:cubicBezTo>
                  <a:cubicBezTo>
                    <a:pt x="13128" y="137923"/>
                    <a:pt x="4943" y="123475"/>
                    <a:pt x="4943" y="123475"/>
                  </a:cubicBezTo>
                  <a:cubicBezTo>
                    <a:pt x="4943" y="123475"/>
                    <a:pt x="1897" y="85929"/>
                    <a:pt x="374" y="60359"/>
                  </a:cubicBezTo>
                  <a:cubicBezTo>
                    <a:pt x="-1149" y="34790"/>
                    <a:pt x="755" y="570"/>
                    <a:pt x="29880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8" name="Google Shape;2298;p37">
              <a:extLst>
                <a:ext uri="{FF2B5EF4-FFF2-40B4-BE49-F238E27FC236}">
                  <a16:creationId xmlns:a16="http://schemas.microsoft.com/office/drawing/2014/main" id="{BA633E49-E305-4AE0-B639-21148DF6EA81}"/>
                </a:ext>
              </a:extLst>
            </p:cNvPr>
            <p:cNvSpPr/>
            <p:nvPr/>
          </p:nvSpPr>
          <p:spPr>
            <a:xfrm>
              <a:off x="2888823" y="3761654"/>
              <a:ext cx="150557" cy="165637"/>
            </a:xfrm>
            <a:custGeom>
              <a:avLst/>
              <a:gdLst/>
              <a:ahLst/>
              <a:cxnLst/>
              <a:rect l="l" t="t" r="r" b="b"/>
              <a:pathLst>
                <a:path w="150557" h="165637" extrusionOk="0">
                  <a:moveTo>
                    <a:pt x="142099" y="68353"/>
                  </a:moveTo>
                  <a:cubicBezTo>
                    <a:pt x="142099" y="68353"/>
                    <a:pt x="178840" y="12557"/>
                    <a:pt x="99172" y="1150"/>
                  </a:cubicBezTo>
                  <a:cubicBezTo>
                    <a:pt x="42063" y="-7024"/>
                    <a:pt x="4752" y="29667"/>
                    <a:pt x="468" y="69874"/>
                  </a:cubicBezTo>
                  <a:cubicBezTo>
                    <a:pt x="-3624" y="107896"/>
                    <a:pt x="19981" y="147723"/>
                    <a:pt x="37018" y="163502"/>
                  </a:cubicBezTo>
                  <a:cubicBezTo>
                    <a:pt x="53749" y="167751"/>
                    <a:pt x="71464" y="165612"/>
                    <a:pt x="86703" y="157514"/>
                  </a:cubicBezTo>
                  <a:cubicBezTo>
                    <a:pt x="87636" y="147115"/>
                    <a:pt x="87988" y="136678"/>
                    <a:pt x="87750" y="126241"/>
                  </a:cubicBezTo>
                  <a:cubicBezTo>
                    <a:pt x="87750" y="126241"/>
                    <a:pt x="59862" y="67308"/>
                    <a:pt x="142099" y="6835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9" name="Google Shape;2299;p37">
              <a:extLst>
                <a:ext uri="{FF2B5EF4-FFF2-40B4-BE49-F238E27FC236}">
                  <a16:creationId xmlns:a16="http://schemas.microsoft.com/office/drawing/2014/main" id="{E4B0C544-AA12-40FA-817E-955218A0A1F9}"/>
                </a:ext>
              </a:extLst>
            </p:cNvPr>
            <p:cNvSpPr/>
            <p:nvPr/>
          </p:nvSpPr>
          <p:spPr>
            <a:xfrm>
              <a:off x="2091982" y="2625612"/>
              <a:ext cx="210167" cy="307273"/>
            </a:xfrm>
            <a:custGeom>
              <a:avLst/>
              <a:gdLst/>
              <a:ahLst/>
              <a:cxnLst/>
              <a:rect l="l" t="t" r="r" b="b"/>
              <a:pathLst>
                <a:path w="210167" h="307273" extrusionOk="0">
                  <a:moveTo>
                    <a:pt x="136175" y="10238"/>
                  </a:moveTo>
                  <a:cubicBezTo>
                    <a:pt x="127799" y="-3260"/>
                    <a:pt x="63836" y="-12100"/>
                    <a:pt x="42801" y="41986"/>
                  </a:cubicBezTo>
                  <a:cubicBezTo>
                    <a:pt x="34806" y="62517"/>
                    <a:pt x="36043" y="114987"/>
                    <a:pt x="29380" y="147875"/>
                  </a:cubicBezTo>
                  <a:cubicBezTo>
                    <a:pt x="22718" y="180764"/>
                    <a:pt x="7013" y="199489"/>
                    <a:pt x="1397" y="226199"/>
                  </a:cubicBezTo>
                  <a:cubicBezTo>
                    <a:pt x="-4219" y="252910"/>
                    <a:pt x="4919" y="297775"/>
                    <a:pt x="69452" y="305664"/>
                  </a:cubicBezTo>
                  <a:cubicBezTo>
                    <a:pt x="133985" y="313554"/>
                    <a:pt x="183670" y="290931"/>
                    <a:pt x="198709" y="270399"/>
                  </a:cubicBezTo>
                  <a:cubicBezTo>
                    <a:pt x="213748" y="249868"/>
                    <a:pt x="214224" y="206238"/>
                    <a:pt x="198709" y="182855"/>
                  </a:cubicBezTo>
                  <a:cubicBezTo>
                    <a:pt x="183194" y="159472"/>
                    <a:pt x="170916" y="140366"/>
                    <a:pt x="171297" y="109854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0" name="Google Shape;2300;p37">
              <a:extLst>
                <a:ext uri="{FF2B5EF4-FFF2-40B4-BE49-F238E27FC236}">
                  <a16:creationId xmlns:a16="http://schemas.microsoft.com/office/drawing/2014/main" id="{D2F23EAF-6FFE-4891-B2BE-24F6F4B6E0B9}"/>
                </a:ext>
              </a:extLst>
            </p:cNvPr>
            <p:cNvSpPr/>
            <p:nvPr/>
          </p:nvSpPr>
          <p:spPr>
            <a:xfrm>
              <a:off x="2269538" y="2847336"/>
              <a:ext cx="39152" cy="227300"/>
            </a:xfrm>
            <a:custGeom>
              <a:avLst/>
              <a:gdLst/>
              <a:ahLst/>
              <a:cxnLst/>
              <a:rect l="l" t="t" r="r" b="b"/>
              <a:pathLst>
                <a:path w="39152" h="227300" extrusionOk="0">
                  <a:moveTo>
                    <a:pt x="35145" y="14835"/>
                  </a:moveTo>
                  <a:cubicBezTo>
                    <a:pt x="35145" y="14835"/>
                    <a:pt x="50279" y="121866"/>
                    <a:pt x="21725" y="197909"/>
                  </a:cubicBezTo>
                  <a:cubicBezTo>
                    <a:pt x="-6830" y="273952"/>
                    <a:pt x="975" y="178423"/>
                    <a:pt x="975" y="178423"/>
                  </a:cubicBezTo>
                  <a:lnTo>
                    <a:pt x="7923" y="155705"/>
                  </a:lnTo>
                  <a:cubicBezTo>
                    <a:pt x="7923" y="155705"/>
                    <a:pt x="13634" y="68446"/>
                    <a:pt x="11255" y="47059"/>
                  </a:cubicBezTo>
                  <a:cubicBezTo>
                    <a:pt x="8875" y="25672"/>
                    <a:pt x="9446" y="7231"/>
                    <a:pt x="7923" y="5520"/>
                  </a:cubicBezTo>
                  <a:cubicBezTo>
                    <a:pt x="6400" y="3809"/>
                    <a:pt x="13539" y="387"/>
                    <a:pt x="16585" y="7"/>
                  </a:cubicBezTo>
                  <a:cubicBezTo>
                    <a:pt x="19631" y="-373"/>
                    <a:pt x="35145" y="14835"/>
                    <a:pt x="35145" y="148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1" name="Google Shape;2301;p37">
              <a:extLst>
                <a:ext uri="{FF2B5EF4-FFF2-40B4-BE49-F238E27FC236}">
                  <a16:creationId xmlns:a16="http://schemas.microsoft.com/office/drawing/2014/main" id="{953CDF42-F308-4FB5-9F9E-D9A1EFB0D5C0}"/>
                </a:ext>
              </a:extLst>
            </p:cNvPr>
            <p:cNvSpPr/>
            <p:nvPr/>
          </p:nvSpPr>
          <p:spPr>
            <a:xfrm>
              <a:off x="2185896" y="2622782"/>
              <a:ext cx="100407" cy="124097"/>
            </a:xfrm>
            <a:custGeom>
              <a:avLst/>
              <a:gdLst/>
              <a:ahLst/>
              <a:cxnLst/>
              <a:rect l="l" t="t" r="r" b="b"/>
              <a:pathLst>
                <a:path w="100407" h="124097" extrusionOk="0">
                  <a:moveTo>
                    <a:pt x="0" y="3657"/>
                  </a:moveTo>
                  <a:cubicBezTo>
                    <a:pt x="0" y="3657"/>
                    <a:pt x="48162" y="-10126"/>
                    <a:pt x="77288" y="15824"/>
                  </a:cubicBezTo>
                  <a:cubicBezTo>
                    <a:pt x="96918" y="33855"/>
                    <a:pt x="104879" y="61297"/>
                    <a:pt x="97942" y="87019"/>
                  </a:cubicBezTo>
                  <a:cubicBezTo>
                    <a:pt x="94040" y="102227"/>
                    <a:pt x="86235" y="122949"/>
                    <a:pt x="74147" y="124090"/>
                  </a:cubicBezTo>
                  <a:cubicBezTo>
                    <a:pt x="62059" y="125230"/>
                    <a:pt x="0" y="3657"/>
                    <a:pt x="0" y="3657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2" name="Google Shape;2302;p37">
              <a:extLst>
                <a:ext uri="{FF2B5EF4-FFF2-40B4-BE49-F238E27FC236}">
                  <a16:creationId xmlns:a16="http://schemas.microsoft.com/office/drawing/2014/main" id="{DBBD06E6-D9B7-4241-A043-F4E7544A67DC}"/>
                </a:ext>
              </a:extLst>
            </p:cNvPr>
            <p:cNvSpPr/>
            <p:nvPr/>
          </p:nvSpPr>
          <p:spPr>
            <a:xfrm>
              <a:off x="2142363" y="2757613"/>
              <a:ext cx="124104" cy="138364"/>
            </a:xfrm>
            <a:custGeom>
              <a:avLst/>
              <a:gdLst/>
              <a:ahLst/>
              <a:cxnLst/>
              <a:rect l="l" t="t" r="r" b="b"/>
              <a:pathLst>
                <a:path w="124104" h="138364" extrusionOk="0">
                  <a:moveTo>
                    <a:pt x="25163" y="0"/>
                  </a:moveTo>
                  <a:cubicBezTo>
                    <a:pt x="25163" y="0"/>
                    <a:pt x="28304" y="53515"/>
                    <a:pt x="27352" y="57032"/>
                  </a:cubicBezTo>
                  <a:cubicBezTo>
                    <a:pt x="26400" y="60549"/>
                    <a:pt x="6221" y="64826"/>
                    <a:pt x="606" y="69484"/>
                  </a:cubicBezTo>
                  <a:cubicBezTo>
                    <a:pt x="-5010" y="74142"/>
                    <a:pt x="29826" y="128513"/>
                    <a:pt x="47530" y="136592"/>
                  </a:cubicBezTo>
                  <a:cubicBezTo>
                    <a:pt x="65234" y="144671"/>
                    <a:pt x="119964" y="124045"/>
                    <a:pt x="123676" y="96860"/>
                  </a:cubicBezTo>
                  <a:cubicBezTo>
                    <a:pt x="127198" y="71766"/>
                    <a:pt x="108066" y="52279"/>
                    <a:pt x="100642" y="45531"/>
                  </a:cubicBezTo>
                  <a:cubicBezTo>
                    <a:pt x="95603" y="45179"/>
                    <a:pt x="90547" y="45179"/>
                    <a:pt x="85508" y="45531"/>
                  </a:cubicBezTo>
                  <a:lnTo>
                    <a:pt x="83890" y="19486"/>
                  </a:lnTo>
                  <a:cubicBezTo>
                    <a:pt x="60475" y="11977"/>
                    <a:pt x="25163" y="0"/>
                    <a:pt x="25163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3" name="Google Shape;2303;p37">
              <a:extLst>
                <a:ext uri="{FF2B5EF4-FFF2-40B4-BE49-F238E27FC236}">
                  <a16:creationId xmlns:a16="http://schemas.microsoft.com/office/drawing/2014/main" id="{684CA3D8-6888-41A3-8A83-91EE1913186B}"/>
                </a:ext>
              </a:extLst>
            </p:cNvPr>
            <p:cNvSpPr/>
            <p:nvPr/>
          </p:nvSpPr>
          <p:spPr>
            <a:xfrm>
              <a:off x="2121718" y="2803072"/>
              <a:ext cx="180978" cy="208003"/>
            </a:xfrm>
            <a:custGeom>
              <a:avLst/>
              <a:gdLst/>
              <a:ahLst/>
              <a:cxnLst/>
              <a:rect l="l" t="t" r="r" b="b"/>
              <a:pathLst>
                <a:path w="180978" h="208003" extrusionOk="0">
                  <a:moveTo>
                    <a:pt x="38384" y="17181"/>
                  </a:moveTo>
                  <a:cubicBezTo>
                    <a:pt x="23345" y="19557"/>
                    <a:pt x="6117" y="27542"/>
                    <a:pt x="3738" y="36192"/>
                  </a:cubicBezTo>
                  <a:cubicBezTo>
                    <a:pt x="-2445" y="65896"/>
                    <a:pt x="-938" y="96684"/>
                    <a:pt x="8116" y="125637"/>
                  </a:cubicBezTo>
                  <a:cubicBezTo>
                    <a:pt x="21156" y="160046"/>
                    <a:pt x="29913" y="182004"/>
                    <a:pt x="37432" y="196832"/>
                  </a:cubicBezTo>
                  <a:cubicBezTo>
                    <a:pt x="37432" y="196832"/>
                    <a:pt x="102632" y="224778"/>
                    <a:pt x="155268" y="192270"/>
                  </a:cubicBezTo>
                  <a:cubicBezTo>
                    <a:pt x="155268" y="192270"/>
                    <a:pt x="158789" y="155294"/>
                    <a:pt x="159075" y="135238"/>
                  </a:cubicBezTo>
                  <a:cubicBezTo>
                    <a:pt x="207618" y="92939"/>
                    <a:pt x="166118" y="40849"/>
                    <a:pt x="125000" y="356"/>
                  </a:cubicBezTo>
                  <a:cubicBezTo>
                    <a:pt x="120062" y="-119"/>
                    <a:pt x="115089" y="-119"/>
                    <a:pt x="110151" y="356"/>
                  </a:cubicBezTo>
                  <a:cubicBezTo>
                    <a:pt x="110151" y="356"/>
                    <a:pt x="146892" y="43606"/>
                    <a:pt x="121383" y="68225"/>
                  </a:cubicBezTo>
                  <a:cubicBezTo>
                    <a:pt x="66748" y="51495"/>
                    <a:pt x="55898" y="26971"/>
                    <a:pt x="38384" y="1718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Google Shape;2304;p37">
              <a:extLst>
                <a:ext uri="{FF2B5EF4-FFF2-40B4-BE49-F238E27FC236}">
                  <a16:creationId xmlns:a16="http://schemas.microsoft.com/office/drawing/2014/main" id="{7FD7A487-0098-49DE-A651-33E73C2C0368}"/>
                </a:ext>
              </a:extLst>
            </p:cNvPr>
            <p:cNvSpPr/>
            <p:nvPr/>
          </p:nvSpPr>
          <p:spPr>
            <a:xfrm>
              <a:off x="2137334" y="2632700"/>
              <a:ext cx="133195" cy="163980"/>
            </a:xfrm>
            <a:custGeom>
              <a:avLst/>
              <a:gdLst/>
              <a:ahLst/>
              <a:cxnLst/>
              <a:rect l="l" t="t" r="r" b="b"/>
              <a:pathLst>
                <a:path w="133195" h="163980" extrusionOk="0">
                  <a:moveTo>
                    <a:pt x="130419" y="58471"/>
                  </a:moveTo>
                  <a:lnTo>
                    <a:pt x="130419" y="58471"/>
                  </a:lnTo>
                  <a:cubicBezTo>
                    <a:pt x="124993" y="24061"/>
                    <a:pt x="100056" y="-1888"/>
                    <a:pt x="64553" y="108"/>
                  </a:cubicBezTo>
                  <a:cubicBezTo>
                    <a:pt x="26762" y="2399"/>
                    <a:pt x="-2053" y="34793"/>
                    <a:pt x="115" y="72539"/>
                  </a:cubicBezTo>
                  <a:cubicBezTo>
                    <a:pt x="1384" y="93736"/>
                    <a:pt x="12514" y="113117"/>
                    <a:pt x="30192" y="124913"/>
                  </a:cubicBezTo>
                  <a:cubicBezTo>
                    <a:pt x="31439" y="130103"/>
                    <a:pt x="33258" y="135141"/>
                    <a:pt x="35618" y="139932"/>
                  </a:cubicBezTo>
                  <a:cubicBezTo>
                    <a:pt x="48277" y="154570"/>
                    <a:pt x="81686" y="163885"/>
                    <a:pt x="92727" y="163980"/>
                  </a:cubicBezTo>
                  <a:cubicBezTo>
                    <a:pt x="102245" y="163980"/>
                    <a:pt x="110526" y="155235"/>
                    <a:pt x="119473" y="140407"/>
                  </a:cubicBezTo>
                  <a:cubicBezTo>
                    <a:pt x="138033" y="109610"/>
                    <a:pt x="133369" y="75485"/>
                    <a:pt x="130419" y="5847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Google Shape;2305;p37">
              <a:extLst>
                <a:ext uri="{FF2B5EF4-FFF2-40B4-BE49-F238E27FC236}">
                  <a16:creationId xmlns:a16="http://schemas.microsoft.com/office/drawing/2014/main" id="{9B7D2DCD-7A0E-4508-B098-69CF5C4FDCD3}"/>
                </a:ext>
              </a:extLst>
            </p:cNvPr>
            <p:cNvSpPr/>
            <p:nvPr/>
          </p:nvSpPr>
          <p:spPr>
            <a:xfrm>
              <a:off x="2131362" y="2631771"/>
              <a:ext cx="133630" cy="125556"/>
            </a:xfrm>
            <a:custGeom>
              <a:avLst/>
              <a:gdLst/>
              <a:ahLst/>
              <a:cxnLst/>
              <a:rect l="l" t="t" r="r" b="b"/>
              <a:pathLst>
                <a:path w="133630" h="125556" extrusionOk="0">
                  <a:moveTo>
                    <a:pt x="59484" y="1702"/>
                  </a:moveTo>
                  <a:cubicBezTo>
                    <a:pt x="34546" y="6549"/>
                    <a:pt x="14082" y="13583"/>
                    <a:pt x="7324" y="38012"/>
                  </a:cubicBezTo>
                  <a:cubicBezTo>
                    <a:pt x="2660" y="54837"/>
                    <a:pt x="-3432" y="86965"/>
                    <a:pt x="2375" y="100462"/>
                  </a:cubicBezTo>
                  <a:lnTo>
                    <a:pt x="5991" y="109968"/>
                  </a:lnTo>
                  <a:lnTo>
                    <a:pt x="36164" y="125557"/>
                  </a:lnTo>
                  <a:cubicBezTo>
                    <a:pt x="36164" y="125557"/>
                    <a:pt x="50251" y="113770"/>
                    <a:pt x="45682" y="79456"/>
                  </a:cubicBezTo>
                  <a:cubicBezTo>
                    <a:pt x="45808" y="74807"/>
                    <a:pt x="47261" y="70283"/>
                    <a:pt x="49870" y="66433"/>
                  </a:cubicBezTo>
                  <a:cubicBezTo>
                    <a:pt x="51779" y="63173"/>
                    <a:pt x="53189" y="59646"/>
                    <a:pt x="54058" y="55977"/>
                  </a:cubicBezTo>
                  <a:cubicBezTo>
                    <a:pt x="57624" y="46681"/>
                    <a:pt x="64649" y="39124"/>
                    <a:pt x="73666" y="34875"/>
                  </a:cubicBezTo>
                  <a:cubicBezTo>
                    <a:pt x="96129" y="22233"/>
                    <a:pt x="129062" y="33164"/>
                    <a:pt x="133631" y="37727"/>
                  </a:cubicBezTo>
                  <a:cubicBezTo>
                    <a:pt x="120538" y="9734"/>
                    <a:pt x="89617" y="-5285"/>
                    <a:pt x="59484" y="1702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306;p37">
              <a:extLst>
                <a:ext uri="{FF2B5EF4-FFF2-40B4-BE49-F238E27FC236}">
                  <a16:creationId xmlns:a16="http://schemas.microsoft.com/office/drawing/2014/main" id="{79454365-3087-4978-9D4E-A4D2DF738E0A}"/>
                </a:ext>
              </a:extLst>
            </p:cNvPr>
            <p:cNvSpPr/>
            <p:nvPr/>
          </p:nvSpPr>
          <p:spPr>
            <a:xfrm>
              <a:off x="2137527" y="3718507"/>
              <a:ext cx="105640" cy="80438"/>
            </a:xfrm>
            <a:custGeom>
              <a:avLst/>
              <a:gdLst/>
              <a:ahLst/>
              <a:cxnLst/>
              <a:rect l="l" t="t" r="r" b="b"/>
              <a:pathLst>
                <a:path w="105640" h="80438" extrusionOk="0">
                  <a:moveTo>
                    <a:pt x="8202" y="3"/>
                  </a:moveTo>
                  <a:cubicBezTo>
                    <a:pt x="20862" y="10269"/>
                    <a:pt x="40469" y="3139"/>
                    <a:pt x="41421" y="4090"/>
                  </a:cubicBezTo>
                  <a:cubicBezTo>
                    <a:pt x="56092" y="16761"/>
                    <a:pt x="71439" y="28623"/>
                    <a:pt x="87394" y="39640"/>
                  </a:cubicBezTo>
                  <a:cubicBezTo>
                    <a:pt x="95294" y="45818"/>
                    <a:pt x="107572" y="54088"/>
                    <a:pt x="105383" y="65970"/>
                  </a:cubicBezTo>
                  <a:cubicBezTo>
                    <a:pt x="101386" y="87167"/>
                    <a:pt x="67310" y="80608"/>
                    <a:pt x="54461" y="74145"/>
                  </a:cubicBezTo>
                  <a:cubicBezTo>
                    <a:pt x="41611" y="67681"/>
                    <a:pt x="31141" y="56845"/>
                    <a:pt x="19053" y="49335"/>
                  </a:cubicBezTo>
                  <a:cubicBezTo>
                    <a:pt x="10392" y="44012"/>
                    <a:pt x="1825" y="41161"/>
                    <a:pt x="17" y="30325"/>
                  </a:cubicBezTo>
                  <a:cubicBezTo>
                    <a:pt x="-364" y="23386"/>
                    <a:pt x="5823" y="-283"/>
                    <a:pt x="8202" y="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307;p37">
              <a:extLst>
                <a:ext uri="{FF2B5EF4-FFF2-40B4-BE49-F238E27FC236}">
                  <a16:creationId xmlns:a16="http://schemas.microsoft.com/office/drawing/2014/main" id="{5EBA130F-0E3B-412E-99C3-E9827344B905}"/>
                </a:ext>
              </a:extLst>
            </p:cNvPr>
            <p:cNvSpPr/>
            <p:nvPr/>
          </p:nvSpPr>
          <p:spPr>
            <a:xfrm>
              <a:off x="2137841" y="3744079"/>
              <a:ext cx="105259" cy="54863"/>
            </a:xfrm>
            <a:custGeom>
              <a:avLst/>
              <a:gdLst/>
              <a:ahLst/>
              <a:cxnLst/>
              <a:rect l="l" t="t" r="r" b="b"/>
              <a:pathLst>
                <a:path w="105259" h="54863" extrusionOk="0">
                  <a:moveTo>
                    <a:pt x="369" y="0"/>
                  </a:moveTo>
                  <a:cubicBezTo>
                    <a:pt x="1987" y="10456"/>
                    <a:pt x="10458" y="13308"/>
                    <a:pt x="19405" y="19011"/>
                  </a:cubicBezTo>
                  <a:cubicBezTo>
                    <a:pt x="31779" y="26615"/>
                    <a:pt x="42629" y="38021"/>
                    <a:pt x="55479" y="44200"/>
                  </a:cubicBezTo>
                  <a:cubicBezTo>
                    <a:pt x="68329" y="50379"/>
                    <a:pt x="96883" y="56082"/>
                    <a:pt x="105259" y="40968"/>
                  </a:cubicBezTo>
                  <a:cubicBezTo>
                    <a:pt x="100690" y="61405"/>
                    <a:pt x="67186" y="55036"/>
                    <a:pt x="54527" y="48573"/>
                  </a:cubicBezTo>
                  <a:cubicBezTo>
                    <a:pt x="41868" y="42109"/>
                    <a:pt x="31208" y="31273"/>
                    <a:pt x="19119" y="23763"/>
                  </a:cubicBezTo>
                  <a:cubicBezTo>
                    <a:pt x="10458" y="18440"/>
                    <a:pt x="1891" y="15589"/>
                    <a:pt x="83" y="4753"/>
                  </a:cubicBezTo>
                  <a:cubicBezTo>
                    <a:pt x="-89" y="3165"/>
                    <a:pt x="7" y="1559"/>
                    <a:pt x="36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308;p37">
              <a:extLst>
                <a:ext uri="{FF2B5EF4-FFF2-40B4-BE49-F238E27FC236}">
                  <a16:creationId xmlns:a16="http://schemas.microsoft.com/office/drawing/2014/main" id="{3DE5E513-6600-44AC-A7B2-B322CE60CA5C}"/>
                </a:ext>
              </a:extLst>
            </p:cNvPr>
            <p:cNvSpPr/>
            <p:nvPr/>
          </p:nvSpPr>
          <p:spPr>
            <a:xfrm>
              <a:off x="2226539" y="3701115"/>
              <a:ext cx="96273" cy="74358"/>
            </a:xfrm>
            <a:custGeom>
              <a:avLst/>
              <a:gdLst/>
              <a:ahLst/>
              <a:cxnLst/>
              <a:rect l="l" t="t" r="r" b="b"/>
              <a:pathLst>
                <a:path w="96273" h="74358" extrusionOk="0">
                  <a:moveTo>
                    <a:pt x="7519" y="0"/>
                  </a:moveTo>
                  <a:cubicBezTo>
                    <a:pt x="19132" y="9505"/>
                    <a:pt x="36074" y="4087"/>
                    <a:pt x="37407" y="4943"/>
                  </a:cubicBezTo>
                  <a:cubicBezTo>
                    <a:pt x="50869" y="16473"/>
                    <a:pt x="64979" y="27233"/>
                    <a:pt x="79667" y="37166"/>
                  </a:cubicBezTo>
                  <a:cubicBezTo>
                    <a:pt x="86806" y="42774"/>
                    <a:pt x="98037" y="50378"/>
                    <a:pt x="96039" y="61215"/>
                  </a:cubicBezTo>
                  <a:cubicBezTo>
                    <a:pt x="92422" y="80225"/>
                    <a:pt x="61202" y="74712"/>
                    <a:pt x="49495" y="68724"/>
                  </a:cubicBezTo>
                  <a:cubicBezTo>
                    <a:pt x="37787" y="62735"/>
                    <a:pt x="28079" y="52945"/>
                    <a:pt x="16942" y="46006"/>
                  </a:cubicBezTo>
                  <a:cubicBezTo>
                    <a:pt x="9042" y="41158"/>
                    <a:pt x="1237" y="38592"/>
                    <a:pt x="0" y="28516"/>
                  </a:cubicBezTo>
                  <a:cubicBezTo>
                    <a:pt x="386" y="18574"/>
                    <a:pt x="2954" y="8840"/>
                    <a:pt x="7519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309;p37">
              <a:extLst>
                <a:ext uri="{FF2B5EF4-FFF2-40B4-BE49-F238E27FC236}">
                  <a16:creationId xmlns:a16="http://schemas.microsoft.com/office/drawing/2014/main" id="{94C843C8-92C6-4855-ABBC-8B554615FD61}"/>
                </a:ext>
              </a:extLst>
            </p:cNvPr>
            <p:cNvSpPr/>
            <p:nvPr/>
          </p:nvSpPr>
          <p:spPr>
            <a:xfrm>
              <a:off x="2226484" y="3725354"/>
              <a:ext cx="95903" cy="50071"/>
            </a:xfrm>
            <a:custGeom>
              <a:avLst/>
              <a:gdLst/>
              <a:ahLst/>
              <a:cxnLst/>
              <a:rect l="l" t="t" r="r" b="b"/>
              <a:pathLst>
                <a:path w="95903" h="50071" extrusionOk="0">
                  <a:moveTo>
                    <a:pt x="245" y="0"/>
                  </a:moveTo>
                  <a:cubicBezTo>
                    <a:pt x="1768" y="9505"/>
                    <a:pt x="9763" y="12262"/>
                    <a:pt x="17283" y="17110"/>
                  </a:cubicBezTo>
                  <a:cubicBezTo>
                    <a:pt x="28609" y="24144"/>
                    <a:pt x="38604" y="34219"/>
                    <a:pt x="50311" y="40208"/>
                  </a:cubicBezTo>
                  <a:cubicBezTo>
                    <a:pt x="62018" y="46196"/>
                    <a:pt x="88384" y="51139"/>
                    <a:pt x="95903" y="37261"/>
                  </a:cubicBezTo>
                  <a:cubicBezTo>
                    <a:pt x="91810" y="56272"/>
                    <a:pt x="61162" y="50093"/>
                    <a:pt x="49549" y="44200"/>
                  </a:cubicBezTo>
                  <a:cubicBezTo>
                    <a:pt x="37937" y="38307"/>
                    <a:pt x="28134" y="28421"/>
                    <a:pt x="16997" y="21482"/>
                  </a:cubicBezTo>
                  <a:cubicBezTo>
                    <a:pt x="9097" y="16634"/>
                    <a:pt x="1292" y="14068"/>
                    <a:pt x="55" y="3992"/>
                  </a:cubicBezTo>
                  <a:cubicBezTo>
                    <a:pt x="-59" y="2661"/>
                    <a:pt x="5" y="1321"/>
                    <a:pt x="2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310;p37">
              <a:extLst>
                <a:ext uri="{FF2B5EF4-FFF2-40B4-BE49-F238E27FC236}">
                  <a16:creationId xmlns:a16="http://schemas.microsoft.com/office/drawing/2014/main" id="{D6A23002-E419-496E-91C0-A73BCAB91735}"/>
                </a:ext>
              </a:extLst>
            </p:cNvPr>
            <p:cNvSpPr/>
            <p:nvPr/>
          </p:nvSpPr>
          <p:spPr>
            <a:xfrm>
              <a:off x="2101518" y="3008174"/>
              <a:ext cx="205910" cy="717579"/>
            </a:xfrm>
            <a:custGeom>
              <a:avLst/>
              <a:gdLst/>
              <a:ahLst/>
              <a:cxnLst/>
              <a:rect l="l" t="t" r="r" b="b"/>
              <a:pathLst>
                <a:path w="205910" h="717579" extrusionOk="0">
                  <a:moveTo>
                    <a:pt x="200595" y="106555"/>
                  </a:moveTo>
                  <a:cubicBezTo>
                    <a:pt x="194980" y="63115"/>
                    <a:pt x="178989" y="0"/>
                    <a:pt x="178989" y="0"/>
                  </a:cubicBezTo>
                  <a:cubicBezTo>
                    <a:pt x="163827" y="7043"/>
                    <a:pt x="147437" y="11083"/>
                    <a:pt x="130732" y="11882"/>
                  </a:cubicBezTo>
                  <a:cubicBezTo>
                    <a:pt x="106230" y="11825"/>
                    <a:pt x="81788" y="9467"/>
                    <a:pt x="57727" y="4848"/>
                  </a:cubicBezTo>
                  <a:cubicBezTo>
                    <a:pt x="49855" y="18526"/>
                    <a:pt x="41277" y="31786"/>
                    <a:pt x="32028" y="44580"/>
                  </a:cubicBezTo>
                  <a:cubicBezTo>
                    <a:pt x="19464" y="61975"/>
                    <a:pt x="-4998" y="100091"/>
                    <a:pt x="904" y="166629"/>
                  </a:cubicBezTo>
                  <a:cubicBezTo>
                    <a:pt x="4806" y="210163"/>
                    <a:pt x="29458" y="394758"/>
                    <a:pt x="29458" y="394758"/>
                  </a:cubicBezTo>
                  <a:cubicBezTo>
                    <a:pt x="19982" y="425830"/>
                    <a:pt x="14951" y="458092"/>
                    <a:pt x="14515" y="490572"/>
                  </a:cubicBezTo>
                  <a:cubicBezTo>
                    <a:pt x="16767" y="529163"/>
                    <a:pt x="21857" y="567546"/>
                    <a:pt x="29744" y="605396"/>
                  </a:cubicBezTo>
                  <a:lnTo>
                    <a:pt x="44307" y="709955"/>
                  </a:lnTo>
                  <a:cubicBezTo>
                    <a:pt x="44307" y="709955"/>
                    <a:pt x="63343" y="723928"/>
                    <a:pt x="77525" y="714043"/>
                  </a:cubicBezTo>
                  <a:lnTo>
                    <a:pt x="75812" y="611385"/>
                  </a:lnTo>
                  <a:cubicBezTo>
                    <a:pt x="77430" y="586291"/>
                    <a:pt x="79905" y="549220"/>
                    <a:pt x="81523" y="525837"/>
                  </a:cubicBezTo>
                  <a:cubicBezTo>
                    <a:pt x="84188" y="487340"/>
                    <a:pt x="91041" y="426125"/>
                    <a:pt x="93040" y="410917"/>
                  </a:cubicBezTo>
                  <a:cubicBezTo>
                    <a:pt x="95039" y="395708"/>
                    <a:pt x="99988" y="368903"/>
                    <a:pt x="102558" y="338961"/>
                  </a:cubicBezTo>
                  <a:cubicBezTo>
                    <a:pt x="105128" y="309019"/>
                    <a:pt x="116169" y="156933"/>
                    <a:pt x="116169" y="156933"/>
                  </a:cubicBezTo>
                  <a:lnTo>
                    <a:pt x="117787" y="185449"/>
                  </a:lnTo>
                  <a:cubicBezTo>
                    <a:pt x="117787" y="185449"/>
                    <a:pt x="119215" y="231741"/>
                    <a:pt x="125878" y="288773"/>
                  </a:cubicBezTo>
                  <a:cubicBezTo>
                    <a:pt x="132540" y="345805"/>
                    <a:pt x="134920" y="371089"/>
                    <a:pt x="134920" y="371089"/>
                  </a:cubicBezTo>
                  <a:cubicBezTo>
                    <a:pt x="128461" y="382524"/>
                    <a:pt x="123865" y="394910"/>
                    <a:pt x="121309" y="407780"/>
                  </a:cubicBezTo>
                  <a:cubicBezTo>
                    <a:pt x="120167" y="420042"/>
                    <a:pt x="105985" y="517567"/>
                    <a:pt x="114456" y="567185"/>
                  </a:cubicBezTo>
                  <a:lnTo>
                    <a:pt x="131779" y="693321"/>
                  </a:lnTo>
                  <a:cubicBezTo>
                    <a:pt x="140538" y="699338"/>
                    <a:pt x="151655" y="700783"/>
                    <a:pt x="161666" y="697218"/>
                  </a:cubicBezTo>
                  <a:lnTo>
                    <a:pt x="171850" y="570131"/>
                  </a:lnTo>
                  <a:cubicBezTo>
                    <a:pt x="178704" y="521749"/>
                    <a:pt x="193171" y="419186"/>
                    <a:pt x="195360" y="405879"/>
                  </a:cubicBezTo>
                  <a:cubicBezTo>
                    <a:pt x="200276" y="379007"/>
                    <a:pt x="203171" y="351812"/>
                    <a:pt x="204022" y="324513"/>
                  </a:cubicBezTo>
                  <a:cubicBezTo>
                    <a:pt x="207394" y="251863"/>
                    <a:pt x="206250" y="179071"/>
                    <a:pt x="200595" y="10655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311;p37">
              <a:extLst>
                <a:ext uri="{FF2B5EF4-FFF2-40B4-BE49-F238E27FC236}">
                  <a16:creationId xmlns:a16="http://schemas.microsoft.com/office/drawing/2014/main" id="{6A8738E1-403D-4B35-B454-3B32F9AFC48F}"/>
                </a:ext>
              </a:extLst>
            </p:cNvPr>
            <p:cNvSpPr/>
            <p:nvPr/>
          </p:nvSpPr>
          <p:spPr>
            <a:xfrm>
              <a:off x="2096876" y="2994106"/>
              <a:ext cx="219176" cy="477454"/>
            </a:xfrm>
            <a:custGeom>
              <a:avLst/>
              <a:gdLst/>
              <a:ahLst/>
              <a:cxnLst/>
              <a:rect l="l" t="t" r="r" b="b"/>
              <a:pathLst>
                <a:path w="219176" h="477454" extrusionOk="0">
                  <a:moveTo>
                    <a:pt x="62274" y="5418"/>
                  </a:moveTo>
                  <a:lnTo>
                    <a:pt x="24773" y="80606"/>
                  </a:lnTo>
                  <a:cubicBezTo>
                    <a:pt x="24773" y="80606"/>
                    <a:pt x="-32337" y="164158"/>
                    <a:pt x="26867" y="378979"/>
                  </a:cubicBezTo>
                  <a:lnTo>
                    <a:pt x="15730" y="445516"/>
                  </a:lnTo>
                  <a:cubicBezTo>
                    <a:pt x="15730" y="445516"/>
                    <a:pt x="127855" y="517377"/>
                    <a:pt x="202953" y="445516"/>
                  </a:cubicBezTo>
                  <a:cubicBezTo>
                    <a:pt x="202953" y="445516"/>
                    <a:pt x="228938" y="247044"/>
                    <a:pt x="215137" y="155508"/>
                  </a:cubicBezTo>
                  <a:cubicBezTo>
                    <a:pt x="207420" y="102867"/>
                    <a:pt x="195743" y="50882"/>
                    <a:pt x="180205" y="0"/>
                  </a:cubicBezTo>
                  <a:cubicBezTo>
                    <a:pt x="180205" y="0"/>
                    <a:pt x="161835" y="20246"/>
                    <a:pt x="67224" y="6844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312;p37">
              <a:extLst>
                <a:ext uri="{FF2B5EF4-FFF2-40B4-BE49-F238E27FC236}">
                  <a16:creationId xmlns:a16="http://schemas.microsoft.com/office/drawing/2014/main" id="{7DF2DDD1-A834-4C0C-8ECF-85035012CB76}"/>
                </a:ext>
              </a:extLst>
            </p:cNvPr>
            <p:cNvSpPr/>
            <p:nvPr/>
          </p:nvSpPr>
          <p:spPr>
            <a:xfrm>
              <a:off x="2115642" y="2850934"/>
              <a:ext cx="316003" cy="274536"/>
            </a:xfrm>
            <a:custGeom>
              <a:avLst/>
              <a:gdLst/>
              <a:ahLst/>
              <a:cxnLst/>
              <a:rect l="l" t="t" r="r" b="b"/>
              <a:pathLst>
                <a:path w="316003" h="274536" extrusionOk="0">
                  <a:moveTo>
                    <a:pt x="278037" y="202010"/>
                  </a:moveTo>
                  <a:cubicBezTo>
                    <a:pt x="268463" y="202400"/>
                    <a:pt x="258924" y="203417"/>
                    <a:pt x="249482" y="205052"/>
                  </a:cubicBezTo>
                  <a:cubicBezTo>
                    <a:pt x="240488" y="207875"/>
                    <a:pt x="231117" y="209320"/>
                    <a:pt x="221689" y="209329"/>
                  </a:cubicBezTo>
                  <a:cubicBezTo>
                    <a:pt x="211410" y="209329"/>
                    <a:pt x="182760" y="195071"/>
                    <a:pt x="158203" y="177867"/>
                  </a:cubicBezTo>
                  <a:cubicBezTo>
                    <a:pt x="131540" y="157867"/>
                    <a:pt x="108492" y="133467"/>
                    <a:pt x="90052" y="105721"/>
                  </a:cubicBezTo>
                  <a:cubicBezTo>
                    <a:pt x="70714" y="76112"/>
                    <a:pt x="53873" y="44963"/>
                    <a:pt x="39701" y="12568"/>
                  </a:cubicBezTo>
                  <a:cubicBezTo>
                    <a:pt x="31706" y="-10435"/>
                    <a:pt x="31896" y="5249"/>
                    <a:pt x="18285" y="4869"/>
                  </a:cubicBezTo>
                  <a:cubicBezTo>
                    <a:pt x="2199" y="4869"/>
                    <a:pt x="-6367" y="10382"/>
                    <a:pt x="5626" y="41655"/>
                  </a:cubicBezTo>
                  <a:cubicBezTo>
                    <a:pt x="17624" y="74011"/>
                    <a:pt x="34368" y="104419"/>
                    <a:pt x="55311" y="131861"/>
                  </a:cubicBezTo>
                  <a:cubicBezTo>
                    <a:pt x="74979" y="159540"/>
                    <a:pt x="99215" y="183675"/>
                    <a:pt x="126983" y="203246"/>
                  </a:cubicBezTo>
                  <a:cubicBezTo>
                    <a:pt x="151440" y="220356"/>
                    <a:pt x="177868" y="234452"/>
                    <a:pt x="205699" y="245260"/>
                  </a:cubicBezTo>
                  <a:cubicBezTo>
                    <a:pt x="213694" y="248492"/>
                    <a:pt x="218834" y="252959"/>
                    <a:pt x="233301" y="260944"/>
                  </a:cubicBezTo>
                  <a:cubicBezTo>
                    <a:pt x="247832" y="269251"/>
                    <a:pt x="264161" y="273918"/>
                    <a:pt x="280892" y="274536"/>
                  </a:cubicBezTo>
                  <a:cubicBezTo>
                    <a:pt x="294789" y="274536"/>
                    <a:pt x="299929" y="271875"/>
                    <a:pt x="300881" y="269023"/>
                  </a:cubicBezTo>
                  <a:cubicBezTo>
                    <a:pt x="301832" y="266171"/>
                    <a:pt x="299643" y="263035"/>
                    <a:pt x="293266" y="262465"/>
                  </a:cubicBezTo>
                  <a:cubicBezTo>
                    <a:pt x="283123" y="262312"/>
                    <a:pt x="273092" y="260316"/>
                    <a:pt x="263664" y="256571"/>
                  </a:cubicBezTo>
                  <a:cubicBezTo>
                    <a:pt x="263664" y="256571"/>
                    <a:pt x="277466" y="258567"/>
                    <a:pt x="285842" y="258947"/>
                  </a:cubicBezTo>
                  <a:cubicBezTo>
                    <a:pt x="293341" y="259394"/>
                    <a:pt x="300865" y="258814"/>
                    <a:pt x="308210" y="257236"/>
                  </a:cubicBezTo>
                  <a:cubicBezTo>
                    <a:pt x="315253" y="255525"/>
                    <a:pt x="319156" y="245640"/>
                    <a:pt x="312778" y="244880"/>
                  </a:cubicBezTo>
                  <a:cubicBezTo>
                    <a:pt x="306401" y="244119"/>
                    <a:pt x="301166" y="244880"/>
                    <a:pt x="288793" y="244404"/>
                  </a:cubicBezTo>
                  <a:cubicBezTo>
                    <a:pt x="282333" y="243967"/>
                    <a:pt x="275944" y="242788"/>
                    <a:pt x="269756" y="240887"/>
                  </a:cubicBezTo>
                  <a:cubicBezTo>
                    <a:pt x="278072" y="240944"/>
                    <a:pt x="286380" y="240345"/>
                    <a:pt x="294599" y="239081"/>
                  </a:cubicBezTo>
                  <a:cubicBezTo>
                    <a:pt x="301263" y="238425"/>
                    <a:pt x="307602" y="235887"/>
                    <a:pt x="312874" y="231762"/>
                  </a:cubicBezTo>
                  <a:cubicBezTo>
                    <a:pt x="315634" y="229481"/>
                    <a:pt x="316110" y="223112"/>
                    <a:pt x="308019" y="223207"/>
                  </a:cubicBezTo>
                  <a:cubicBezTo>
                    <a:pt x="298031" y="224947"/>
                    <a:pt x="287865" y="225460"/>
                    <a:pt x="277751" y="224728"/>
                  </a:cubicBezTo>
                  <a:cubicBezTo>
                    <a:pt x="267757" y="223302"/>
                    <a:pt x="260809" y="220926"/>
                    <a:pt x="262332" y="219595"/>
                  </a:cubicBezTo>
                  <a:cubicBezTo>
                    <a:pt x="263855" y="218264"/>
                    <a:pt x="269756" y="219595"/>
                    <a:pt x="278132" y="216553"/>
                  </a:cubicBezTo>
                  <a:cubicBezTo>
                    <a:pt x="286508" y="213512"/>
                    <a:pt x="292219" y="206193"/>
                    <a:pt x="290315" y="201915"/>
                  </a:cubicBezTo>
                  <a:cubicBezTo>
                    <a:pt x="288412" y="197638"/>
                    <a:pt x="287079" y="200395"/>
                    <a:pt x="278037" y="20201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313;p37">
              <a:extLst>
                <a:ext uri="{FF2B5EF4-FFF2-40B4-BE49-F238E27FC236}">
                  <a16:creationId xmlns:a16="http://schemas.microsoft.com/office/drawing/2014/main" id="{71CDE15B-9F6D-44E3-81E7-834C0569C1AE}"/>
                </a:ext>
              </a:extLst>
            </p:cNvPr>
            <p:cNvSpPr/>
            <p:nvPr/>
          </p:nvSpPr>
          <p:spPr>
            <a:xfrm>
              <a:off x="2110000" y="2833008"/>
              <a:ext cx="75991" cy="89275"/>
            </a:xfrm>
            <a:custGeom>
              <a:avLst/>
              <a:gdLst/>
              <a:ahLst/>
              <a:cxnLst/>
              <a:rect l="l" t="t" r="r" b="b"/>
              <a:pathLst>
                <a:path w="75991" h="89275" extrusionOk="0">
                  <a:moveTo>
                    <a:pt x="18406" y="89237"/>
                  </a:moveTo>
                  <a:cubicBezTo>
                    <a:pt x="18406" y="89237"/>
                    <a:pt x="55147" y="91139"/>
                    <a:pt x="75991" y="68231"/>
                  </a:cubicBezTo>
                  <a:lnTo>
                    <a:pt x="53338" y="20704"/>
                  </a:lnTo>
                  <a:cubicBezTo>
                    <a:pt x="53338" y="20704"/>
                    <a:pt x="42963" y="-5436"/>
                    <a:pt x="18501" y="1028"/>
                  </a:cubicBezTo>
                  <a:cubicBezTo>
                    <a:pt x="-5960" y="7491"/>
                    <a:pt x="-6341" y="42186"/>
                    <a:pt x="18406" y="892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314;p37">
              <a:extLst>
                <a:ext uri="{FF2B5EF4-FFF2-40B4-BE49-F238E27FC236}">
                  <a16:creationId xmlns:a16="http://schemas.microsoft.com/office/drawing/2014/main" id="{2D75B5E5-E1C7-47E0-AEB0-83D34B277E35}"/>
                </a:ext>
              </a:extLst>
            </p:cNvPr>
            <p:cNvSpPr/>
            <p:nvPr/>
          </p:nvSpPr>
          <p:spPr>
            <a:xfrm>
              <a:off x="2246717" y="2802864"/>
              <a:ext cx="61392" cy="64630"/>
            </a:xfrm>
            <a:custGeom>
              <a:avLst/>
              <a:gdLst/>
              <a:ahLst/>
              <a:cxnLst/>
              <a:rect l="l" t="t" r="r" b="b"/>
              <a:pathLst>
                <a:path w="61392" h="64630" extrusionOk="0">
                  <a:moveTo>
                    <a:pt x="0" y="469"/>
                  </a:moveTo>
                  <a:cubicBezTo>
                    <a:pt x="0" y="469"/>
                    <a:pt x="29792" y="-9036"/>
                    <a:pt x="61392" y="57501"/>
                  </a:cubicBezTo>
                  <a:lnTo>
                    <a:pt x="49590" y="64630"/>
                  </a:lnTo>
                  <a:cubicBezTo>
                    <a:pt x="49590" y="64630"/>
                    <a:pt x="18465" y="17294"/>
                    <a:pt x="0" y="46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315;p37">
              <a:extLst>
                <a:ext uri="{FF2B5EF4-FFF2-40B4-BE49-F238E27FC236}">
                  <a16:creationId xmlns:a16="http://schemas.microsoft.com/office/drawing/2014/main" id="{3D36EABF-56A2-4309-9180-8115A3E79894}"/>
                </a:ext>
              </a:extLst>
            </p:cNvPr>
            <p:cNvSpPr/>
            <p:nvPr/>
          </p:nvSpPr>
          <p:spPr>
            <a:xfrm>
              <a:off x="2092047" y="1119152"/>
              <a:ext cx="668082" cy="515307"/>
            </a:xfrm>
            <a:custGeom>
              <a:avLst/>
              <a:gdLst/>
              <a:ahLst/>
              <a:cxnLst/>
              <a:rect l="l" t="t" r="r" b="b"/>
              <a:pathLst>
                <a:path w="668082" h="515307" extrusionOk="0">
                  <a:moveTo>
                    <a:pt x="668083" y="310182"/>
                  </a:moveTo>
                  <a:lnTo>
                    <a:pt x="141345" y="6010"/>
                  </a:lnTo>
                  <a:lnTo>
                    <a:pt x="139346" y="4869"/>
                  </a:lnTo>
                  <a:lnTo>
                    <a:pt x="139346" y="4869"/>
                  </a:lnTo>
                  <a:cubicBezTo>
                    <a:pt x="124498" y="-3020"/>
                    <a:pt x="104415" y="-1594"/>
                    <a:pt x="82237" y="11143"/>
                  </a:cubicBezTo>
                  <a:cubicBezTo>
                    <a:pt x="36835" y="37378"/>
                    <a:pt x="0" y="101064"/>
                    <a:pt x="0" y="153723"/>
                  </a:cubicBezTo>
                  <a:cubicBezTo>
                    <a:pt x="0" y="180814"/>
                    <a:pt x="9994" y="199539"/>
                    <a:pt x="25890" y="207619"/>
                  </a:cubicBezTo>
                  <a:lnTo>
                    <a:pt x="559765" y="515307"/>
                  </a:ln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316;p37">
              <a:extLst>
                <a:ext uri="{FF2B5EF4-FFF2-40B4-BE49-F238E27FC236}">
                  <a16:creationId xmlns:a16="http://schemas.microsoft.com/office/drawing/2014/main" id="{64B4520B-EE65-46D7-8A4E-9E30F27CBD66}"/>
                </a:ext>
              </a:extLst>
            </p:cNvPr>
            <p:cNvSpPr/>
            <p:nvPr/>
          </p:nvSpPr>
          <p:spPr>
            <a:xfrm rot="-3598236">
              <a:off x="2590249" y="1465200"/>
              <a:ext cx="232417" cy="133906"/>
            </a:xfrm>
            <a:custGeom>
              <a:avLst/>
              <a:gdLst/>
              <a:ahLst/>
              <a:cxnLst/>
              <a:rect l="l" t="t" r="r" b="b"/>
              <a:pathLst>
                <a:path w="232624" h="134025" extrusionOk="0">
                  <a:moveTo>
                    <a:pt x="232625" y="67013"/>
                  </a:moveTo>
                  <a:cubicBezTo>
                    <a:pt x="232625" y="104023"/>
                    <a:pt x="180550" y="134026"/>
                    <a:pt x="116312" y="134026"/>
                  </a:cubicBezTo>
                  <a:cubicBezTo>
                    <a:pt x="52075" y="134026"/>
                    <a:pt x="0" y="104023"/>
                    <a:pt x="0" y="67013"/>
                  </a:cubicBezTo>
                  <a:cubicBezTo>
                    <a:pt x="0" y="30003"/>
                    <a:pt x="52075" y="0"/>
                    <a:pt x="116312" y="0"/>
                  </a:cubicBezTo>
                  <a:cubicBezTo>
                    <a:pt x="180550" y="0"/>
                    <a:pt x="232625" y="30003"/>
                    <a:pt x="232625" y="67013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317;p37">
              <a:extLst>
                <a:ext uri="{FF2B5EF4-FFF2-40B4-BE49-F238E27FC236}">
                  <a16:creationId xmlns:a16="http://schemas.microsoft.com/office/drawing/2014/main" id="{8C0C3064-7306-41C2-9ADE-C3B87D5EC694}"/>
                </a:ext>
              </a:extLst>
            </p:cNvPr>
            <p:cNvSpPr/>
            <p:nvPr/>
          </p:nvSpPr>
          <p:spPr>
            <a:xfrm>
              <a:off x="2667422" y="1490358"/>
              <a:ext cx="274409" cy="269191"/>
            </a:xfrm>
            <a:custGeom>
              <a:avLst/>
              <a:gdLst/>
              <a:ahLst/>
              <a:cxnLst/>
              <a:rect l="l" t="t" r="r" b="b"/>
              <a:pathLst>
                <a:path w="274409" h="269191" extrusionOk="0">
                  <a:moveTo>
                    <a:pt x="274410" y="269192"/>
                  </a:moveTo>
                  <a:lnTo>
                    <a:pt x="0" y="111023"/>
                  </a:lnTo>
                  <a:lnTo>
                    <a:pt x="0" y="0"/>
                  </a:lnTo>
                  <a:lnTo>
                    <a:pt x="274410" y="158264"/>
                  </a:lnTo>
                  <a:lnTo>
                    <a:pt x="274410" y="26919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318;p37">
              <a:extLst>
                <a:ext uri="{FF2B5EF4-FFF2-40B4-BE49-F238E27FC236}">
                  <a16:creationId xmlns:a16="http://schemas.microsoft.com/office/drawing/2014/main" id="{7F499E69-CE28-45FB-84BC-DE8F86D825B6}"/>
                </a:ext>
              </a:extLst>
            </p:cNvPr>
            <p:cNvSpPr/>
            <p:nvPr/>
          </p:nvSpPr>
          <p:spPr>
            <a:xfrm>
              <a:off x="2667422" y="1454143"/>
              <a:ext cx="337610" cy="194669"/>
            </a:xfrm>
            <a:custGeom>
              <a:avLst/>
              <a:gdLst/>
              <a:ahLst/>
              <a:cxnLst/>
              <a:rect l="l" t="t" r="r" b="b"/>
              <a:pathLst>
                <a:path w="337610" h="194669" extrusionOk="0">
                  <a:moveTo>
                    <a:pt x="274410" y="194670"/>
                  </a:moveTo>
                  <a:lnTo>
                    <a:pt x="0" y="36501"/>
                  </a:lnTo>
                  <a:lnTo>
                    <a:pt x="63201" y="0"/>
                  </a:lnTo>
                  <a:lnTo>
                    <a:pt x="337611" y="158264"/>
                  </a:lnTo>
                  <a:lnTo>
                    <a:pt x="274410" y="194670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319;p37">
              <a:extLst>
                <a:ext uri="{FF2B5EF4-FFF2-40B4-BE49-F238E27FC236}">
                  <a16:creationId xmlns:a16="http://schemas.microsoft.com/office/drawing/2014/main" id="{EE064026-A00D-475B-9FF5-E0D76B436EAB}"/>
                </a:ext>
              </a:extLst>
            </p:cNvPr>
            <p:cNvSpPr/>
            <p:nvPr/>
          </p:nvSpPr>
          <p:spPr>
            <a:xfrm rot="-1801764">
              <a:off x="2968958" y="1259916"/>
              <a:ext cx="690027" cy="1193572"/>
            </a:xfrm>
            <a:custGeom>
              <a:avLst/>
              <a:gdLst/>
              <a:ahLst/>
              <a:cxnLst/>
              <a:rect l="l" t="t" r="r" b="b"/>
              <a:pathLst>
                <a:path w="690640" h="1194633" extrusionOk="0">
                  <a:moveTo>
                    <a:pt x="690640" y="597317"/>
                  </a:moveTo>
                  <a:cubicBezTo>
                    <a:pt x="690640" y="927206"/>
                    <a:pt x="536035" y="1194633"/>
                    <a:pt x="345320" y="1194633"/>
                  </a:cubicBezTo>
                  <a:cubicBezTo>
                    <a:pt x="154605" y="1194633"/>
                    <a:pt x="0" y="927206"/>
                    <a:pt x="0" y="597317"/>
                  </a:cubicBezTo>
                  <a:cubicBezTo>
                    <a:pt x="0" y="267428"/>
                    <a:pt x="154605" y="0"/>
                    <a:pt x="345320" y="0"/>
                  </a:cubicBezTo>
                  <a:cubicBezTo>
                    <a:pt x="536035" y="0"/>
                    <a:pt x="690640" y="267428"/>
                    <a:pt x="690640" y="597317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320;p37">
              <a:extLst>
                <a:ext uri="{FF2B5EF4-FFF2-40B4-BE49-F238E27FC236}">
                  <a16:creationId xmlns:a16="http://schemas.microsoft.com/office/drawing/2014/main" id="{A046FB0E-6C3A-4AE0-957C-3421DA084D09}"/>
                </a:ext>
              </a:extLst>
            </p:cNvPr>
            <p:cNvSpPr/>
            <p:nvPr/>
          </p:nvSpPr>
          <p:spPr>
            <a:xfrm>
              <a:off x="2858071" y="1161854"/>
              <a:ext cx="1027965" cy="1324206"/>
            </a:xfrm>
            <a:custGeom>
              <a:avLst/>
              <a:gdLst/>
              <a:ahLst/>
              <a:cxnLst/>
              <a:rect l="l" t="t" r="r" b="b"/>
              <a:pathLst>
                <a:path w="1027965" h="1324206" extrusionOk="0">
                  <a:moveTo>
                    <a:pt x="513983" y="1254422"/>
                  </a:moveTo>
                  <a:cubicBezTo>
                    <a:pt x="230816" y="1091119"/>
                    <a:pt x="0" y="692560"/>
                    <a:pt x="0" y="365955"/>
                  </a:cubicBezTo>
                  <a:cubicBezTo>
                    <a:pt x="0" y="39351"/>
                    <a:pt x="230436" y="-93439"/>
                    <a:pt x="513983" y="69863"/>
                  </a:cubicBezTo>
                  <a:cubicBezTo>
                    <a:pt x="797530" y="233165"/>
                    <a:pt x="1027966" y="631725"/>
                    <a:pt x="1027966" y="958234"/>
                  </a:cubicBezTo>
                  <a:cubicBezTo>
                    <a:pt x="1027966" y="1284744"/>
                    <a:pt x="797245" y="1417629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321;p37">
              <a:extLst>
                <a:ext uri="{FF2B5EF4-FFF2-40B4-BE49-F238E27FC236}">
                  <a16:creationId xmlns:a16="http://schemas.microsoft.com/office/drawing/2014/main" id="{3BC4CF29-1992-4279-B2BE-FB0433425DFA}"/>
                </a:ext>
              </a:extLst>
            </p:cNvPr>
            <p:cNvSpPr/>
            <p:nvPr/>
          </p:nvSpPr>
          <p:spPr>
            <a:xfrm>
              <a:off x="2800391" y="1195123"/>
              <a:ext cx="1027965" cy="1324248"/>
            </a:xfrm>
            <a:custGeom>
              <a:avLst/>
              <a:gdLst/>
              <a:ahLst/>
              <a:cxnLst/>
              <a:rect l="l" t="t" r="r" b="b"/>
              <a:pathLst>
                <a:path w="1027965" h="1324248" extrusionOk="0">
                  <a:moveTo>
                    <a:pt x="513983" y="1254422"/>
                  </a:moveTo>
                  <a:cubicBezTo>
                    <a:pt x="230721" y="1091119"/>
                    <a:pt x="0" y="692560"/>
                    <a:pt x="0" y="365955"/>
                  </a:cubicBezTo>
                  <a:cubicBezTo>
                    <a:pt x="0" y="39351"/>
                    <a:pt x="230341" y="-93439"/>
                    <a:pt x="513983" y="69863"/>
                  </a:cubicBezTo>
                  <a:cubicBezTo>
                    <a:pt x="797625" y="233165"/>
                    <a:pt x="1027966" y="631725"/>
                    <a:pt x="1027966" y="958234"/>
                  </a:cubicBezTo>
                  <a:cubicBezTo>
                    <a:pt x="1027966" y="1284744"/>
                    <a:pt x="797149" y="1417724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7" name="Google Shape;997;p20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ummary</a:t>
            </a:r>
            <a:endParaRPr dirty="0"/>
          </a:p>
        </p:txBody>
      </p:sp>
      <p:sp>
        <p:nvSpPr>
          <p:cNvPr id="998" name="Google Shape;998;p20"/>
          <p:cNvSpPr txBox="1">
            <a:spLocks noGrp="1"/>
          </p:cNvSpPr>
          <p:nvPr>
            <p:ph type="body" idx="1"/>
          </p:nvPr>
        </p:nvSpPr>
        <p:spPr>
          <a:xfrm>
            <a:off x="457200" y="1187938"/>
            <a:ext cx="8405446" cy="3486812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u="sng" dirty="0"/>
              <a:t>CA focused results</a:t>
            </a:r>
            <a:endParaRPr u="sng" dirty="0"/>
          </a:p>
          <a:p>
            <a:pPr marL="285750" indent="-285750"/>
            <a:r>
              <a:rPr lang="en" dirty="0"/>
              <a:t>Many data jobs are in ON, followed by BC, some Remote Jobs</a:t>
            </a:r>
          </a:p>
          <a:p>
            <a:pPr marL="742950" lvl="1" indent="-285750"/>
            <a:r>
              <a:rPr lang="en" dirty="0"/>
              <a:t>In ON: majority of jobs are in and surrounding Toronto</a:t>
            </a:r>
          </a:p>
          <a:p>
            <a:pPr marL="1200150" lvl="2" indent="-285750"/>
            <a:r>
              <a:rPr lang="en" dirty="0"/>
              <a:t>Data Analyst &gt;&gt; Data Engineer &gt;&gt; Data Scientist &gt;&gt; Machine Learning</a:t>
            </a:r>
          </a:p>
          <a:p>
            <a:pPr marL="742950" lvl="1" indent="-285750"/>
            <a:r>
              <a:rPr lang="en" dirty="0"/>
              <a:t>In BC: majority of jobs are in Vancouver </a:t>
            </a:r>
          </a:p>
          <a:p>
            <a:pPr marL="1200150" lvl="2" indent="-285750"/>
            <a:r>
              <a:rPr lang="en" dirty="0"/>
              <a:t>Data Engineer &gt;&gt; Data Analyst &gt;&gt; Data Scientist &gt;&gt; Machine Learning</a:t>
            </a:r>
          </a:p>
          <a:p>
            <a:pPr marL="285750" indent="-285750"/>
            <a:r>
              <a:rPr lang="en" dirty="0"/>
              <a:t>Most survey responders reported either “Don’t know” or “Somewhat easy” to take leaves</a:t>
            </a:r>
          </a:p>
          <a:p>
            <a:pPr marL="285750" indent="-285750"/>
            <a:r>
              <a:rPr lang="en" dirty="0"/>
              <a:t>20% have wellness program at work</a:t>
            </a:r>
          </a:p>
          <a:p>
            <a:pPr marL="285750" indent="-285750"/>
            <a:r>
              <a:rPr lang="en" dirty="0"/>
              <a:t>40% have work benefits</a:t>
            </a:r>
          </a:p>
          <a:p>
            <a:pPr marL="457200" lvl="1" indent="0">
              <a:buNone/>
            </a:pPr>
            <a:endParaRPr lang="en" dirty="0"/>
          </a:p>
        </p:txBody>
      </p:sp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0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58C8A79-1ABF-48D1-B433-C45EB7DAE1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4310" y="105050"/>
            <a:ext cx="2496130" cy="171797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520273D-9E4E-4F1C-A654-CDB3D7461F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1751" y="3614213"/>
            <a:ext cx="2496130" cy="109610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4641AC0-873E-4784-A899-D6738A5C94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27927" y="3614213"/>
            <a:ext cx="983384" cy="1305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30746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1</a:t>
            </a:fld>
            <a:endParaRPr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2AEEB3-9148-4794-945C-8CB50C0FB1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846" y="241788"/>
            <a:ext cx="8292123" cy="4664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3944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2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C8CBD08-C1F2-483F-B056-122E74ED40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940" y="143543"/>
            <a:ext cx="8503595" cy="4856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654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3</a:t>
            </a:fld>
            <a:endParaRPr/>
          </a:p>
        </p:txBody>
      </p:sp>
      <p:sp>
        <p:nvSpPr>
          <p:cNvPr id="4" name="Google Shape;1700;p28">
            <a:extLst>
              <a:ext uri="{FF2B5EF4-FFF2-40B4-BE49-F238E27FC236}">
                <a16:creationId xmlns:a16="http://schemas.microsoft.com/office/drawing/2014/main" id="{9537626E-26FA-4C27-97A0-B0735C4B5F4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649346"/>
            <a:ext cx="8191825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positories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41B36DA-5D42-475F-9E23-488BC36ECBA9}"/>
              </a:ext>
            </a:extLst>
          </p:cNvPr>
          <p:cNvSpPr txBox="1"/>
          <p:nvPr/>
        </p:nvSpPr>
        <p:spPr>
          <a:xfrm>
            <a:off x="457199" y="1429971"/>
            <a:ext cx="83366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1. ETL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975890-35E4-444C-82C4-ECD96E14397C}"/>
              </a:ext>
            </a:extLst>
          </p:cNvPr>
          <p:cNvSpPr txBox="1"/>
          <p:nvPr/>
        </p:nvSpPr>
        <p:spPr>
          <a:xfrm>
            <a:off x="875489" y="1737748"/>
            <a:ext cx="791831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Source code : </a:t>
            </a:r>
            <a:r>
              <a:rPr lang="en-US" sz="1400" dirty="0" err="1">
                <a:hlinkClick r:id="rId3"/>
              </a:rPr>
              <a:t>angmay</a:t>
            </a:r>
            <a:r>
              <a:rPr lang="en-US" sz="1400" dirty="0">
                <a:hlinkClick r:id="rId3"/>
              </a:rPr>
              <a:t>/</a:t>
            </a:r>
            <a:r>
              <a:rPr lang="en-US" sz="1400" dirty="0" err="1">
                <a:hlinkClick r:id="rId3"/>
              </a:rPr>
              <a:t>DataJobMarket</a:t>
            </a:r>
            <a:r>
              <a:rPr lang="en-US" sz="1400" dirty="0">
                <a:hlinkClick r:id="rId3"/>
              </a:rPr>
              <a:t> (github.com)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This notebook will perform following tasks:</a:t>
            </a:r>
          </a:p>
          <a:p>
            <a:endParaRPr lang="en-CA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D9B805-56F9-46D3-B6F8-E8842D608FC7}"/>
              </a:ext>
            </a:extLst>
          </p:cNvPr>
          <p:cNvSpPr txBox="1"/>
          <p:nvPr/>
        </p:nvSpPr>
        <p:spPr>
          <a:xfrm>
            <a:off x="1562910" y="2194622"/>
            <a:ext cx="485734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Web Scrape data from Indeed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Perform data transforma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Load data onto either PostgreSQL or </a:t>
            </a:r>
            <a:r>
              <a:rPr lang="en-CA" dirty="0" err="1">
                <a:sym typeface="Wingdings" panose="05000000000000000000" pitchFamily="2" charset="2"/>
              </a:rPr>
              <a:t>ElephantSQL</a:t>
            </a:r>
            <a:r>
              <a:rPr lang="en-CA" dirty="0">
                <a:sym typeface="Wingdings" panose="05000000000000000000" pitchFamily="2" charset="2"/>
              </a:rPr>
              <a:t> </a:t>
            </a:r>
          </a:p>
          <a:p>
            <a:r>
              <a:rPr lang="en-CA" dirty="0">
                <a:sym typeface="Wingdings" panose="05000000000000000000" pitchFamily="2" charset="2"/>
              </a:rPr>
              <a:t>      </a:t>
            </a:r>
          </a:p>
          <a:p>
            <a:endParaRPr lang="en-CA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A675AE7-223D-4AE5-AFD8-EE8689B2E3F0}"/>
              </a:ext>
            </a:extLst>
          </p:cNvPr>
          <p:cNvSpPr txBox="1"/>
          <p:nvPr/>
        </p:nvSpPr>
        <p:spPr>
          <a:xfrm>
            <a:off x="457199" y="3093540"/>
            <a:ext cx="83366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2. Dashboard Creation: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483E668-FEAE-4C59-9B67-D7450C632178}"/>
              </a:ext>
            </a:extLst>
          </p:cNvPr>
          <p:cNvSpPr txBox="1"/>
          <p:nvPr/>
        </p:nvSpPr>
        <p:spPr>
          <a:xfrm>
            <a:off x="875488" y="3440761"/>
            <a:ext cx="791831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Source code: </a:t>
            </a:r>
            <a:r>
              <a:rPr lang="en-CA" dirty="0" err="1">
                <a:hlinkClick r:id="rId4"/>
              </a:rPr>
              <a:t>Navyhoang</a:t>
            </a:r>
            <a:r>
              <a:rPr lang="en-CA" dirty="0">
                <a:hlinkClick r:id="rId4"/>
              </a:rPr>
              <a:t>/Project2-DataJobs-App (github.com)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This will perform the following tasks:</a:t>
            </a:r>
          </a:p>
          <a:p>
            <a:endParaRPr lang="en-CA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5207FDD-DCF1-4820-9E90-C327CD957920}"/>
              </a:ext>
            </a:extLst>
          </p:cNvPr>
          <p:cNvSpPr txBox="1"/>
          <p:nvPr/>
        </p:nvSpPr>
        <p:spPr>
          <a:xfrm>
            <a:off x="1562910" y="3937416"/>
            <a:ext cx="485734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Query new data from databases abov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Deploy the app with new data accordingly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CA" dirty="0">
              <a:sym typeface="Wingdings" panose="05000000000000000000" pitchFamily="2" charset="2"/>
            </a:endParaRPr>
          </a:p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9472036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Future Work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6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0" name="Google Shape;3908;p38">
            <a:extLst>
              <a:ext uri="{FF2B5EF4-FFF2-40B4-BE49-F238E27FC236}">
                <a16:creationId xmlns:a16="http://schemas.microsoft.com/office/drawing/2014/main" id="{67EC209F-018F-4D74-A6B5-FEE3D53C039D}"/>
              </a:ext>
            </a:extLst>
          </p:cNvPr>
          <p:cNvGrpSpPr/>
          <p:nvPr/>
        </p:nvGrpSpPr>
        <p:grpSpPr>
          <a:xfrm>
            <a:off x="5664939" y="825443"/>
            <a:ext cx="2933954" cy="3215946"/>
            <a:chOff x="2183550" y="65875"/>
            <a:chExt cx="4483981" cy="4807045"/>
          </a:xfrm>
        </p:grpSpPr>
        <p:sp>
          <p:nvSpPr>
            <p:cNvPr id="111" name="Google Shape;3909;p38">
              <a:extLst>
                <a:ext uri="{FF2B5EF4-FFF2-40B4-BE49-F238E27FC236}">
                  <a16:creationId xmlns:a16="http://schemas.microsoft.com/office/drawing/2014/main" id="{B5D1DBCE-BF55-4D81-8881-4EEDDF4C3CBE}"/>
                </a:ext>
              </a:extLst>
            </p:cNvPr>
            <p:cNvSpPr/>
            <p:nvPr/>
          </p:nvSpPr>
          <p:spPr>
            <a:xfrm>
              <a:off x="3889897" y="3280283"/>
              <a:ext cx="998038" cy="577710"/>
            </a:xfrm>
            <a:custGeom>
              <a:avLst/>
              <a:gdLst/>
              <a:ahLst/>
              <a:cxnLst/>
              <a:rect l="l" t="t" r="r" b="b"/>
              <a:pathLst>
                <a:path w="998038" h="577710" extrusionOk="0">
                  <a:moveTo>
                    <a:pt x="461327" y="569588"/>
                  </a:moveTo>
                  <a:lnTo>
                    <a:pt x="14055" y="310699"/>
                  </a:lnTo>
                  <a:cubicBezTo>
                    <a:pt x="-6751" y="298602"/>
                    <a:pt x="-4186" y="277552"/>
                    <a:pt x="19945" y="263645"/>
                  </a:cubicBezTo>
                  <a:lnTo>
                    <a:pt x="455437" y="11519"/>
                  </a:lnTo>
                  <a:cubicBezTo>
                    <a:pt x="479568" y="-2388"/>
                    <a:pt x="515954" y="-3912"/>
                    <a:pt x="536759" y="8090"/>
                  </a:cubicBezTo>
                  <a:lnTo>
                    <a:pt x="983936" y="266979"/>
                  </a:lnTo>
                  <a:cubicBezTo>
                    <a:pt x="1004837" y="279076"/>
                    <a:pt x="1002177" y="300126"/>
                    <a:pt x="978141" y="314033"/>
                  </a:cubicBezTo>
                  <a:lnTo>
                    <a:pt x="542554" y="566159"/>
                  </a:lnTo>
                  <a:cubicBezTo>
                    <a:pt x="518519" y="580161"/>
                    <a:pt x="482133" y="581590"/>
                    <a:pt x="461327" y="56958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" name="Google Shape;3910;p38">
              <a:extLst>
                <a:ext uri="{FF2B5EF4-FFF2-40B4-BE49-F238E27FC236}">
                  <a16:creationId xmlns:a16="http://schemas.microsoft.com/office/drawing/2014/main" id="{BE0C582C-F1A2-4F20-8E47-0ED2FDCCF791}"/>
                </a:ext>
              </a:extLst>
            </p:cNvPr>
            <p:cNvSpPr/>
            <p:nvPr/>
          </p:nvSpPr>
          <p:spPr>
            <a:xfrm>
              <a:off x="2372415" y="3694995"/>
              <a:ext cx="1795739" cy="1039558"/>
            </a:xfrm>
            <a:custGeom>
              <a:avLst/>
              <a:gdLst/>
              <a:ahLst/>
              <a:cxnLst/>
              <a:rect l="l" t="t" r="r" b="b"/>
              <a:pathLst>
                <a:path w="1795739" h="1039558" extrusionOk="0">
                  <a:moveTo>
                    <a:pt x="1781394" y="0"/>
                  </a:moveTo>
                  <a:lnTo>
                    <a:pt x="1781394" y="95"/>
                  </a:lnTo>
                  <a:lnTo>
                    <a:pt x="651623" y="653987"/>
                  </a:lnTo>
                  <a:lnTo>
                    <a:pt x="0" y="1031176"/>
                  </a:lnTo>
                  <a:lnTo>
                    <a:pt x="14440" y="1039558"/>
                  </a:lnTo>
                  <a:lnTo>
                    <a:pt x="666063" y="662273"/>
                  </a:lnTo>
                  <a:lnTo>
                    <a:pt x="1795739" y="8382"/>
                  </a:lnTo>
                  <a:lnTo>
                    <a:pt x="1795739" y="8382"/>
                  </a:lnTo>
                  <a:lnTo>
                    <a:pt x="1781394" y="0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3911;p38">
              <a:extLst>
                <a:ext uri="{FF2B5EF4-FFF2-40B4-BE49-F238E27FC236}">
                  <a16:creationId xmlns:a16="http://schemas.microsoft.com/office/drawing/2014/main" id="{78DAF5CE-41B3-4670-A202-2D2455514504}"/>
                </a:ext>
              </a:extLst>
            </p:cNvPr>
            <p:cNvSpPr/>
            <p:nvPr/>
          </p:nvSpPr>
          <p:spPr>
            <a:xfrm>
              <a:off x="3921527" y="3261804"/>
              <a:ext cx="998857" cy="577329"/>
            </a:xfrm>
            <a:custGeom>
              <a:avLst/>
              <a:gdLst/>
              <a:ahLst/>
              <a:cxnLst/>
              <a:rect l="l" t="t" r="r" b="b"/>
              <a:pathLst>
                <a:path w="998857" h="577329" extrusionOk="0">
                  <a:moveTo>
                    <a:pt x="998097" y="255644"/>
                  </a:moveTo>
                  <a:lnTo>
                    <a:pt x="976057" y="262407"/>
                  </a:lnTo>
                  <a:lnTo>
                    <a:pt x="536860" y="8090"/>
                  </a:lnTo>
                  <a:cubicBezTo>
                    <a:pt x="516054" y="-3912"/>
                    <a:pt x="479858" y="-2388"/>
                    <a:pt x="455632" y="11519"/>
                  </a:cubicBezTo>
                  <a:lnTo>
                    <a:pt x="20046" y="263645"/>
                  </a:lnTo>
                  <a:lnTo>
                    <a:pt x="19001" y="264312"/>
                  </a:lnTo>
                  <a:lnTo>
                    <a:pt x="0" y="258502"/>
                  </a:lnTo>
                  <a:lnTo>
                    <a:pt x="0" y="287077"/>
                  </a:lnTo>
                  <a:cubicBezTo>
                    <a:pt x="0" y="288125"/>
                    <a:pt x="0" y="289173"/>
                    <a:pt x="0" y="290316"/>
                  </a:cubicBezTo>
                  <a:lnTo>
                    <a:pt x="0" y="292601"/>
                  </a:lnTo>
                  <a:lnTo>
                    <a:pt x="0" y="292601"/>
                  </a:lnTo>
                  <a:cubicBezTo>
                    <a:pt x="1596" y="300307"/>
                    <a:pt x="6641" y="306841"/>
                    <a:pt x="13680" y="310318"/>
                  </a:cubicBezTo>
                  <a:lnTo>
                    <a:pt x="460953" y="569208"/>
                  </a:lnTo>
                  <a:cubicBezTo>
                    <a:pt x="481758" y="581209"/>
                    <a:pt x="517954" y="579780"/>
                    <a:pt x="542275" y="565778"/>
                  </a:cubicBezTo>
                  <a:lnTo>
                    <a:pt x="979097" y="314033"/>
                  </a:lnTo>
                  <a:cubicBezTo>
                    <a:pt x="989404" y="309413"/>
                    <a:pt x="996786" y="300012"/>
                    <a:pt x="998857" y="288887"/>
                  </a:cubicBezTo>
                  <a:lnTo>
                    <a:pt x="998857" y="288887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3912;p38">
              <a:extLst>
                <a:ext uri="{FF2B5EF4-FFF2-40B4-BE49-F238E27FC236}">
                  <a16:creationId xmlns:a16="http://schemas.microsoft.com/office/drawing/2014/main" id="{C8F69221-C316-4A99-9025-D5AF15029E6B}"/>
                </a:ext>
              </a:extLst>
            </p:cNvPr>
            <p:cNvSpPr/>
            <p:nvPr/>
          </p:nvSpPr>
          <p:spPr>
            <a:xfrm>
              <a:off x="3922039" y="3231825"/>
              <a:ext cx="998054" cy="577388"/>
            </a:xfrm>
            <a:custGeom>
              <a:avLst/>
              <a:gdLst/>
              <a:ahLst/>
              <a:cxnLst/>
              <a:rect l="l" t="t" r="r" b="b"/>
              <a:pathLst>
                <a:path w="998054" h="577388" extrusionOk="0">
                  <a:moveTo>
                    <a:pt x="461295" y="569183"/>
                  </a:moveTo>
                  <a:lnTo>
                    <a:pt x="14023" y="310674"/>
                  </a:lnTo>
                  <a:cubicBezTo>
                    <a:pt x="-6783" y="298673"/>
                    <a:pt x="-4123" y="277623"/>
                    <a:pt x="19913" y="263716"/>
                  </a:cubicBezTo>
                  <a:lnTo>
                    <a:pt x="455500" y="11589"/>
                  </a:lnTo>
                  <a:cubicBezTo>
                    <a:pt x="479536" y="-2412"/>
                    <a:pt x="515922" y="-3936"/>
                    <a:pt x="536727" y="8160"/>
                  </a:cubicBezTo>
                  <a:lnTo>
                    <a:pt x="984000" y="267050"/>
                  </a:lnTo>
                  <a:cubicBezTo>
                    <a:pt x="1004805" y="279147"/>
                    <a:pt x="1002240" y="300197"/>
                    <a:pt x="978110" y="314103"/>
                  </a:cubicBezTo>
                  <a:lnTo>
                    <a:pt x="542618" y="566230"/>
                  </a:lnTo>
                  <a:cubicBezTo>
                    <a:pt x="518487" y="579756"/>
                    <a:pt x="482101" y="581280"/>
                    <a:pt x="461295" y="569183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3913;p38">
              <a:extLst>
                <a:ext uri="{FF2B5EF4-FFF2-40B4-BE49-F238E27FC236}">
                  <a16:creationId xmlns:a16="http://schemas.microsoft.com/office/drawing/2014/main" id="{F8BA1577-D81C-4C40-8A4B-C08E95D6E202}"/>
                </a:ext>
              </a:extLst>
            </p:cNvPr>
            <p:cNvSpPr/>
            <p:nvPr/>
          </p:nvSpPr>
          <p:spPr>
            <a:xfrm>
              <a:off x="4231770" y="3400376"/>
              <a:ext cx="378145" cy="218912"/>
            </a:xfrm>
            <a:custGeom>
              <a:avLst/>
              <a:gdLst/>
              <a:ahLst/>
              <a:cxnLst/>
              <a:rect l="l" t="t" r="r" b="b"/>
              <a:pathLst>
                <a:path w="378145" h="218912" extrusionOk="0">
                  <a:moveTo>
                    <a:pt x="377956" y="96880"/>
                  </a:moveTo>
                  <a:lnTo>
                    <a:pt x="377956" y="58780"/>
                  </a:lnTo>
                  <a:lnTo>
                    <a:pt x="323804" y="73067"/>
                  </a:lnTo>
                  <a:lnTo>
                    <a:pt x="203341" y="3058"/>
                  </a:lnTo>
                  <a:cubicBezTo>
                    <a:pt x="193461" y="-1447"/>
                    <a:pt x="182023" y="-952"/>
                    <a:pt x="172560" y="4392"/>
                  </a:cubicBezTo>
                  <a:lnTo>
                    <a:pt x="55422" y="72210"/>
                  </a:lnTo>
                  <a:lnTo>
                    <a:pt x="36" y="57541"/>
                  </a:lnTo>
                  <a:lnTo>
                    <a:pt x="36" y="98594"/>
                  </a:lnTo>
                  <a:lnTo>
                    <a:pt x="36" y="98594"/>
                  </a:lnTo>
                  <a:lnTo>
                    <a:pt x="36" y="108119"/>
                  </a:lnTo>
                  <a:cubicBezTo>
                    <a:pt x="-12" y="108500"/>
                    <a:pt x="-12" y="108881"/>
                    <a:pt x="36" y="109262"/>
                  </a:cubicBezTo>
                  <a:lnTo>
                    <a:pt x="36" y="110215"/>
                  </a:lnTo>
                  <a:lnTo>
                    <a:pt x="36" y="110215"/>
                  </a:lnTo>
                  <a:cubicBezTo>
                    <a:pt x="644" y="113139"/>
                    <a:pt x="2572" y="115606"/>
                    <a:pt x="5261" y="116882"/>
                  </a:cubicBezTo>
                  <a:lnTo>
                    <a:pt x="174840" y="215847"/>
                  </a:lnTo>
                  <a:cubicBezTo>
                    <a:pt x="184721" y="220333"/>
                    <a:pt x="196130" y="219876"/>
                    <a:pt x="205621" y="214608"/>
                  </a:cubicBezTo>
                  <a:lnTo>
                    <a:pt x="370736" y="119358"/>
                  </a:lnTo>
                  <a:cubicBezTo>
                    <a:pt x="374621" y="117606"/>
                    <a:pt x="377395" y="114044"/>
                    <a:pt x="378146" y="109833"/>
                  </a:cubicBezTo>
                  <a:lnTo>
                    <a:pt x="378146" y="109833"/>
                  </a:lnTo>
                  <a:lnTo>
                    <a:pt x="378146" y="97261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3914;p38">
              <a:extLst>
                <a:ext uri="{FF2B5EF4-FFF2-40B4-BE49-F238E27FC236}">
                  <a16:creationId xmlns:a16="http://schemas.microsoft.com/office/drawing/2014/main" id="{7BC76217-686E-4034-A81B-05FD13230040}"/>
                </a:ext>
              </a:extLst>
            </p:cNvPr>
            <p:cNvSpPr/>
            <p:nvPr/>
          </p:nvSpPr>
          <p:spPr>
            <a:xfrm>
              <a:off x="4231502" y="3348848"/>
              <a:ext cx="378432" cy="218803"/>
            </a:xfrm>
            <a:custGeom>
              <a:avLst/>
              <a:gdLst/>
              <a:ahLst/>
              <a:cxnLst/>
              <a:rect l="l" t="t" r="r" b="b"/>
              <a:pathLst>
                <a:path w="378432" h="218803" extrusionOk="0">
                  <a:moveTo>
                    <a:pt x="175108" y="215844"/>
                  </a:moveTo>
                  <a:lnTo>
                    <a:pt x="5339" y="117451"/>
                  </a:lnTo>
                  <a:cubicBezTo>
                    <a:pt x="-2547" y="112879"/>
                    <a:pt x="-1597" y="104878"/>
                    <a:pt x="7524" y="99639"/>
                  </a:cubicBezTo>
                  <a:lnTo>
                    <a:pt x="172638" y="4389"/>
                  </a:lnTo>
                  <a:cubicBezTo>
                    <a:pt x="182167" y="-992"/>
                    <a:pt x="193691" y="-1449"/>
                    <a:pt x="203609" y="3151"/>
                  </a:cubicBezTo>
                  <a:lnTo>
                    <a:pt x="373094" y="101259"/>
                  </a:lnTo>
                  <a:cubicBezTo>
                    <a:pt x="380979" y="105831"/>
                    <a:pt x="380029" y="113832"/>
                    <a:pt x="370909" y="119166"/>
                  </a:cubicBezTo>
                  <a:lnTo>
                    <a:pt x="205794" y="214416"/>
                  </a:lnTo>
                  <a:cubicBezTo>
                    <a:pt x="196360" y="219712"/>
                    <a:pt x="184988" y="220245"/>
                    <a:pt x="175108" y="215844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3915;p38">
              <a:extLst>
                <a:ext uri="{FF2B5EF4-FFF2-40B4-BE49-F238E27FC236}">
                  <a16:creationId xmlns:a16="http://schemas.microsoft.com/office/drawing/2014/main" id="{3328C8CC-890A-495F-AF05-5226FF749F7B}"/>
                </a:ext>
              </a:extLst>
            </p:cNvPr>
            <p:cNvSpPr/>
            <p:nvPr/>
          </p:nvSpPr>
          <p:spPr>
            <a:xfrm>
              <a:off x="3409843" y="2513133"/>
              <a:ext cx="2024410" cy="945165"/>
            </a:xfrm>
            <a:custGeom>
              <a:avLst/>
              <a:gdLst/>
              <a:ahLst/>
              <a:cxnLst/>
              <a:rect l="l" t="t" r="r" b="b"/>
              <a:pathLst>
                <a:path w="2024410" h="945165" extrusionOk="0">
                  <a:moveTo>
                    <a:pt x="1010828" y="945166"/>
                  </a:moveTo>
                  <a:lnTo>
                    <a:pt x="0" y="38005"/>
                  </a:lnTo>
                  <a:lnTo>
                    <a:pt x="2024411" y="0"/>
                  </a:lnTo>
                  <a:lnTo>
                    <a:pt x="1010828" y="945166"/>
                  </a:ln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3916;p38">
              <a:extLst>
                <a:ext uri="{FF2B5EF4-FFF2-40B4-BE49-F238E27FC236}">
                  <a16:creationId xmlns:a16="http://schemas.microsoft.com/office/drawing/2014/main" id="{1BB77513-CD31-4BB6-997B-52F925D31F69}"/>
                </a:ext>
              </a:extLst>
            </p:cNvPr>
            <p:cNvSpPr/>
            <p:nvPr/>
          </p:nvSpPr>
          <p:spPr>
            <a:xfrm>
              <a:off x="2963426" y="65875"/>
              <a:ext cx="2875158" cy="2882646"/>
            </a:xfrm>
            <a:custGeom>
              <a:avLst/>
              <a:gdLst/>
              <a:ahLst/>
              <a:cxnLst/>
              <a:rect l="l" t="t" r="r" b="b"/>
              <a:pathLst>
                <a:path w="2875158" h="2882646" extrusionOk="0">
                  <a:moveTo>
                    <a:pt x="2875159" y="1441323"/>
                  </a:moveTo>
                  <a:cubicBezTo>
                    <a:pt x="2875159" y="2237344"/>
                    <a:pt x="2231533" y="2882646"/>
                    <a:pt x="1437579" y="2882646"/>
                  </a:cubicBezTo>
                  <a:cubicBezTo>
                    <a:pt x="643626" y="2882646"/>
                    <a:pt x="0" y="2237344"/>
                    <a:pt x="0" y="1441323"/>
                  </a:cubicBezTo>
                  <a:cubicBezTo>
                    <a:pt x="0" y="645302"/>
                    <a:pt x="643626" y="0"/>
                    <a:pt x="1437579" y="0"/>
                  </a:cubicBezTo>
                  <a:cubicBezTo>
                    <a:pt x="2231532" y="0"/>
                    <a:pt x="2875159" y="645302"/>
                    <a:pt x="2875159" y="1441323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3917;p38">
              <a:extLst>
                <a:ext uri="{FF2B5EF4-FFF2-40B4-BE49-F238E27FC236}">
                  <a16:creationId xmlns:a16="http://schemas.microsoft.com/office/drawing/2014/main" id="{1B08411E-097A-4CE7-B8B8-E1FDD3652064}"/>
                </a:ext>
              </a:extLst>
            </p:cNvPr>
            <p:cNvSpPr/>
            <p:nvPr/>
          </p:nvSpPr>
          <p:spPr>
            <a:xfrm>
              <a:off x="2986102" y="165506"/>
              <a:ext cx="2752826" cy="2463451"/>
            </a:xfrm>
            <a:custGeom>
              <a:avLst/>
              <a:gdLst/>
              <a:ahLst/>
              <a:cxnLst/>
              <a:rect l="l" t="t" r="r" b="b"/>
              <a:pathLst>
                <a:path w="2752826" h="2463451" extrusionOk="0">
                  <a:moveTo>
                    <a:pt x="1036794" y="484346"/>
                  </a:moveTo>
                  <a:lnTo>
                    <a:pt x="1041639" y="467297"/>
                  </a:lnTo>
                  <a:lnTo>
                    <a:pt x="1041639" y="430340"/>
                  </a:lnTo>
                  <a:cubicBezTo>
                    <a:pt x="1034789" y="431164"/>
                    <a:pt x="1027873" y="431164"/>
                    <a:pt x="1021023" y="430340"/>
                  </a:cubicBezTo>
                  <a:cubicBezTo>
                    <a:pt x="1017413" y="428720"/>
                    <a:pt x="1019883" y="418624"/>
                    <a:pt x="1019883" y="418624"/>
                  </a:cubicBezTo>
                  <a:lnTo>
                    <a:pt x="1036794" y="404051"/>
                  </a:lnTo>
                  <a:lnTo>
                    <a:pt x="1002878" y="411290"/>
                  </a:lnTo>
                  <a:lnTo>
                    <a:pt x="990717" y="430340"/>
                  </a:lnTo>
                  <a:lnTo>
                    <a:pt x="952716" y="453866"/>
                  </a:lnTo>
                  <a:lnTo>
                    <a:pt x="969722" y="463391"/>
                  </a:lnTo>
                  <a:lnTo>
                    <a:pt x="980647" y="470630"/>
                  </a:lnTo>
                  <a:lnTo>
                    <a:pt x="996988" y="473107"/>
                  </a:lnTo>
                  <a:lnTo>
                    <a:pt x="996988" y="462344"/>
                  </a:lnTo>
                  <a:cubicBezTo>
                    <a:pt x="996988" y="462344"/>
                    <a:pt x="1015988" y="457486"/>
                    <a:pt x="1020643" y="464725"/>
                  </a:cubicBezTo>
                  <a:lnTo>
                    <a:pt x="1018268" y="478155"/>
                  </a:lnTo>
                  <a:lnTo>
                    <a:pt x="1036794" y="484346"/>
                  </a:lnTo>
                  <a:close/>
                  <a:moveTo>
                    <a:pt x="616692" y="1010603"/>
                  </a:moveTo>
                  <a:cubicBezTo>
                    <a:pt x="606783" y="1006135"/>
                    <a:pt x="595440" y="1006135"/>
                    <a:pt x="585531" y="1010603"/>
                  </a:cubicBezTo>
                  <a:cubicBezTo>
                    <a:pt x="585702" y="1024414"/>
                    <a:pt x="574967" y="1035891"/>
                    <a:pt x="561211" y="1036606"/>
                  </a:cubicBezTo>
                  <a:lnTo>
                    <a:pt x="588951" y="1052132"/>
                  </a:lnTo>
                  <a:lnTo>
                    <a:pt x="616692" y="1041749"/>
                  </a:lnTo>
                  <a:lnTo>
                    <a:pt x="652983" y="1029653"/>
                  </a:lnTo>
                  <a:lnTo>
                    <a:pt x="684049" y="1052132"/>
                  </a:lnTo>
                  <a:cubicBezTo>
                    <a:pt x="707420" y="1023557"/>
                    <a:pt x="684049" y="1007078"/>
                    <a:pt x="684049" y="1007078"/>
                  </a:cubicBezTo>
                  <a:lnTo>
                    <a:pt x="616692" y="1010603"/>
                  </a:lnTo>
                  <a:close/>
                  <a:moveTo>
                    <a:pt x="1206658" y="1540478"/>
                  </a:moveTo>
                  <a:lnTo>
                    <a:pt x="1179773" y="1534763"/>
                  </a:lnTo>
                  <a:lnTo>
                    <a:pt x="1133031" y="1504950"/>
                  </a:lnTo>
                  <a:lnTo>
                    <a:pt x="1091990" y="1504950"/>
                  </a:lnTo>
                  <a:lnTo>
                    <a:pt x="1056554" y="1486567"/>
                  </a:lnTo>
                  <a:lnTo>
                    <a:pt x="1042399" y="1486567"/>
                  </a:lnTo>
                  <a:cubicBezTo>
                    <a:pt x="1042399" y="1486567"/>
                    <a:pt x="1045249" y="1466660"/>
                    <a:pt x="1040974" y="1465231"/>
                  </a:cubicBezTo>
                  <a:cubicBezTo>
                    <a:pt x="1036699" y="1463802"/>
                    <a:pt x="1005633" y="1445324"/>
                    <a:pt x="1005633" y="1445324"/>
                  </a:cubicBezTo>
                  <a:lnTo>
                    <a:pt x="981502" y="1453896"/>
                  </a:lnTo>
                  <a:lnTo>
                    <a:pt x="981502" y="1436846"/>
                  </a:lnTo>
                  <a:lnTo>
                    <a:pt x="964497" y="1429703"/>
                  </a:lnTo>
                  <a:lnTo>
                    <a:pt x="950341" y="1429703"/>
                  </a:lnTo>
                  <a:lnTo>
                    <a:pt x="951766" y="1415510"/>
                  </a:lnTo>
                  <a:cubicBezTo>
                    <a:pt x="951766" y="1415510"/>
                    <a:pt x="964497" y="1390269"/>
                    <a:pt x="957467" y="1385888"/>
                  </a:cubicBezTo>
                  <a:cubicBezTo>
                    <a:pt x="950436" y="1381506"/>
                    <a:pt x="924881" y="1324642"/>
                    <a:pt x="924881" y="1324642"/>
                  </a:cubicBezTo>
                  <a:lnTo>
                    <a:pt x="886880" y="1303306"/>
                  </a:lnTo>
                  <a:lnTo>
                    <a:pt x="845838" y="1303306"/>
                  </a:lnTo>
                  <a:lnTo>
                    <a:pt x="810403" y="1269302"/>
                  </a:lnTo>
                  <a:lnTo>
                    <a:pt x="775062" y="1240727"/>
                  </a:lnTo>
                  <a:lnTo>
                    <a:pt x="755206" y="1201007"/>
                  </a:lnTo>
                  <a:lnTo>
                    <a:pt x="733925" y="1186815"/>
                  </a:lnTo>
                  <a:cubicBezTo>
                    <a:pt x="733925" y="1186815"/>
                    <a:pt x="709890" y="1202436"/>
                    <a:pt x="704190" y="1201007"/>
                  </a:cubicBezTo>
                  <a:cubicBezTo>
                    <a:pt x="698489" y="1199579"/>
                    <a:pt x="663149" y="1186815"/>
                    <a:pt x="663149" y="1186815"/>
                  </a:cubicBezTo>
                  <a:lnTo>
                    <a:pt x="633413" y="1178338"/>
                  </a:lnTo>
                  <a:lnTo>
                    <a:pt x="596267" y="1195769"/>
                  </a:lnTo>
                  <a:lnTo>
                    <a:pt x="596267" y="1233869"/>
                  </a:lnTo>
                  <a:lnTo>
                    <a:pt x="582111" y="1224344"/>
                  </a:lnTo>
                  <a:lnTo>
                    <a:pt x="582111" y="1210056"/>
                  </a:lnTo>
                  <a:lnTo>
                    <a:pt x="594842" y="1185958"/>
                  </a:lnTo>
                  <a:lnTo>
                    <a:pt x="600542" y="1168908"/>
                  </a:lnTo>
                  <a:lnTo>
                    <a:pt x="587812" y="1163288"/>
                  </a:lnTo>
                  <a:lnTo>
                    <a:pt x="570806" y="1183100"/>
                  </a:lnTo>
                  <a:lnTo>
                    <a:pt x="528340" y="1195769"/>
                  </a:lnTo>
                  <a:lnTo>
                    <a:pt x="519790" y="1214247"/>
                  </a:lnTo>
                  <a:lnTo>
                    <a:pt x="499934" y="1232726"/>
                  </a:lnTo>
                  <a:lnTo>
                    <a:pt x="494329" y="1248347"/>
                  </a:lnTo>
                  <a:lnTo>
                    <a:pt x="463168" y="1222820"/>
                  </a:lnTo>
                  <a:cubicBezTo>
                    <a:pt x="452661" y="1228335"/>
                    <a:pt x="441773" y="1233078"/>
                    <a:pt x="430582" y="1237012"/>
                  </a:cubicBezTo>
                  <a:cubicBezTo>
                    <a:pt x="419096" y="1230897"/>
                    <a:pt x="408190" y="1223762"/>
                    <a:pt x="397996" y="1215676"/>
                  </a:cubicBezTo>
                  <a:lnTo>
                    <a:pt x="382416" y="1185863"/>
                  </a:lnTo>
                  <a:lnTo>
                    <a:pt x="390966" y="1146143"/>
                  </a:lnTo>
                  <a:lnTo>
                    <a:pt x="397996" y="1104900"/>
                  </a:lnTo>
                  <a:lnTo>
                    <a:pt x="371111" y="1087850"/>
                  </a:lnTo>
                  <a:lnTo>
                    <a:pt x="334250" y="1087850"/>
                  </a:lnTo>
                  <a:lnTo>
                    <a:pt x="305749" y="1079373"/>
                  </a:lnTo>
                  <a:lnTo>
                    <a:pt x="319049" y="1058037"/>
                  </a:lnTo>
                  <a:lnTo>
                    <a:pt x="334629" y="1026795"/>
                  </a:lnTo>
                  <a:lnTo>
                    <a:pt x="348785" y="1004126"/>
                  </a:lnTo>
                  <a:cubicBezTo>
                    <a:pt x="348785" y="1004126"/>
                    <a:pt x="352775" y="993743"/>
                    <a:pt x="357335" y="991362"/>
                  </a:cubicBezTo>
                  <a:cubicBezTo>
                    <a:pt x="375386" y="981837"/>
                    <a:pt x="357335" y="972884"/>
                    <a:pt x="357335" y="972884"/>
                  </a:cubicBezTo>
                  <a:cubicBezTo>
                    <a:pt x="357335" y="972884"/>
                    <a:pt x="319334" y="970026"/>
                    <a:pt x="313444" y="972884"/>
                  </a:cubicBezTo>
                  <a:cubicBezTo>
                    <a:pt x="307554" y="975741"/>
                    <a:pt x="292163" y="984218"/>
                    <a:pt x="292163" y="984218"/>
                  </a:cubicBezTo>
                  <a:lnTo>
                    <a:pt x="292163" y="1016889"/>
                  </a:lnTo>
                  <a:lnTo>
                    <a:pt x="263663" y="1029653"/>
                  </a:lnTo>
                  <a:lnTo>
                    <a:pt x="219771" y="1039178"/>
                  </a:lnTo>
                  <a:lnTo>
                    <a:pt x="190036" y="1009269"/>
                  </a:lnTo>
                  <a:cubicBezTo>
                    <a:pt x="185760" y="1005078"/>
                    <a:pt x="175880" y="958215"/>
                    <a:pt x="175880" y="958215"/>
                  </a:cubicBezTo>
                  <a:lnTo>
                    <a:pt x="194216" y="941165"/>
                  </a:lnTo>
                  <a:lnTo>
                    <a:pt x="202766" y="926973"/>
                  </a:lnTo>
                  <a:lnTo>
                    <a:pt x="204191" y="892874"/>
                  </a:lnTo>
                  <a:lnTo>
                    <a:pt x="222526" y="877253"/>
                  </a:lnTo>
                  <a:lnTo>
                    <a:pt x="229652" y="858774"/>
                  </a:lnTo>
                  <a:lnTo>
                    <a:pt x="250742" y="843344"/>
                  </a:lnTo>
                  <a:lnTo>
                    <a:pt x="270978" y="824770"/>
                  </a:lnTo>
                  <a:lnTo>
                    <a:pt x="289408" y="819150"/>
                  </a:lnTo>
                  <a:lnTo>
                    <a:pt x="314869" y="824770"/>
                  </a:lnTo>
                  <a:cubicBezTo>
                    <a:pt x="316294" y="815245"/>
                    <a:pt x="363035" y="819150"/>
                    <a:pt x="363035" y="819150"/>
                  </a:cubicBezTo>
                  <a:lnTo>
                    <a:pt x="381466" y="818198"/>
                  </a:lnTo>
                  <a:lnTo>
                    <a:pt x="380041" y="807815"/>
                  </a:lnTo>
                  <a:cubicBezTo>
                    <a:pt x="388591" y="800671"/>
                    <a:pt x="416902" y="807815"/>
                    <a:pt x="416902" y="807815"/>
                  </a:cubicBezTo>
                  <a:lnTo>
                    <a:pt x="454903" y="804577"/>
                  </a:lnTo>
                  <a:cubicBezTo>
                    <a:pt x="463263" y="806387"/>
                    <a:pt x="470293" y="823627"/>
                    <a:pt x="470293" y="823627"/>
                  </a:cubicBezTo>
                  <a:lnTo>
                    <a:pt x="453288" y="839248"/>
                  </a:lnTo>
                  <a:lnTo>
                    <a:pt x="464688" y="873252"/>
                  </a:lnTo>
                  <a:lnTo>
                    <a:pt x="475993" y="888873"/>
                  </a:lnTo>
                  <a:lnTo>
                    <a:pt x="471718" y="904494"/>
                  </a:lnTo>
                  <a:lnTo>
                    <a:pt x="498984" y="900494"/>
                  </a:lnTo>
                  <a:cubicBezTo>
                    <a:pt x="499427" y="891477"/>
                    <a:pt x="499871" y="882460"/>
                    <a:pt x="500314" y="873443"/>
                  </a:cubicBezTo>
                  <a:lnTo>
                    <a:pt x="501739" y="840772"/>
                  </a:lnTo>
                  <a:lnTo>
                    <a:pt x="497559" y="804958"/>
                  </a:lnTo>
                  <a:lnTo>
                    <a:pt x="523020" y="749903"/>
                  </a:lnTo>
                  <a:lnTo>
                    <a:pt x="626383" y="683228"/>
                  </a:lnTo>
                  <a:cubicBezTo>
                    <a:pt x="625908" y="675164"/>
                    <a:pt x="625432" y="667099"/>
                    <a:pt x="624957" y="659035"/>
                  </a:cubicBezTo>
                  <a:lnTo>
                    <a:pt x="631988" y="624269"/>
                  </a:lnTo>
                  <a:lnTo>
                    <a:pt x="650418" y="630650"/>
                  </a:lnTo>
                  <a:lnTo>
                    <a:pt x="683004" y="591884"/>
                  </a:lnTo>
                  <a:lnTo>
                    <a:pt x="725470" y="577787"/>
                  </a:lnTo>
                  <a:lnTo>
                    <a:pt x="750931" y="560451"/>
                  </a:lnTo>
                  <a:lnTo>
                    <a:pt x="763661" y="534829"/>
                  </a:lnTo>
                  <a:lnTo>
                    <a:pt x="810403" y="520637"/>
                  </a:lnTo>
                  <a:lnTo>
                    <a:pt x="857144" y="496538"/>
                  </a:lnTo>
                  <a:lnTo>
                    <a:pt x="835673" y="519494"/>
                  </a:lnTo>
                  <a:lnTo>
                    <a:pt x="832823" y="539401"/>
                  </a:lnTo>
                  <a:lnTo>
                    <a:pt x="858284" y="533686"/>
                  </a:lnTo>
                  <a:lnTo>
                    <a:pt x="880990" y="520922"/>
                  </a:lnTo>
                  <a:lnTo>
                    <a:pt x="900750" y="515302"/>
                  </a:lnTo>
                  <a:lnTo>
                    <a:pt x="919180" y="509588"/>
                  </a:lnTo>
                  <a:lnTo>
                    <a:pt x="924881" y="496824"/>
                  </a:lnTo>
                  <a:lnTo>
                    <a:pt x="912150" y="496824"/>
                  </a:lnTo>
                  <a:lnTo>
                    <a:pt x="892295" y="489680"/>
                  </a:lnTo>
                  <a:lnTo>
                    <a:pt x="863794" y="468440"/>
                  </a:lnTo>
                  <a:cubicBezTo>
                    <a:pt x="863196" y="463742"/>
                    <a:pt x="864734" y="459023"/>
                    <a:pt x="867974" y="455581"/>
                  </a:cubicBezTo>
                  <a:lnTo>
                    <a:pt x="880799" y="444056"/>
                  </a:lnTo>
                  <a:cubicBezTo>
                    <a:pt x="880799" y="444056"/>
                    <a:pt x="886405" y="437198"/>
                    <a:pt x="882224" y="437198"/>
                  </a:cubicBezTo>
                  <a:cubicBezTo>
                    <a:pt x="878044" y="437198"/>
                    <a:pt x="846789" y="430340"/>
                    <a:pt x="846789" y="430340"/>
                  </a:cubicBezTo>
                  <a:lnTo>
                    <a:pt x="812778" y="444056"/>
                  </a:lnTo>
                  <a:lnTo>
                    <a:pt x="793492" y="444056"/>
                  </a:lnTo>
                  <a:lnTo>
                    <a:pt x="817623" y="423005"/>
                  </a:lnTo>
                  <a:lnTo>
                    <a:pt x="844508" y="423005"/>
                  </a:lnTo>
                  <a:lnTo>
                    <a:pt x="874244" y="415862"/>
                  </a:lnTo>
                  <a:lnTo>
                    <a:pt x="935996" y="415862"/>
                  </a:lnTo>
                  <a:lnTo>
                    <a:pt x="970007" y="408718"/>
                  </a:lnTo>
                  <a:lnTo>
                    <a:pt x="994233" y="395669"/>
                  </a:lnTo>
                  <a:lnTo>
                    <a:pt x="1023968" y="392621"/>
                  </a:lnTo>
                  <a:lnTo>
                    <a:pt x="1032519" y="360712"/>
                  </a:lnTo>
                  <a:lnTo>
                    <a:pt x="1012663" y="343662"/>
                  </a:lnTo>
                  <a:lnTo>
                    <a:pt x="984162" y="328898"/>
                  </a:lnTo>
                  <a:lnTo>
                    <a:pt x="978462" y="295370"/>
                  </a:lnTo>
                  <a:lnTo>
                    <a:pt x="962882" y="261271"/>
                  </a:lnTo>
                  <a:lnTo>
                    <a:pt x="948726" y="261271"/>
                  </a:lnTo>
                  <a:lnTo>
                    <a:pt x="947301" y="279749"/>
                  </a:lnTo>
                  <a:lnTo>
                    <a:pt x="924691" y="279749"/>
                  </a:lnTo>
                  <a:lnTo>
                    <a:pt x="918991" y="291084"/>
                  </a:lnTo>
                  <a:lnTo>
                    <a:pt x="910535" y="296799"/>
                  </a:lnTo>
                  <a:lnTo>
                    <a:pt x="896380" y="299656"/>
                  </a:lnTo>
                  <a:lnTo>
                    <a:pt x="883555" y="286798"/>
                  </a:lnTo>
                  <a:lnTo>
                    <a:pt x="900560" y="268415"/>
                  </a:lnTo>
                  <a:lnTo>
                    <a:pt x="880799" y="249936"/>
                  </a:lnTo>
                  <a:lnTo>
                    <a:pt x="856669" y="237173"/>
                  </a:lnTo>
                  <a:lnTo>
                    <a:pt x="831493" y="237173"/>
                  </a:lnTo>
                  <a:lnTo>
                    <a:pt x="813063" y="242792"/>
                  </a:lnTo>
                  <a:lnTo>
                    <a:pt x="787602" y="272606"/>
                  </a:lnTo>
                  <a:lnTo>
                    <a:pt x="767746" y="289655"/>
                  </a:lnTo>
                  <a:lnTo>
                    <a:pt x="773447" y="305276"/>
                  </a:lnTo>
                  <a:lnTo>
                    <a:pt x="766226" y="328994"/>
                  </a:lnTo>
                  <a:lnTo>
                    <a:pt x="770501" y="338519"/>
                  </a:lnTo>
                  <a:lnTo>
                    <a:pt x="746371" y="347091"/>
                  </a:lnTo>
                  <a:lnTo>
                    <a:pt x="719485" y="352711"/>
                  </a:lnTo>
                  <a:lnTo>
                    <a:pt x="708180" y="349853"/>
                  </a:lnTo>
                  <a:lnTo>
                    <a:pt x="699629" y="361283"/>
                  </a:lnTo>
                  <a:lnTo>
                    <a:pt x="715210" y="393192"/>
                  </a:lnTo>
                  <a:lnTo>
                    <a:pt x="699629" y="403860"/>
                  </a:lnTo>
                  <a:lnTo>
                    <a:pt x="678444" y="403860"/>
                  </a:lnTo>
                  <a:lnTo>
                    <a:pt x="660488" y="380714"/>
                  </a:lnTo>
                  <a:lnTo>
                    <a:pt x="656213" y="367570"/>
                  </a:lnTo>
                  <a:lnTo>
                    <a:pt x="668944" y="360521"/>
                  </a:lnTo>
                  <a:lnTo>
                    <a:pt x="659443" y="343472"/>
                  </a:lnTo>
                  <a:lnTo>
                    <a:pt x="629708" y="342043"/>
                  </a:lnTo>
                  <a:lnTo>
                    <a:pt x="590091" y="317373"/>
                  </a:lnTo>
                  <a:lnTo>
                    <a:pt x="571661" y="317373"/>
                  </a:lnTo>
                  <a:lnTo>
                    <a:pt x="567386" y="302228"/>
                  </a:lnTo>
                  <a:lnTo>
                    <a:pt x="554656" y="296609"/>
                  </a:lnTo>
                  <a:lnTo>
                    <a:pt x="573086" y="275273"/>
                  </a:lnTo>
                  <a:lnTo>
                    <a:pt x="599972" y="259652"/>
                  </a:lnTo>
                  <a:lnTo>
                    <a:pt x="646713" y="242602"/>
                  </a:lnTo>
                  <a:lnTo>
                    <a:pt x="663718" y="236982"/>
                  </a:lnTo>
                  <a:lnTo>
                    <a:pt x="700485" y="228409"/>
                  </a:lnTo>
                  <a:lnTo>
                    <a:pt x="725185" y="214694"/>
                  </a:lnTo>
                  <a:lnTo>
                    <a:pt x="747796" y="194786"/>
                  </a:lnTo>
                  <a:lnTo>
                    <a:pt x="777532" y="194786"/>
                  </a:lnTo>
                  <a:lnTo>
                    <a:pt x="812968" y="185833"/>
                  </a:lnTo>
                  <a:lnTo>
                    <a:pt x="835673" y="185833"/>
                  </a:lnTo>
                  <a:lnTo>
                    <a:pt x="845174" y="159353"/>
                  </a:lnTo>
                  <a:lnTo>
                    <a:pt x="799857" y="159353"/>
                  </a:lnTo>
                  <a:lnTo>
                    <a:pt x="782852" y="172403"/>
                  </a:lnTo>
                  <a:lnTo>
                    <a:pt x="753116" y="172403"/>
                  </a:lnTo>
                  <a:cubicBezTo>
                    <a:pt x="746798" y="166154"/>
                    <a:pt x="738980" y="161657"/>
                    <a:pt x="730410" y="159353"/>
                  </a:cubicBezTo>
                  <a:lnTo>
                    <a:pt x="730410" y="148876"/>
                  </a:lnTo>
                  <a:lnTo>
                    <a:pt x="745991" y="134684"/>
                  </a:lnTo>
                  <a:lnTo>
                    <a:pt x="766226" y="119444"/>
                  </a:lnTo>
                  <a:cubicBezTo>
                    <a:pt x="773304" y="110380"/>
                    <a:pt x="779023" y="100338"/>
                    <a:pt x="783232" y="89630"/>
                  </a:cubicBezTo>
                  <a:lnTo>
                    <a:pt x="824273" y="103823"/>
                  </a:lnTo>
                  <a:lnTo>
                    <a:pt x="855339" y="102203"/>
                  </a:lnTo>
                  <a:lnTo>
                    <a:pt x="876714" y="100965"/>
                  </a:lnTo>
                  <a:lnTo>
                    <a:pt x="903600" y="102394"/>
                  </a:lnTo>
                  <a:lnTo>
                    <a:pt x="919180" y="108109"/>
                  </a:lnTo>
                  <a:cubicBezTo>
                    <a:pt x="914905" y="119444"/>
                    <a:pt x="897995" y="110966"/>
                    <a:pt x="897995" y="110966"/>
                  </a:cubicBezTo>
                  <a:lnTo>
                    <a:pt x="846979" y="116586"/>
                  </a:lnTo>
                  <a:lnTo>
                    <a:pt x="824273" y="128969"/>
                  </a:lnTo>
                  <a:lnTo>
                    <a:pt x="831398" y="113348"/>
                  </a:lnTo>
                  <a:lnTo>
                    <a:pt x="807267" y="114776"/>
                  </a:lnTo>
                  <a:lnTo>
                    <a:pt x="778767" y="133160"/>
                  </a:lnTo>
                  <a:lnTo>
                    <a:pt x="798622" y="143161"/>
                  </a:lnTo>
                  <a:lnTo>
                    <a:pt x="845364" y="143161"/>
                  </a:lnTo>
                  <a:lnTo>
                    <a:pt x="870824" y="152686"/>
                  </a:lnTo>
                  <a:lnTo>
                    <a:pt x="892105" y="144209"/>
                  </a:lnTo>
                  <a:lnTo>
                    <a:pt x="914715" y="152686"/>
                  </a:lnTo>
                  <a:lnTo>
                    <a:pt x="941696" y="161258"/>
                  </a:lnTo>
                  <a:lnTo>
                    <a:pt x="909110" y="171450"/>
                  </a:lnTo>
                  <a:lnTo>
                    <a:pt x="880609" y="184880"/>
                  </a:lnTo>
                  <a:lnTo>
                    <a:pt x="852109" y="191072"/>
                  </a:lnTo>
                  <a:lnTo>
                    <a:pt x="829498" y="199549"/>
                  </a:lnTo>
                  <a:lnTo>
                    <a:pt x="838998" y="219456"/>
                  </a:lnTo>
                  <a:lnTo>
                    <a:pt x="898470" y="218027"/>
                  </a:lnTo>
                  <a:lnTo>
                    <a:pt x="935996" y="241173"/>
                  </a:lnTo>
                  <a:lnTo>
                    <a:pt x="967157" y="241173"/>
                  </a:lnTo>
                  <a:lnTo>
                    <a:pt x="968582" y="228409"/>
                  </a:lnTo>
                  <a:lnTo>
                    <a:pt x="975612" y="215646"/>
                  </a:lnTo>
                  <a:lnTo>
                    <a:pt x="989862" y="212789"/>
                  </a:lnTo>
                  <a:lnTo>
                    <a:pt x="978462" y="197168"/>
                  </a:lnTo>
                  <a:lnTo>
                    <a:pt x="974282" y="185357"/>
                  </a:lnTo>
                  <a:lnTo>
                    <a:pt x="991192" y="185357"/>
                  </a:lnTo>
                  <a:lnTo>
                    <a:pt x="1005443" y="195739"/>
                  </a:lnTo>
                  <a:cubicBezTo>
                    <a:pt x="1016748" y="204311"/>
                    <a:pt x="1040784" y="185357"/>
                    <a:pt x="1040784" y="185357"/>
                  </a:cubicBezTo>
                  <a:lnTo>
                    <a:pt x="1076220" y="171926"/>
                  </a:lnTo>
                  <a:lnTo>
                    <a:pt x="1032329" y="158877"/>
                  </a:lnTo>
                  <a:lnTo>
                    <a:pt x="1018173" y="144685"/>
                  </a:lnTo>
                  <a:cubicBezTo>
                    <a:pt x="1022353" y="136112"/>
                    <a:pt x="971432" y="123349"/>
                    <a:pt x="971432" y="123349"/>
                  </a:cubicBezTo>
                  <a:lnTo>
                    <a:pt x="931721" y="99250"/>
                  </a:lnTo>
                  <a:lnTo>
                    <a:pt x="922221" y="89249"/>
                  </a:lnTo>
                  <a:lnTo>
                    <a:pt x="888495" y="89249"/>
                  </a:lnTo>
                  <a:lnTo>
                    <a:pt x="915380" y="77914"/>
                  </a:lnTo>
                  <a:lnTo>
                    <a:pt x="981882" y="84963"/>
                  </a:lnTo>
                  <a:lnTo>
                    <a:pt x="1015893" y="77914"/>
                  </a:lnTo>
                  <a:lnTo>
                    <a:pt x="1093795" y="58007"/>
                  </a:lnTo>
                  <a:lnTo>
                    <a:pt x="1146142" y="45244"/>
                  </a:lnTo>
                  <a:lnTo>
                    <a:pt x="1184143" y="31052"/>
                  </a:lnTo>
                  <a:lnTo>
                    <a:pt x="1140157" y="24194"/>
                  </a:lnTo>
                  <a:cubicBezTo>
                    <a:pt x="1140157" y="24194"/>
                    <a:pt x="1108996" y="32766"/>
                    <a:pt x="1104721" y="32766"/>
                  </a:cubicBezTo>
                  <a:cubicBezTo>
                    <a:pt x="1100445" y="32766"/>
                    <a:pt x="1063680" y="35623"/>
                    <a:pt x="1059404" y="35623"/>
                  </a:cubicBezTo>
                  <a:lnTo>
                    <a:pt x="960222" y="35623"/>
                  </a:lnTo>
                  <a:lnTo>
                    <a:pt x="929156" y="42672"/>
                  </a:lnTo>
                  <a:lnTo>
                    <a:pt x="957657" y="49816"/>
                  </a:lnTo>
                  <a:lnTo>
                    <a:pt x="940651" y="59341"/>
                  </a:lnTo>
                  <a:lnTo>
                    <a:pt x="910915" y="59341"/>
                  </a:lnTo>
                  <a:lnTo>
                    <a:pt x="893910" y="65056"/>
                  </a:lnTo>
                  <a:lnTo>
                    <a:pt x="916520" y="48006"/>
                  </a:lnTo>
                  <a:lnTo>
                    <a:pt x="892485" y="42291"/>
                  </a:lnTo>
                  <a:lnTo>
                    <a:pt x="862749" y="49435"/>
                  </a:lnTo>
                  <a:lnTo>
                    <a:pt x="825888" y="70675"/>
                  </a:lnTo>
                  <a:lnTo>
                    <a:pt x="842893" y="76390"/>
                  </a:lnTo>
                  <a:lnTo>
                    <a:pt x="867024" y="66865"/>
                  </a:lnTo>
                  <a:lnTo>
                    <a:pt x="886785" y="71057"/>
                  </a:lnTo>
                  <a:lnTo>
                    <a:pt x="865599" y="76772"/>
                  </a:lnTo>
                  <a:lnTo>
                    <a:pt x="857049" y="88106"/>
                  </a:lnTo>
                  <a:lnTo>
                    <a:pt x="871204" y="92393"/>
                  </a:lnTo>
                  <a:lnTo>
                    <a:pt x="833203" y="95250"/>
                  </a:lnTo>
                  <a:lnTo>
                    <a:pt x="766701" y="83915"/>
                  </a:lnTo>
                  <a:lnTo>
                    <a:pt x="739816" y="116491"/>
                  </a:lnTo>
                  <a:lnTo>
                    <a:pt x="685949" y="154591"/>
                  </a:lnTo>
                  <a:lnTo>
                    <a:pt x="700105" y="165925"/>
                  </a:lnTo>
                  <a:lnTo>
                    <a:pt x="690604" y="171926"/>
                  </a:lnTo>
                  <a:lnTo>
                    <a:pt x="677874" y="178689"/>
                  </a:lnTo>
                  <a:lnTo>
                    <a:pt x="641013" y="171926"/>
                  </a:lnTo>
                  <a:lnTo>
                    <a:pt x="590091" y="185357"/>
                  </a:lnTo>
                  <a:lnTo>
                    <a:pt x="477559" y="240252"/>
                  </a:lnTo>
                  <a:cubicBezTo>
                    <a:pt x="181848" y="530352"/>
                    <a:pt x="102036" y="696627"/>
                    <a:pt x="0" y="1091502"/>
                  </a:cubicBezTo>
                  <a:lnTo>
                    <a:pt x="114699" y="1064800"/>
                  </a:lnTo>
                  <a:lnTo>
                    <a:pt x="134554" y="1086041"/>
                  </a:lnTo>
                  <a:lnTo>
                    <a:pt x="168565" y="1091756"/>
                  </a:lnTo>
                  <a:lnTo>
                    <a:pt x="191271" y="1105948"/>
                  </a:lnTo>
                  <a:lnTo>
                    <a:pt x="215306" y="1096423"/>
                  </a:lnTo>
                  <a:lnTo>
                    <a:pt x="235162" y="1116330"/>
                  </a:lnTo>
                  <a:lnTo>
                    <a:pt x="279053" y="1140428"/>
                  </a:lnTo>
                  <a:lnTo>
                    <a:pt x="321519" y="1146143"/>
                  </a:lnTo>
                  <a:lnTo>
                    <a:pt x="334250" y="1188720"/>
                  </a:lnTo>
                  <a:cubicBezTo>
                    <a:pt x="334250" y="1188720"/>
                    <a:pt x="363985" y="1215676"/>
                    <a:pt x="362750" y="1221391"/>
                  </a:cubicBezTo>
                  <a:cubicBezTo>
                    <a:pt x="361515" y="1227106"/>
                    <a:pt x="372251" y="1252633"/>
                    <a:pt x="378331" y="1252633"/>
                  </a:cubicBezTo>
                  <a:cubicBezTo>
                    <a:pt x="392505" y="1257710"/>
                    <a:pt x="406252" y="1263891"/>
                    <a:pt x="419467" y="1271111"/>
                  </a:cubicBezTo>
                  <a:lnTo>
                    <a:pt x="443503" y="1273874"/>
                  </a:lnTo>
                  <a:lnTo>
                    <a:pt x="453003" y="1252633"/>
                  </a:lnTo>
                  <a:lnTo>
                    <a:pt x="474283" y="1252633"/>
                  </a:lnTo>
                  <a:lnTo>
                    <a:pt x="474283" y="1273874"/>
                  </a:lnTo>
                  <a:lnTo>
                    <a:pt x="482834" y="1285304"/>
                  </a:lnTo>
                  <a:lnTo>
                    <a:pt x="485589" y="1317879"/>
                  </a:lnTo>
                  <a:lnTo>
                    <a:pt x="494139" y="1342073"/>
                  </a:lnTo>
                  <a:lnTo>
                    <a:pt x="479983" y="1357694"/>
                  </a:lnTo>
                  <a:lnTo>
                    <a:pt x="457278" y="1386269"/>
                  </a:lnTo>
                  <a:lnTo>
                    <a:pt x="428777" y="1425797"/>
                  </a:lnTo>
                  <a:lnTo>
                    <a:pt x="431627" y="1463897"/>
                  </a:lnTo>
                  <a:lnTo>
                    <a:pt x="424502" y="1489424"/>
                  </a:lnTo>
                  <a:lnTo>
                    <a:pt x="445782" y="1496568"/>
                  </a:lnTo>
                  <a:lnTo>
                    <a:pt x="427352" y="1522095"/>
                  </a:lnTo>
                  <a:cubicBezTo>
                    <a:pt x="431114" y="1532801"/>
                    <a:pt x="434287" y="1543707"/>
                    <a:pt x="436852" y="1554766"/>
                  </a:cubicBezTo>
                  <a:cubicBezTo>
                    <a:pt x="441251" y="1566948"/>
                    <a:pt x="446457" y="1578816"/>
                    <a:pt x="452433" y="1590294"/>
                  </a:cubicBezTo>
                  <a:lnTo>
                    <a:pt x="472288" y="1607344"/>
                  </a:lnTo>
                  <a:lnTo>
                    <a:pt x="480838" y="1635919"/>
                  </a:lnTo>
                  <a:lnTo>
                    <a:pt x="529005" y="1735265"/>
                  </a:lnTo>
                  <a:lnTo>
                    <a:pt x="562921" y="1763840"/>
                  </a:lnTo>
                  <a:lnTo>
                    <a:pt x="612512" y="1789367"/>
                  </a:lnTo>
                  <a:cubicBezTo>
                    <a:pt x="612512" y="1789367"/>
                    <a:pt x="643673" y="1823466"/>
                    <a:pt x="645098" y="1827467"/>
                  </a:cubicBezTo>
                  <a:cubicBezTo>
                    <a:pt x="646523" y="1831467"/>
                    <a:pt x="662103" y="1894142"/>
                    <a:pt x="662103" y="1894142"/>
                  </a:cubicBezTo>
                  <a:cubicBezTo>
                    <a:pt x="661882" y="1905826"/>
                    <a:pt x="661660" y="1917510"/>
                    <a:pt x="661439" y="1929194"/>
                  </a:cubicBezTo>
                  <a:lnTo>
                    <a:pt x="670939" y="1966055"/>
                  </a:lnTo>
                  <a:lnTo>
                    <a:pt x="673789" y="2007299"/>
                  </a:lnTo>
                  <a:lnTo>
                    <a:pt x="678064" y="2064449"/>
                  </a:lnTo>
                  <a:lnTo>
                    <a:pt x="692219" y="2109883"/>
                  </a:lnTo>
                  <a:lnTo>
                    <a:pt x="704950" y="2169509"/>
                  </a:lnTo>
                  <a:lnTo>
                    <a:pt x="689369" y="2189417"/>
                  </a:lnTo>
                  <a:lnTo>
                    <a:pt x="698869" y="2218849"/>
                  </a:lnTo>
                  <a:lnTo>
                    <a:pt x="710270" y="2261807"/>
                  </a:lnTo>
                  <a:lnTo>
                    <a:pt x="730030" y="2283143"/>
                  </a:lnTo>
                  <a:cubicBezTo>
                    <a:pt x="729587" y="2294509"/>
                    <a:pt x="729143" y="2305876"/>
                    <a:pt x="728700" y="2317242"/>
                  </a:cubicBezTo>
                  <a:lnTo>
                    <a:pt x="732880" y="2351246"/>
                  </a:lnTo>
                  <a:lnTo>
                    <a:pt x="820758" y="2444972"/>
                  </a:lnTo>
                  <a:lnTo>
                    <a:pt x="837668" y="2463451"/>
                  </a:lnTo>
                  <a:lnTo>
                    <a:pt x="837668" y="2419445"/>
                  </a:lnTo>
                  <a:lnTo>
                    <a:pt x="866169" y="2402967"/>
                  </a:lnTo>
                  <a:lnTo>
                    <a:pt x="866169" y="2376869"/>
                  </a:lnTo>
                  <a:lnTo>
                    <a:pt x="837668" y="2364105"/>
                  </a:lnTo>
                  <a:lnTo>
                    <a:pt x="837668" y="2344198"/>
                  </a:lnTo>
                  <a:lnTo>
                    <a:pt x="851634" y="2331434"/>
                  </a:lnTo>
                  <a:lnTo>
                    <a:pt x="865694" y="2308670"/>
                  </a:lnTo>
                  <a:lnTo>
                    <a:pt x="865694" y="2290191"/>
                  </a:lnTo>
                  <a:cubicBezTo>
                    <a:pt x="877379" y="2286000"/>
                    <a:pt x="865694" y="2273141"/>
                    <a:pt x="865694" y="2273141"/>
                  </a:cubicBezTo>
                  <a:lnTo>
                    <a:pt x="846219" y="2273141"/>
                  </a:lnTo>
                  <a:lnTo>
                    <a:pt x="844793" y="2254758"/>
                  </a:lnTo>
                  <a:lnTo>
                    <a:pt x="863224" y="2254758"/>
                  </a:lnTo>
                  <a:lnTo>
                    <a:pt x="870824" y="2266093"/>
                  </a:lnTo>
                  <a:lnTo>
                    <a:pt x="885835" y="2254758"/>
                  </a:lnTo>
                  <a:lnTo>
                    <a:pt x="874529" y="2231993"/>
                  </a:lnTo>
                  <a:cubicBezTo>
                    <a:pt x="877379" y="2224945"/>
                    <a:pt x="897235" y="2231993"/>
                    <a:pt x="897235" y="2231993"/>
                  </a:cubicBezTo>
                  <a:lnTo>
                    <a:pt x="931151" y="2212086"/>
                  </a:lnTo>
                  <a:lnTo>
                    <a:pt x="945306" y="2195132"/>
                  </a:lnTo>
                  <a:lnTo>
                    <a:pt x="945306" y="2172367"/>
                  </a:lnTo>
                  <a:lnTo>
                    <a:pt x="929156" y="2157794"/>
                  </a:lnTo>
                  <a:lnTo>
                    <a:pt x="914905" y="2135029"/>
                  </a:lnTo>
                  <a:lnTo>
                    <a:pt x="931911" y="2135029"/>
                  </a:lnTo>
                  <a:cubicBezTo>
                    <a:pt x="931911" y="2135029"/>
                    <a:pt x="957467" y="2147888"/>
                    <a:pt x="965922" y="2135029"/>
                  </a:cubicBezTo>
                  <a:cubicBezTo>
                    <a:pt x="974377" y="2122170"/>
                    <a:pt x="987202" y="2105216"/>
                    <a:pt x="987202" y="2105216"/>
                  </a:cubicBezTo>
                  <a:lnTo>
                    <a:pt x="1002783" y="2068354"/>
                  </a:lnTo>
                  <a:cubicBezTo>
                    <a:pt x="1002783" y="2068354"/>
                    <a:pt x="1032519" y="2014347"/>
                    <a:pt x="1035369" y="2010061"/>
                  </a:cubicBezTo>
                  <a:cubicBezTo>
                    <a:pt x="1038219" y="2005774"/>
                    <a:pt x="1035369" y="1952911"/>
                    <a:pt x="1035369" y="1952911"/>
                  </a:cubicBezTo>
                  <a:lnTo>
                    <a:pt x="1082110" y="1914811"/>
                  </a:lnTo>
                  <a:lnTo>
                    <a:pt x="1113271" y="1914811"/>
                  </a:lnTo>
                  <a:lnTo>
                    <a:pt x="1138732" y="1872139"/>
                  </a:lnTo>
                  <a:lnTo>
                    <a:pt x="1158587" y="1844135"/>
                  </a:lnTo>
                  <a:lnTo>
                    <a:pt x="1158587" y="1796510"/>
                  </a:lnTo>
                  <a:lnTo>
                    <a:pt x="1165617" y="1751076"/>
                  </a:lnTo>
                  <a:lnTo>
                    <a:pt x="1154502" y="1706690"/>
                  </a:lnTo>
                  <a:lnTo>
                    <a:pt x="1194118" y="1654112"/>
                  </a:lnTo>
                  <a:lnTo>
                    <a:pt x="1223854" y="1625537"/>
                  </a:lnTo>
                  <a:lnTo>
                    <a:pt x="1212549" y="1573054"/>
                  </a:lnTo>
                  <a:lnTo>
                    <a:pt x="1206658" y="1540478"/>
                  </a:lnTo>
                  <a:close/>
                  <a:moveTo>
                    <a:pt x="1522257" y="424720"/>
                  </a:moveTo>
                  <a:lnTo>
                    <a:pt x="1531757" y="430340"/>
                  </a:lnTo>
                  <a:lnTo>
                    <a:pt x="1544678" y="419100"/>
                  </a:lnTo>
                  <a:lnTo>
                    <a:pt x="1563013" y="419100"/>
                  </a:lnTo>
                  <a:lnTo>
                    <a:pt x="1579924" y="413385"/>
                  </a:lnTo>
                  <a:lnTo>
                    <a:pt x="1587524" y="402907"/>
                  </a:lnTo>
                  <a:lnTo>
                    <a:pt x="1583914" y="388430"/>
                  </a:lnTo>
                  <a:lnTo>
                    <a:pt x="1591134" y="380714"/>
                  </a:lnTo>
                  <a:cubicBezTo>
                    <a:pt x="1591989" y="368999"/>
                    <a:pt x="1573463" y="360521"/>
                    <a:pt x="1573463" y="360521"/>
                  </a:cubicBezTo>
                  <a:lnTo>
                    <a:pt x="1563013" y="360521"/>
                  </a:lnTo>
                  <a:lnTo>
                    <a:pt x="1550093" y="375476"/>
                  </a:lnTo>
                  <a:lnTo>
                    <a:pt x="1536412" y="375476"/>
                  </a:lnTo>
                  <a:lnTo>
                    <a:pt x="1531567" y="392430"/>
                  </a:lnTo>
                  <a:lnTo>
                    <a:pt x="1533562" y="405194"/>
                  </a:lnTo>
                  <a:lnTo>
                    <a:pt x="1522257" y="412242"/>
                  </a:lnTo>
                  <a:lnTo>
                    <a:pt x="1522257" y="424720"/>
                  </a:lnTo>
                  <a:close/>
                  <a:moveTo>
                    <a:pt x="1607759" y="317373"/>
                  </a:moveTo>
                  <a:lnTo>
                    <a:pt x="1593319" y="323850"/>
                  </a:lnTo>
                  <a:lnTo>
                    <a:pt x="1593319" y="345662"/>
                  </a:lnTo>
                  <a:lnTo>
                    <a:pt x="1594934" y="351282"/>
                  </a:lnTo>
                  <a:cubicBezTo>
                    <a:pt x="1595988" y="355778"/>
                    <a:pt x="1596530" y="360379"/>
                    <a:pt x="1596549" y="364998"/>
                  </a:cubicBezTo>
                  <a:lnTo>
                    <a:pt x="1606999" y="372237"/>
                  </a:lnTo>
                  <a:lnTo>
                    <a:pt x="1617450" y="378714"/>
                  </a:lnTo>
                  <a:lnTo>
                    <a:pt x="1622295" y="388239"/>
                  </a:lnTo>
                  <a:cubicBezTo>
                    <a:pt x="1622295" y="388239"/>
                    <a:pt x="1620680" y="397764"/>
                    <a:pt x="1615075" y="397764"/>
                  </a:cubicBezTo>
                  <a:lnTo>
                    <a:pt x="1602154" y="401860"/>
                  </a:lnTo>
                  <a:lnTo>
                    <a:pt x="1606999" y="410718"/>
                  </a:lnTo>
                  <a:cubicBezTo>
                    <a:pt x="1606999" y="410718"/>
                    <a:pt x="1597499" y="415576"/>
                    <a:pt x="1596549" y="419576"/>
                  </a:cubicBezTo>
                  <a:lnTo>
                    <a:pt x="1605384" y="426053"/>
                  </a:lnTo>
                  <a:lnTo>
                    <a:pt x="1597309" y="434150"/>
                  </a:lnTo>
                  <a:lnTo>
                    <a:pt x="1579639" y="434150"/>
                  </a:lnTo>
                  <a:lnTo>
                    <a:pt x="1579639" y="443675"/>
                  </a:lnTo>
                  <a:lnTo>
                    <a:pt x="1616690" y="443675"/>
                  </a:lnTo>
                  <a:lnTo>
                    <a:pt x="1631985" y="434150"/>
                  </a:lnTo>
                  <a:lnTo>
                    <a:pt x="1654501" y="438150"/>
                  </a:lnTo>
                  <a:cubicBezTo>
                    <a:pt x="1654501" y="438150"/>
                    <a:pt x="1673026" y="434150"/>
                    <a:pt x="1677016" y="434150"/>
                  </a:cubicBezTo>
                  <a:lnTo>
                    <a:pt x="1673786" y="430054"/>
                  </a:lnTo>
                  <a:lnTo>
                    <a:pt x="1679486" y="422815"/>
                  </a:lnTo>
                  <a:lnTo>
                    <a:pt x="1688322" y="412337"/>
                  </a:lnTo>
                  <a:lnTo>
                    <a:pt x="1677016" y="407765"/>
                  </a:lnTo>
                  <a:lnTo>
                    <a:pt x="1664191" y="403765"/>
                  </a:lnTo>
                  <a:lnTo>
                    <a:pt x="1665806" y="390049"/>
                  </a:lnTo>
                  <a:lnTo>
                    <a:pt x="1653646" y="380524"/>
                  </a:lnTo>
                  <a:lnTo>
                    <a:pt x="1635215" y="370427"/>
                  </a:lnTo>
                  <a:lnTo>
                    <a:pt x="1633600" y="351854"/>
                  </a:lnTo>
                  <a:lnTo>
                    <a:pt x="1635215" y="335756"/>
                  </a:lnTo>
                  <a:lnTo>
                    <a:pt x="1616215" y="335756"/>
                  </a:lnTo>
                  <a:lnTo>
                    <a:pt x="1612224" y="327660"/>
                  </a:lnTo>
                  <a:lnTo>
                    <a:pt x="1623435" y="317182"/>
                  </a:lnTo>
                  <a:lnTo>
                    <a:pt x="1607759" y="317373"/>
                  </a:lnTo>
                  <a:close/>
                  <a:moveTo>
                    <a:pt x="1713212" y="386810"/>
                  </a:moveTo>
                  <a:lnTo>
                    <a:pt x="1713212" y="380714"/>
                  </a:lnTo>
                  <a:lnTo>
                    <a:pt x="1726133" y="380714"/>
                  </a:lnTo>
                  <a:lnTo>
                    <a:pt x="1733353" y="375476"/>
                  </a:lnTo>
                  <a:lnTo>
                    <a:pt x="1733353" y="355282"/>
                  </a:lnTo>
                  <a:lnTo>
                    <a:pt x="1742853" y="350425"/>
                  </a:lnTo>
                  <a:lnTo>
                    <a:pt x="1739623" y="334328"/>
                  </a:lnTo>
                  <a:lnTo>
                    <a:pt x="1724518" y="328994"/>
                  </a:lnTo>
                  <a:lnTo>
                    <a:pt x="1702002" y="336232"/>
                  </a:lnTo>
                  <a:lnTo>
                    <a:pt x="1702002" y="348044"/>
                  </a:lnTo>
                  <a:lnTo>
                    <a:pt x="1688322" y="349663"/>
                  </a:lnTo>
                  <a:lnTo>
                    <a:pt x="1685092" y="360521"/>
                  </a:lnTo>
                  <a:lnTo>
                    <a:pt x="1694592" y="364998"/>
                  </a:lnTo>
                  <a:lnTo>
                    <a:pt x="1679296" y="373856"/>
                  </a:lnTo>
                  <a:lnTo>
                    <a:pt x="1675211" y="380714"/>
                  </a:lnTo>
                  <a:lnTo>
                    <a:pt x="1688132" y="392430"/>
                  </a:lnTo>
                  <a:lnTo>
                    <a:pt x="1713212" y="386810"/>
                  </a:lnTo>
                  <a:close/>
                  <a:moveTo>
                    <a:pt x="2524534" y="876110"/>
                  </a:moveTo>
                  <a:lnTo>
                    <a:pt x="2577736" y="904685"/>
                  </a:lnTo>
                  <a:lnTo>
                    <a:pt x="2605192" y="894017"/>
                  </a:lnTo>
                  <a:lnTo>
                    <a:pt x="2623432" y="919925"/>
                  </a:lnTo>
                  <a:lnTo>
                    <a:pt x="2672169" y="930688"/>
                  </a:lnTo>
                  <a:lnTo>
                    <a:pt x="2693449" y="941356"/>
                  </a:lnTo>
                  <a:lnTo>
                    <a:pt x="2752826" y="809593"/>
                  </a:lnTo>
                  <a:cubicBezTo>
                    <a:pt x="2662503" y="608118"/>
                    <a:pt x="2543606" y="384419"/>
                    <a:pt x="2300883" y="208344"/>
                  </a:cubicBezTo>
                  <a:lnTo>
                    <a:pt x="2251877" y="211265"/>
                  </a:lnTo>
                  <a:lnTo>
                    <a:pt x="2241237" y="232696"/>
                  </a:lnTo>
                  <a:lnTo>
                    <a:pt x="2218531" y="224219"/>
                  </a:lnTo>
                  <a:lnTo>
                    <a:pt x="2207796" y="205169"/>
                  </a:lnTo>
                  <a:lnTo>
                    <a:pt x="2186420" y="205169"/>
                  </a:lnTo>
                  <a:lnTo>
                    <a:pt x="2195920" y="214694"/>
                  </a:lnTo>
                  <a:lnTo>
                    <a:pt x="2203616" y="230029"/>
                  </a:lnTo>
                  <a:lnTo>
                    <a:pt x="2170080" y="230029"/>
                  </a:lnTo>
                  <a:lnTo>
                    <a:pt x="2170080" y="248983"/>
                  </a:lnTo>
                  <a:lnTo>
                    <a:pt x="2146139" y="245459"/>
                  </a:lnTo>
                  <a:lnTo>
                    <a:pt x="2131604" y="243269"/>
                  </a:lnTo>
                  <a:lnTo>
                    <a:pt x="2123433" y="247364"/>
                  </a:lnTo>
                  <a:lnTo>
                    <a:pt x="2131034" y="252031"/>
                  </a:lnTo>
                  <a:lnTo>
                    <a:pt x="2141579" y="254413"/>
                  </a:lnTo>
                  <a:lnTo>
                    <a:pt x="2132079" y="257937"/>
                  </a:lnTo>
                  <a:lnTo>
                    <a:pt x="2119348" y="252794"/>
                  </a:lnTo>
                  <a:lnTo>
                    <a:pt x="2103483" y="247459"/>
                  </a:lnTo>
                  <a:lnTo>
                    <a:pt x="2098733" y="236887"/>
                  </a:lnTo>
                  <a:lnTo>
                    <a:pt x="2087048" y="227362"/>
                  </a:lnTo>
                  <a:lnTo>
                    <a:pt x="2073557" y="225552"/>
                  </a:lnTo>
                  <a:lnTo>
                    <a:pt x="2064057" y="214408"/>
                  </a:lnTo>
                  <a:lnTo>
                    <a:pt x="2084768" y="216218"/>
                  </a:lnTo>
                  <a:lnTo>
                    <a:pt x="2103008" y="224409"/>
                  </a:lnTo>
                  <a:lnTo>
                    <a:pt x="2118208" y="226219"/>
                  </a:lnTo>
                  <a:cubicBezTo>
                    <a:pt x="2118208" y="226219"/>
                    <a:pt x="2127709" y="223837"/>
                    <a:pt x="2128754" y="225552"/>
                  </a:cubicBezTo>
                  <a:cubicBezTo>
                    <a:pt x="2136021" y="227877"/>
                    <a:pt x="2143498" y="229473"/>
                    <a:pt x="2151079" y="230315"/>
                  </a:cubicBezTo>
                  <a:lnTo>
                    <a:pt x="2163430" y="220790"/>
                  </a:lnTo>
                  <a:lnTo>
                    <a:pt x="2142529" y="205169"/>
                  </a:lnTo>
                  <a:lnTo>
                    <a:pt x="2105478" y="194215"/>
                  </a:lnTo>
                  <a:lnTo>
                    <a:pt x="2040306" y="185833"/>
                  </a:lnTo>
                  <a:cubicBezTo>
                    <a:pt x="2031376" y="183581"/>
                    <a:pt x="2022560" y="180879"/>
                    <a:pt x="2013895" y="177737"/>
                  </a:cubicBezTo>
                  <a:lnTo>
                    <a:pt x="1992235" y="172403"/>
                  </a:lnTo>
                  <a:lnTo>
                    <a:pt x="1944734" y="172403"/>
                  </a:lnTo>
                  <a:lnTo>
                    <a:pt x="1872531" y="185833"/>
                  </a:lnTo>
                  <a:lnTo>
                    <a:pt x="1832631" y="211265"/>
                  </a:lnTo>
                  <a:lnTo>
                    <a:pt x="1785129" y="254222"/>
                  </a:lnTo>
                  <a:lnTo>
                    <a:pt x="1741713" y="260699"/>
                  </a:lnTo>
                  <a:cubicBezTo>
                    <a:pt x="1734977" y="266327"/>
                    <a:pt x="1728631" y="272405"/>
                    <a:pt x="1722712" y="278892"/>
                  </a:cubicBezTo>
                  <a:lnTo>
                    <a:pt x="1732213" y="299561"/>
                  </a:lnTo>
                  <a:lnTo>
                    <a:pt x="1729838" y="309086"/>
                  </a:lnTo>
                  <a:lnTo>
                    <a:pt x="1736298" y="314325"/>
                  </a:lnTo>
                  <a:lnTo>
                    <a:pt x="1741048" y="323850"/>
                  </a:lnTo>
                  <a:lnTo>
                    <a:pt x="1747508" y="333375"/>
                  </a:lnTo>
                  <a:lnTo>
                    <a:pt x="1771544" y="329851"/>
                  </a:lnTo>
                  <a:lnTo>
                    <a:pt x="1797385" y="315182"/>
                  </a:lnTo>
                  <a:lnTo>
                    <a:pt x="1817335" y="325755"/>
                  </a:lnTo>
                  <a:lnTo>
                    <a:pt x="1832631" y="352235"/>
                  </a:lnTo>
                  <a:lnTo>
                    <a:pt x="1835481" y="368141"/>
                  </a:lnTo>
                  <a:lnTo>
                    <a:pt x="1853721" y="371666"/>
                  </a:lnTo>
                  <a:lnTo>
                    <a:pt x="1866071" y="361093"/>
                  </a:lnTo>
                  <a:lnTo>
                    <a:pt x="1878992" y="358140"/>
                  </a:lnTo>
                  <a:lnTo>
                    <a:pt x="1886022" y="336899"/>
                  </a:lnTo>
                  <a:lnTo>
                    <a:pt x="1887162" y="320421"/>
                  </a:lnTo>
                  <a:lnTo>
                    <a:pt x="1904833" y="315182"/>
                  </a:lnTo>
                  <a:lnTo>
                    <a:pt x="1904833" y="304324"/>
                  </a:lnTo>
                  <a:lnTo>
                    <a:pt x="1898372" y="299656"/>
                  </a:lnTo>
                  <a:lnTo>
                    <a:pt x="1890107" y="294323"/>
                  </a:lnTo>
                  <a:lnTo>
                    <a:pt x="1887162" y="275273"/>
                  </a:lnTo>
                  <a:lnTo>
                    <a:pt x="1914048" y="258223"/>
                  </a:lnTo>
                  <a:cubicBezTo>
                    <a:pt x="1914048" y="258223"/>
                    <a:pt x="1928298" y="245269"/>
                    <a:pt x="1928298" y="242983"/>
                  </a:cubicBezTo>
                  <a:cubicBezTo>
                    <a:pt x="1928298" y="240697"/>
                    <a:pt x="1935328" y="232886"/>
                    <a:pt x="1935328" y="232886"/>
                  </a:cubicBezTo>
                  <a:cubicBezTo>
                    <a:pt x="1935328" y="232886"/>
                    <a:pt x="1946539" y="233553"/>
                    <a:pt x="1950054" y="234125"/>
                  </a:cubicBezTo>
                  <a:cubicBezTo>
                    <a:pt x="1953569" y="234696"/>
                    <a:pt x="1972284" y="241173"/>
                    <a:pt x="1972284" y="241173"/>
                  </a:cubicBezTo>
                  <a:lnTo>
                    <a:pt x="1979409" y="246507"/>
                  </a:lnTo>
                  <a:lnTo>
                    <a:pt x="1957654" y="257080"/>
                  </a:lnTo>
                  <a:lnTo>
                    <a:pt x="1944829" y="270034"/>
                  </a:lnTo>
                  <a:lnTo>
                    <a:pt x="1935328" y="276511"/>
                  </a:lnTo>
                  <a:lnTo>
                    <a:pt x="1944164" y="297085"/>
                  </a:lnTo>
                  <a:lnTo>
                    <a:pt x="1967059" y="308896"/>
                  </a:lnTo>
                  <a:lnTo>
                    <a:pt x="1987580" y="304705"/>
                  </a:lnTo>
                  <a:lnTo>
                    <a:pt x="2020166" y="303086"/>
                  </a:lnTo>
                  <a:cubicBezTo>
                    <a:pt x="2020166" y="303086"/>
                    <a:pt x="2057502" y="310610"/>
                    <a:pt x="2059212" y="311849"/>
                  </a:cubicBezTo>
                  <a:cubicBezTo>
                    <a:pt x="2060922" y="313087"/>
                    <a:pt x="2048476" y="317087"/>
                    <a:pt x="2048476" y="317087"/>
                  </a:cubicBezTo>
                  <a:lnTo>
                    <a:pt x="2033941" y="321183"/>
                  </a:lnTo>
                  <a:lnTo>
                    <a:pt x="2025771" y="326517"/>
                  </a:lnTo>
                  <a:lnTo>
                    <a:pt x="2011900" y="319469"/>
                  </a:lnTo>
                  <a:cubicBezTo>
                    <a:pt x="2006305" y="315543"/>
                    <a:pt x="1999721" y="313296"/>
                    <a:pt x="1992900" y="312992"/>
                  </a:cubicBezTo>
                  <a:cubicBezTo>
                    <a:pt x="1987152" y="314112"/>
                    <a:pt x="1981728" y="316521"/>
                    <a:pt x="1977034" y="320040"/>
                  </a:cubicBezTo>
                  <a:lnTo>
                    <a:pt x="1985870" y="333566"/>
                  </a:lnTo>
                  <a:lnTo>
                    <a:pt x="1998125" y="341852"/>
                  </a:lnTo>
                  <a:cubicBezTo>
                    <a:pt x="1998125" y="341852"/>
                    <a:pt x="1992900" y="357092"/>
                    <a:pt x="1989385" y="356521"/>
                  </a:cubicBezTo>
                  <a:cubicBezTo>
                    <a:pt x="1985870" y="355949"/>
                    <a:pt x="1979885" y="345377"/>
                    <a:pt x="1979885" y="345377"/>
                  </a:cubicBezTo>
                  <a:lnTo>
                    <a:pt x="1966299" y="340043"/>
                  </a:lnTo>
                  <a:lnTo>
                    <a:pt x="1957559" y="345377"/>
                  </a:lnTo>
                  <a:lnTo>
                    <a:pt x="1958699" y="358331"/>
                  </a:lnTo>
                  <a:lnTo>
                    <a:pt x="1954899" y="376619"/>
                  </a:lnTo>
                  <a:lnTo>
                    <a:pt x="1940268" y="386144"/>
                  </a:lnTo>
                  <a:lnTo>
                    <a:pt x="1929628" y="394430"/>
                  </a:lnTo>
                  <a:lnTo>
                    <a:pt x="1915568" y="386144"/>
                  </a:lnTo>
                  <a:lnTo>
                    <a:pt x="1897422" y="391478"/>
                  </a:lnTo>
                  <a:lnTo>
                    <a:pt x="1865691" y="389668"/>
                  </a:lnTo>
                  <a:lnTo>
                    <a:pt x="1858661" y="396145"/>
                  </a:lnTo>
                  <a:lnTo>
                    <a:pt x="1847451" y="391478"/>
                  </a:lnTo>
                  <a:cubicBezTo>
                    <a:pt x="1847451" y="391478"/>
                    <a:pt x="1819900" y="392621"/>
                    <a:pt x="1818095" y="393192"/>
                  </a:cubicBezTo>
                  <a:cubicBezTo>
                    <a:pt x="1811797" y="391068"/>
                    <a:pt x="1805716" y="388324"/>
                    <a:pt x="1799950" y="385001"/>
                  </a:cubicBezTo>
                  <a:lnTo>
                    <a:pt x="1792920" y="369094"/>
                  </a:lnTo>
                  <a:lnTo>
                    <a:pt x="1801660" y="358521"/>
                  </a:lnTo>
                  <a:lnTo>
                    <a:pt x="1797575" y="353759"/>
                  </a:lnTo>
                  <a:lnTo>
                    <a:pt x="1794060" y="344996"/>
                  </a:lnTo>
                  <a:lnTo>
                    <a:pt x="1799950" y="337852"/>
                  </a:lnTo>
                  <a:lnTo>
                    <a:pt x="1791114" y="335566"/>
                  </a:lnTo>
                  <a:lnTo>
                    <a:pt x="1776484" y="350234"/>
                  </a:lnTo>
                  <a:cubicBezTo>
                    <a:pt x="1776262" y="354965"/>
                    <a:pt x="1776041" y="359696"/>
                    <a:pt x="1775819" y="364427"/>
                  </a:cubicBezTo>
                  <a:cubicBezTo>
                    <a:pt x="1775819" y="364427"/>
                    <a:pt x="1783514" y="377952"/>
                    <a:pt x="1784084" y="379667"/>
                  </a:cubicBezTo>
                  <a:cubicBezTo>
                    <a:pt x="1784521" y="383779"/>
                    <a:pt x="1784711" y="387914"/>
                    <a:pt x="1784654" y="392049"/>
                  </a:cubicBezTo>
                  <a:lnTo>
                    <a:pt x="1770024" y="397955"/>
                  </a:lnTo>
                  <a:lnTo>
                    <a:pt x="1754158" y="402622"/>
                  </a:lnTo>
                  <a:lnTo>
                    <a:pt x="1757103" y="408527"/>
                  </a:lnTo>
                  <a:lnTo>
                    <a:pt x="1773539" y="411480"/>
                  </a:lnTo>
                  <a:lnTo>
                    <a:pt x="1768219" y="421005"/>
                  </a:lnTo>
                  <a:lnTo>
                    <a:pt x="1758719" y="421577"/>
                  </a:lnTo>
                  <a:lnTo>
                    <a:pt x="1754063" y="433388"/>
                  </a:lnTo>
                  <a:lnTo>
                    <a:pt x="1751118" y="439865"/>
                  </a:lnTo>
                  <a:lnTo>
                    <a:pt x="1738198" y="436340"/>
                  </a:lnTo>
                  <a:lnTo>
                    <a:pt x="1738768" y="428054"/>
                  </a:lnTo>
                  <a:lnTo>
                    <a:pt x="1739338" y="417481"/>
                  </a:lnTo>
                  <a:lnTo>
                    <a:pt x="1734113" y="412147"/>
                  </a:lnTo>
                  <a:lnTo>
                    <a:pt x="1726418" y="420434"/>
                  </a:lnTo>
                  <a:lnTo>
                    <a:pt x="1718247" y="431006"/>
                  </a:lnTo>
                  <a:lnTo>
                    <a:pt x="1699247" y="434531"/>
                  </a:lnTo>
                  <a:lnTo>
                    <a:pt x="1690412" y="441579"/>
                  </a:lnTo>
                  <a:lnTo>
                    <a:pt x="1684522" y="454533"/>
                  </a:lnTo>
                  <a:lnTo>
                    <a:pt x="1670461" y="461010"/>
                  </a:lnTo>
                  <a:lnTo>
                    <a:pt x="1659346" y="468059"/>
                  </a:lnTo>
                  <a:lnTo>
                    <a:pt x="1642245" y="459296"/>
                  </a:lnTo>
                  <a:lnTo>
                    <a:pt x="1639965" y="463391"/>
                  </a:lnTo>
                  <a:lnTo>
                    <a:pt x="1643480" y="472154"/>
                  </a:lnTo>
                  <a:lnTo>
                    <a:pt x="1639395" y="476917"/>
                  </a:lnTo>
                  <a:lnTo>
                    <a:pt x="1617070" y="475107"/>
                  </a:lnTo>
                  <a:lnTo>
                    <a:pt x="1604719" y="473393"/>
                  </a:lnTo>
                  <a:lnTo>
                    <a:pt x="1602914" y="489871"/>
                  </a:lnTo>
                  <a:lnTo>
                    <a:pt x="1624670" y="493395"/>
                  </a:lnTo>
                  <a:lnTo>
                    <a:pt x="1635215" y="502920"/>
                  </a:lnTo>
                  <a:cubicBezTo>
                    <a:pt x="1635215" y="502920"/>
                    <a:pt x="1643480" y="512921"/>
                    <a:pt x="1645190" y="512921"/>
                  </a:cubicBezTo>
                  <a:cubicBezTo>
                    <a:pt x="1646900" y="512921"/>
                    <a:pt x="1658776" y="515874"/>
                    <a:pt x="1658776" y="515874"/>
                  </a:cubicBezTo>
                  <a:lnTo>
                    <a:pt x="1654026" y="541782"/>
                  </a:lnTo>
                  <a:lnTo>
                    <a:pt x="1643480" y="565880"/>
                  </a:lnTo>
                  <a:lnTo>
                    <a:pt x="1599399" y="565309"/>
                  </a:lnTo>
                  <a:lnTo>
                    <a:pt x="1551328" y="564166"/>
                  </a:lnTo>
                  <a:lnTo>
                    <a:pt x="1536032" y="569976"/>
                  </a:lnTo>
                  <a:lnTo>
                    <a:pt x="1531282" y="583502"/>
                  </a:lnTo>
                  <a:lnTo>
                    <a:pt x="1535462" y="597694"/>
                  </a:lnTo>
                  <a:lnTo>
                    <a:pt x="1526912" y="624269"/>
                  </a:lnTo>
                  <a:lnTo>
                    <a:pt x="1523397" y="638461"/>
                  </a:lnTo>
                  <a:cubicBezTo>
                    <a:pt x="1523416" y="643299"/>
                    <a:pt x="1523958" y="648122"/>
                    <a:pt x="1525012" y="652844"/>
                  </a:cubicBezTo>
                  <a:cubicBezTo>
                    <a:pt x="1526247" y="654558"/>
                    <a:pt x="1533277" y="666941"/>
                    <a:pt x="1533277" y="666941"/>
                  </a:cubicBezTo>
                  <a:lnTo>
                    <a:pt x="1527957" y="686943"/>
                  </a:lnTo>
                  <a:lnTo>
                    <a:pt x="1543823" y="691706"/>
                  </a:lnTo>
                  <a:lnTo>
                    <a:pt x="1570233" y="693420"/>
                  </a:lnTo>
                  <a:lnTo>
                    <a:pt x="1584294" y="701135"/>
                  </a:lnTo>
                  <a:lnTo>
                    <a:pt x="1594934" y="702850"/>
                  </a:lnTo>
                  <a:lnTo>
                    <a:pt x="1612510" y="695230"/>
                  </a:lnTo>
                  <a:lnTo>
                    <a:pt x="1638920" y="691706"/>
                  </a:lnTo>
                  <a:lnTo>
                    <a:pt x="1663621" y="671036"/>
                  </a:lnTo>
                  <a:lnTo>
                    <a:pt x="1659536" y="645795"/>
                  </a:lnTo>
                  <a:lnTo>
                    <a:pt x="1674736" y="626745"/>
                  </a:lnTo>
                  <a:lnTo>
                    <a:pt x="1707037" y="606171"/>
                  </a:lnTo>
                  <a:lnTo>
                    <a:pt x="1721098" y="601409"/>
                  </a:lnTo>
                  <a:lnTo>
                    <a:pt x="1719387" y="580263"/>
                  </a:lnTo>
                  <a:lnTo>
                    <a:pt x="1738388" y="569024"/>
                  </a:lnTo>
                  <a:lnTo>
                    <a:pt x="1757388" y="575501"/>
                  </a:lnTo>
                  <a:lnTo>
                    <a:pt x="1770309" y="568452"/>
                  </a:lnTo>
                  <a:lnTo>
                    <a:pt x="1810020" y="556260"/>
                  </a:lnTo>
                  <a:lnTo>
                    <a:pt x="1849351" y="592836"/>
                  </a:lnTo>
                  <a:lnTo>
                    <a:pt x="1903313" y="629888"/>
                  </a:lnTo>
                  <a:cubicBezTo>
                    <a:pt x="1903313" y="629888"/>
                    <a:pt x="1914523" y="652272"/>
                    <a:pt x="1915093" y="653987"/>
                  </a:cubicBezTo>
                  <a:cubicBezTo>
                    <a:pt x="1912946" y="659405"/>
                    <a:pt x="1910172" y="664553"/>
                    <a:pt x="1906828" y="669322"/>
                  </a:cubicBezTo>
                  <a:lnTo>
                    <a:pt x="1876522" y="669322"/>
                  </a:lnTo>
                  <a:lnTo>
                    <a:pt x="1865121" y="671894"/>
                  </a:lnTo>
                  <a:cubicBezTo>
                    <a:pt x="1865121" y="671894"/>
                    <a:pt x="1868637" y="680657"/>
                    <a:pt x="1870917" y="680657"/>
                  </a:cubicBezTo>
                  <a:cubicBezTo>
                    <a:pt x="1873197" y="680657"/>
                    <a:pt x="1897422" y="691896"/>
                    <a:pt x="1897422" y="691896"/>
                  </a:cubicBezTo>
                  <a:lnTo>
                    <a:pt x="1905022" y="697802"/>
                  </a:lnTo>
                  <a:lnTo>
                    <a:pt x="1909108" y="696563"/>
                  </a:lnTo>
                  <a:lnTo>
                    <a:pt x="1908538" y="685419"/>
                  </a:lnTo>
                  <a:lnTo>
                    <a:pt x="1910913" y="674846"/>
                  </a:lnTo>
                  <a:lnTo>
                    <a:pt x="1919083" y="675989"/>
                  </a:lnTo>
                  <a:cubicBezTo>
                    <a:pt x="1922417" y="672357"/>
                    <a:pt x="1925372" y="668401"/>
                    <a:pt x="1927918" y="664178"/>
                  </a:cubicBezTo>
                  <a:cubicBezTo>
                    <a:pt x="1930379" y="658963"/>
                    <a:pt x="1933105" y="653877"/>
                    <a:pt x="1936088" y="648938"/>
                  </a:cubicBezTo>
                  <a:lnTo>
                    <a:pt x="1929628" y="636556"/>
                  </a:lnTo>
                  <a:lnTo>
                    <a:pt x="1933238" y="628269"/>
                  </a:lnTo>
                  <a:lnTo>
                    <a:pt x="1942739" y="629507"/>
                  </a:lnTo>
                  <a:lnTo>
                    <a:pt x="1943879" y="641794"/>
                  </a:lnTo>
                  <a:lnTo>
                    <a:pt x="1947394" y="641794"/>
                  </a:lnTo>
                  <a:lnTo>
                    <a:pt x="1946254" y="626555"/>
                  </a:lnTo>
                  <a:lnTo>
                    <a:pt x="1936753" y="620649"/>
                  </a:lnTo>
                  <a:lnTo>
                    <a:pt x="1924023" y="612172"/>
                  </a:lnTo>
                  <a:lnTo>
                    <a:pt x="1915188" y="599313"/>
                  </a:lnTo>
                  <a:lnTo>
                    <a:pt x="1899892" y="595122"/>
                  </a:lnTo>
                  <a:lnTo>
                    <a:pt x="1882317" y="582740"/>
                  </a:lnTo>
                  <a:lnTo>
                    <a:pt x="1878232" y="568643"/>
                  </a:lnTo>
                  <a:lnTo>
                    <a:pt x="1861796" y="560451"/>
                  </a:lnTo>
                  <a:lnTo>
                    <a:pt x="1857521" y="547497"/>
                  </a:lnTo>
                  <a:lnTo>
                    <a:pt x="1862271" y="533971"/>
                  </a:lnTo>
                  <a:lnTo>
                    <a:pt x="1872816" y="532162"/>
                  </a:lnTo>
                  <a:cubicBezTo>
                    <a:pt x="1873006" y="536480"/>
                    <a:pt x="1873197" y="540798"/>
                    <a:pt x="1873387" y="545116"/>
                  </a:cubicBezTo>
                  <a:lnTo>
                    <a:pt x="1883932" y="548640"/>
                  </a:lnTo>
                  <a:lnTo>
                    <a:pt x="1891057" y="544544"/>
                  </a:lnTo>
                  <a:lnTo>
                    <a:pt x="1901603" y="563594"/>
                  </a:lnTo>
                  <a:lnTo>
                    <a:pt x="1923263" y="575882"/>
                  </a:lnTo>
                  <a:lnTo>
                    <a:pt x="1940363" y="585407"/>
                  </a:lnTo>
                  <a:lnTo>
                    <a:pt x="1950909" y="586645"/>
                  </a:lnTo>
                  <a:lnTo>
                    <a:pt x="1968484" y="605695"/>
                  </a:lnTo>
                  <a:lnTo>
                    <a:pt x="1972664" y="630365"/>
                  </a:lnTo>
                  <a:lnTo>
                    <a:pt x="2005535" y="664559"/>
                  </a:lnTo>
                  <a:lnTo>
                    <a:pt x="2010190" y="688658"/>
                  </a:lnTo>
                  <a:lnTo>
                    <a:pt x="2033656" y="705136"/>
                  </a:lnTo>
                  <a:lnTo>
                    <a:pt x="2040116" y="699802"/>
                  </a:lnTo>
                  <a:lnTo>
                    <a:pt x="2036601" y="684562"/>
                  </a:lnTo>
                  <a:lnTo>
                    <a:pt x="2049521" y="677513"/>
                  </a:lnTo>
                  <a:lnTo>
                    <a:pt x="2045436" y="666845"/>
                  </a:lnTo>
                  <a:lnTo>
                    <a:pt x="2032421" y="662369"/>
                  </a:lnTo>
                  <a:lnTo>
                    <a:pt x="2027101" y="651796"/>
                  </a:lnTo>
                  <a:lnTo>
                    <a:pt x="2029476" y="634651"/>
                  </a:lnTo>
                  <a:lnTo>
                    <a:pt x="2021876" y="625888"/>
                  </a:lnTo>
                  <a:lnTo>
                    <a:pt x="2028906" y="627031"/>
                  </a:lnTo>
                  <a:lnTo>
                    <a:pt x="2034131" y="633508"/>
                  </a:lnTo>
                  <a:lnTo>
                    <a:pt x="2042396" y="622364"/>
                  </a:lnTo>
                  <a:lnTo>
                    <a:pt x="2056457" y="622935"/>
                  </a:lnTo>
                  <a:lnTo>
                    <a:pt x="2070612" y="628841"/>
                  </a:lnTo>
                  <a:lnTo>
                    <a:pt x="2081157" y="643319"/>
                  </a:lnTo>
                  <a:lnTo>
                    <a:pt x="2091703" y="659797"/>
                  </a:lnTo>
                  <a:cubicBezTo>
                    <a:pt x="2091703" y="659797"/>
                    <a:pt x="2084673" y="663893"/>
                    <a:pt x="2084102" y="665702"/>
                  </a:cubicBezTo>
                  <a:cubicBezTo>
                    <a:pt x="2085499" y="670258"/>
                    <a:pt x="2087475" y="674613"/>
                    <a:pt x="2089993" y="678656"/>
                  </a:cubicBezTo>
                  <a:lnTo>
                    <a:pt x="2103483" y="690944"/>
                  </a:lnTo>
                  <a:lnTo>
                    <a:pt x="2114028" y="705803"/>
                  </a:lnTo>
                  <a:lnTo>
                    <a:pt x="2135119" y="705231"/>
                  </a:lnTo>
                  <a:lnTo>
                    <a:pt x="2137494" y="714756"/>
                  </a:lnTo>
                  <a:lnTo>
                    <a:pt x="2152789" y="716471"/>
                  </a:lnTo>
                  <a:lnTo>
                    <a:pt x="2167420" y="712946"/>
                  </a:lnTo>
                  <a:lnTo>
                    <a:pt x="2171600" y="703421"/>
                  </a:lnTo>
                  <a:lnTo>
                    <a:pt x="2178060" y="712280"/>
                  </a:lnTo>
                  <a:lnTo>
                    <a:pt x="2195065" y="718185"/>
                  </a:lnTo>
                  <a:lnTo>
                    <a:pt x="2209696" y="717042"/>
                  </a:lnTo>
                  <a:lnTo>
                    <a:pt x="2222046" y="703421"/>
                  </a:lnTo>
                  <a:lnTo>
                    <a:pt x="2233162" y="708184"/>
                  </a:lnTo>
                  <a:lnTo>
                    <a:pt x="2241427" y="713423"/>
                  </a:lnTo>
                  <a:lnTo>
                    <a:pt x="2238482" y="725234"/>
                  </a:lnTo>
                  <a:lnTo>
                    <a:pt x="2245797" y="749427"/>
                  </a:lnTo>
                  <a:lnTo>
                    <a:pt x="2235157" y="773906"/>
                  </a:lnTo>
                  <a:lnTo>
                    <a:pt x="2235157" y="805910"/>
                  </a:lnTo>
                  <a:lnTo>
                    <a:pt x="2171030" y="805910"/>
                  </a:lnTo>
                  <a:lnTo>
                    <a:pt x="2146709" y="815435"/>
                  </a:lnTo>
                  <a:lnTo>
                    <a:pt x="2107283" y="795719"/>
                  </a:lnTo>
                  <a:lnTo>
                    <a:pt x="2081442" y="798767"/>
                  </a:lnTo>
                  <a:lnTo>
                    <a:pt x="2037266" y="782765"/>
                  </a:lnTo>
                  <a:lnTo>
                    <a:pt x="2002305" y="782765"/>
                  </a:lnTo>
                  <a:lnTo>
                    <a:pt x="1991665" y="792290"/>
                  </a:lnTo>
                  <a:lnTo>
                    <a:pt x="1997745" y="809054"/>
                  </a:lnTo>
                  <a:lnTo>
                    <a:pt x="1984065" y="822769"/>
                  </a:lnTo>
                  <a:lnTo>
                    <a:pt x="1949009" y="801434"/>
                  </a:lnTo>
                  <a:lnTo>
                    <a:pt x="1921648" y="804482"/>
                  </a:lnTo>
                  <a:lnTo>
                    <a:pt x="1911008" y="786194"/>
                  </a:lnTo>
                  <a:lnTo>
                    <a:pt x="1869871" y="774002"/>
                  </a:lnTo>
                  <a:lnTo>
                    <a:pt x="1841371" y="760190"/>
                  </a:lnTo>
                  <a:lnTo>
                    <a:pt x="1819520" y="749427"/>
                  </a:lnTo>
                  <a:lnTo>
                    <a:pt x="1845361" y="718947"/>
                  </a:lnTo>
                  <a:lnTo>
                    <a:pt x="1837761" y="693039"/>
                  </a:lnTo>
                  <a:lnTo>
                    <a:pt x="1819520" y="682276"/>
                  </a:lnTo>
                  <a:lnTo>
                    <a:pt x="1711407" y="694563"/>
                  </a:lnTo>
                  <a:lnTo>
                    <a:pt x="1668846" y="711327"/>
                  </a:lnTo>
                  <a:lnTo>
                    <a:pt x="1641390" y="712851"/>
                  </a:lnTo>
                  <a:lnTo>
                    <a:pt x="1612890" y="723519"/>
                  </a:lnTo>
                  <a:lnTo>
                    <a:pt x="1577929" y="715899"/>
                  </a:lnTo>
                  <a:lnTo>
                    <a:pt x="1555033" y="743331"/>
                  </a:lnTo>
                  <a:lnTo>
                    <a:pt x="1527672" y="761619"/>
                  </a:lnTo>
                  <a:lnTo>
                    <a:pt x="1502971" y="813530"/>
                  </a:lnTo>
                  <a:lnTo>
                    <a:pt x="1509432" y="836390"/>
                  </a:lnTo>
                  <a:lnTo>
                    <a:pt x="1477511" y="866966"/>
                  </a:lnTo>
                  <a:lnTo>
                    <a:pt x="1445590" y="879158"/>
                  </a:lnTo>
                  <a:lnTo>
                    <a:pt x="1430389" y="907733"/>
                  </a:lnTo>
                  <a:cubicBezTo>
                    <a:pt x="1430389" y="907733"/>
                    <a:pt x="1396854" y="982504"/>
                    <a:pt x="1393814" y="988600"/>
                  </a:cubicBezTo>
                  <a:cubicBezTo>
                    <a:pt x="1390773" y="994696"/>
                    <a:pt x="1393814" y="1032891"/>
                    <a:pt x="1393814" y="1032891"/>
                  </a:cubicBezTo>
                  <a:lnTo>
                    <a:pt x="1407494" y="1077087"/>
                  </a:lnTo>
                  <a:lnTo>
                    <a:pt x="1375573" y="1151858"/>
                  </a:lnTo>
                  <a:lnTo>
                    <a:pt x="1387733" y="1188530"/>
                  </a:lnTo>
                  <a:lnTo>
                    <a:pt x="1404454" y="1222058"/>
                  </a:lnTo>
                  <a:lnTo>
                    <a:pt x="1448630" y="1284637"/>
                  </a:lnTo>
                  <a:cubicBezTo>
                    <a:pt x="1448187" y="1295114"/>
                    <a:pt x="1447743" y="1305592"/>
                    <a:pt x="1447300" y="1316069"/>
                  </a:cubicBezTo>
                  <a:lnTo>
                    <a:pt x="1538312" y="1385507"/>
                  </a:lnTo>
                  <a:lnTo>
                    <a:pt x="1599304" y="1360932"/>
                  </a:lnTo>
                  <a:lnTo>
                    <a:pt x="1658016" y="1379601"/>
                  </a:lnTo>
                  <a:lnTo>
                    <a:pt x="1730978" y="1339977"/>
                  </a:lnTo>
                  <a:cubicBezTo>
                    <a:pt x="1730978" y="1339977"/>
                    <a:pt x="1755393" y="1339977"/>
                    <a:pt x="1762994" y="1353693"/>
                  </a:cubicBezTo>
                  <a:cubicBezTo>
                    <a:pt x="1770594" y="1367409"/>
                    <a:pt x="1775154" y="1379601"/>
                    <a:pt x="1802515" y="1379601"/>
                  </a:cubicBezTo>
                  <a:cubicBezTo>
                    <a:pt x="1829875" y="1379601"/>
                    <a:pt x="1843651" y="1410176"/>
                    <a:pt x="1843651" y="1410176"/>
                  </a:cubicBezTo>
                  <a:lnTo>
                    <a:pt x="1831491" y="1445228"/>
                  </a:lnTo>
                  <a:lnTo>
                    <a:pt x="1837571" y="1463516"/>
                  </a:lnTo>
                  <a:lnTo>
                    <a:pt x="1825410" y="1492091"/>
                  </a:lnTo>
                  <a:lnTo>
                    <a:pt x="1853911" y="1551527"/>
                  </a:lnTo>
                  <a:lnTo>
                    <a:pt x="1875192" y="1597343"/>
                  </a:lnTo>
                  <a:lnTo>
                    <a:pt x="1895047" y="1641634"/>
                  </a:lnTo>
                  <a:lnTo>
                    <a:pt x="1899607" y="1698022"/>
                  </a:lnTo>
                  <a:lnTo>
                    <a:pt x="1895047" y="1730121"/>
                  </a:lnTo>
                  <a:lnTo>
                    <a:pt x="1859991" y="1791176"/>
                  </a:lnTo>
                  <a:lnTo>
                    <a:pt x="1870632" y="1885760"/>
                  </a:lnTo>
                  <a:lnTo>
                    <a:pt x="1882792" y="1907095"/>
                  </a:lnTo>
                  <a:lnTo>
                    <a:pt x="1878232" y="1922336"/>
                  </a:lnTo>
                  <a:lnTo>
                    <a:pt x="1899607" y="1945291"/>
                  </a:lnTo>
                  <a:lnTo>
                    <a:pt x="1913288" y="1998631"/>
                  </a:lnTo>
                  <a:lnTo>
                    <a:pt x="1901127" y="2049018"/>
                  </a:lnTo>
                  <a:lnTo>
                    <a:pt x="1919368" y="2087118"/>
                  </a:lnTo>
                  <a:cubicBezTo>
                    <a:pt x="1919368" y="2087118"/>
                    <a:pt x="1936088" y="2128361"/>
                    <a:pt x="1937608" y="2132933"/>
                  </a:cubicBezTo>
                  <a:cubicBezTo>
                    <a:pt x="1939128" y="2137505"/>
                    <a:pt x="1949769" y="2152745"/>
                    <a:pt x="1948249" y="2160365"/>
                  </a:cubicBezTo>
                  <a:cubicBezTo>
                    <a:pt x="1946729" y="2167985"/>
                    <a:pt x="1942169" y="2187893"/>
                    <a:pt x="1942169" y="2187893"/>
                  </a:cubicBezTo>
                  <a:lnTo>
                    <a:pt x="1948249" y="2218373"/>
                  </a:lnTo>
                  <a:lnTo>
                    <a:pt x="2025866" y="2218373"/>
                  </a:lnTo>
                  <a:lnTo>
                    <a:pt x="2062442" y="2206181"/>
                  </a:lnTo>
                  <a:lnTo>
                    <a:pt x="2152219" y="2114645"/>
                  </a:lnTo>
                  <a:cubicBezTo>
                    <a:pt x="2160428" y="2104920"/>
                    <a:pt x="2168037" y="2094709"/>
                    <a:pt x="2175020" y="2084070"/>
                  </a:cubicBezTo>
                  <a:cubicBezTo>
                    <a:pt x="2176540" y="2079498"/>
                    <a:pt x="2188700" y="2023110"/>
                    <a:pt x="2188700" y="2023110"/>
                  </a:cubicBezTo>
                  <a:lnTo>
                    <a:pt x="2252637" y="1997107"/>
                  </a:lnTo>
                  <a:lnTo>
                    <a:pt x="2252637" y="1947291"/>
                  </a:lnTo>
                  <a:lnTo>
                    <a:pt x="2238957" y="1907572"/>
                  </a:lnTo>
                  <a:lnTo>
                    <a:pt x="2272398" y="1875568"/>
                  </a:lnTo>
                  <a:lnTo>
                    <a:pt x="2362270" y="1823657"/>
                  </a:lnTo>
                  <a:lnTo>
                    <a:pt x="2369870" y="1783937"/>
                  </a:lnTo>
                  <a:lnTo>
                    <a:pt x="2369870" y="1715357"/>
                  </a:lnTo>
                  <a:lnTo>
                    <a:pt x="2353055" y="1663446"/>
                  </a:lnTo>
                  <a:lnTo>
                    <a:pt x="2357615" y="1631442"/>
                  </a:lnTo>
                  <a:lnTo>
                    <a:pt x="2342035" y="1617631"/>
                  </a:lnTo>
                  <a:lnTo>
                    <a:pt x="2371010" y="1574959"/>
                  </a:lnTo>
                  <a:lnTo>
                    <a:pt x="2381651" y="1518476"/>
                  </a:lnTo>
                  <a:lnTo>
                    <a:pt x="2424212" y="1492568"/>
                  </a:lnTo>
                  <a:lnTo>
                    <a:pt x="2433712" y="1466564"/>
                  </a:lnTo>
                  <a:lnTo>
                    <a:pt x="2511329" y="1385888"/>
                  </a:lnTo>
                  <a:lnTo>
                    <a:pt x="2535745" y="1309116"/>
                  </a:lnTo>
                  <a:lnTo>
                    <a:pt x="2558546" y="1266730"/>
                  </a:lnTo>
                  <a:lnTo>
                    <a:pt x="2558546" y="1220915"/>
                  </a:lnTo>
                  <a:lnTo>
                    <a:pt x="2537265" y="1213295"/>
                  </a:lnTo>
                  <a:lnTo>
                    <a:pt x="2512849" y="1233107"/>
                  </a:lnTo>
                  <a:lnTo>
                    <a:pt x="2479408" y="1236155"/>
                  </a:lnTo>
                  <a:lnTo>
                    <a:pt x="2444447" y="1245680"/>
                  </a:lnTo>
                  <a:lnTo>
                    <a:pt x="2415472" y="1227296"/>
                  </a:lnTo>
                  <a:lnTo>
                    <a:pt x="2418511" y="1204436"/>
                  </a:lnTo>
                  <a:lnTo>
                    <a:pt x="2382031" y="1163288"/>
                  </a:lnTo>
                  <a:lnTo>
                    <a:pt x="2345454" y="1141857"/>
                  </a:lnTo>
                  <a:lnTo>
                    <a:pt x="2328734" y="1086993"/>
                  </a:lnTo>
                  <a:lnTo>
                    <a:pt x="2293013" y="1052894"/>
                  </a:lnTo>
                  <a:lnTo>
                    <a:pt x="2289973" y="1010221"/>
                  </a:lnTo>
                  <a:lnTo>
                    <a:pt x="2264037" y="972121"/>
                  </a:lnTo>
                  <a:lnTo>
                    <a:pt x="2232116" y="900494"/>
                  </a:lnTo>
                  <a:lnTo>
                    <a:pt x="2198581" y="866966"/>
                  </a:lnTo>
                  <a:lnTo>
                    <a:pt x="2195540" y="839438"/>
                  </a:lnTo>
                  <a:lnTo>
                    <a:pt x="2209316" y="845630"/>
                  </a:lnTo>
                  <a:lnTo>
                    <a:pt x="2224516" y="857821"/>
                  </a:lnTo>
                  <a:lnTo>
                    <a:pt x="2230596" y="880682"/>
                  </a:lnTo>
                  <a:cubicBezTo>
                    <a:pt x="2242757" y="880682"/>
                    <a:pt x="2247317" y="857821"/>
                    <a:pt x="2247317" y="857821"/>
                  </a:cubicBezTo>
                  <a:lnTo>
                    <a:pt x="2257957" y="880682"/>
                  </a:lnTo>
                  <a:lnTo>
                    <a:pt x="2268597" y="909257"/>
                  </a:lnTo>
                  <a:lnTo>
                    <a:pt x="2302133" y="959644"/>
                  </a:lnTo>
                  <a:lnTo>
                    <a:pt x="2320374" y="962692"/>
                  </a:lnTo>
                  <a:lnTo>
                    <a:pt x="2341654" y="1006983"/>
                  </a:lnTo>
                  <a:lnTo>
                    <a:pt x="2340134" y="1026795"/>
                  </a:lnTo>
                  <a:lnTo>
                    <a:pt x="2401031" y="1089374"/>
                  </a:lnTo>
                  <a:lnTo>
                    <a:pt x="2411671" y="1147286"/>
                  </a:lnTo>
                  <a:lnTo>
                    <a:pt x="2422312" y="1173290"/>
                  </a:lnTo>
                  <a:lnTo>
                    <a:pt x="2442167" y="1193102"/>
                  </a:lnTo>
                  <a:lnTo>
                    <a:pt x="2533465" y="1168718"/>
                  </a:lnTo>
                  <a:lnTo>
                    <a:pt x="2550185" y="1153382"/>
                  </a:lnTo>
                  <a:lnTo>
                    <a:pt x="2589706" y="1141190"/>
                  </a:lnTo>
                  <a:lnTo>
                    <a:pt x="2589706" y="1122902"/>
                  </a:lnTo>
                  <a:lnTo>
                    <a:pt x="2635403" y="1092422"/>
                  </a:lnTo>
                  <a:lnTo>
                    <a:pt x="2654403" y="1056989"/>
                  </a:lnTo>
                  <a:lnTo>
                    <a:pt x="2665423" y="1038987"/>
                  </a:lnTo>
                  <a:lnTo>
                    <a:pt x="2680719" y="1017651"/>
                  </a:lnTo>
                  <a:lnTo>
                    <a:pt x="2655543" y="982885"/>
                  </a:lnTo>
                  <a:lnTo>
                    <a:pt x="2620392" y="953071"/>
                  </a:lnTo>
                  <a:lnTo>
                    <a:pt x="2609182" y="924496"/>
                  </a:lnTo>
                  <a:lnTo>
                    <a:pt x="2596262" y="927544"/>
                  </a:lnTo>
                  <a:lnTo>
                    <a:pt x="2586761" y="954977"/>
                  </a:lnTo>
                  <a:lnTo>
                    <a:pt x="2551800" y="964502"/>
                  </a:lnTo>
                  <a:lnTo>
                    <a:pt x="2533560" y="952310"/>
                  </a:lnTo>
                  <a:lnTo>
                    <a:pt x="2527479" y="926402"/>
                  </a:lnTo>
                  <a:lnTo>
                    <a:pt x="2515319" y="929450"/>
                  </a:lnTo>
                  <a:lnTo>
                    <a:pt x="2496984" y="895826"/>
                  </a:lnTo>
                  <a:lnTo>
                    <a:pt x="2480263" y="886301"/>
                  </a:lnTo>
                  <a:lnTo>
                    <a:pt x="2458983" y="851249"/>
                  </a:lnTo>
                  <a:lnTo>
                    <a:pt x="2474183" y="834390"/>
                  </a:lnTo>
                  <a:lnTo>
                    <a:pt x="2524534" y="876110"/>
                  </a:lnTo>
                  <a:close/>
                  <a:moveTo>
                    <a:pt x="1812015" y="651510"/>
                  </a:moveTo>
                  <a:lnTo>
                    <a:pt x="1815245" y="636937"/>
                  </a:lnTo>
                  <a:lnTo>
                    <a:pt x="1815245" y="615982"/>
                  </a:lnTo>
                  <a:cubicBezTo>
                    <a:pt x="1811948" y="613046"/>
                    <a:pt x="1807901" y="611098"/>
                    <a:pt x="1803560" y="610362"/>
                  </a:cubicBezTo>
                  <a:cubicBezTo>
                    <a:pt x="1800444" y="610367"/>
                    <a:pt x="1797432" y="611519"/>
                    <a:pt x="1795104" y="613601"/>
                  </a:cubicBezTo>
                  <a:lnTo>
                    <a:pt x="1795104" y="636937"/>
                  </a:lnTo>
                  <a:cubicBezTo>
                    <a:pt x="1795921" y="641759"/>
                    <a:pt x="1795921" y="646688"/>
                    <a:pt x="1795104" y="651510"/>
                  </a:cubicBezTo>
                  <a:lnTo>
                    <a:pt x="1812015" y="651510"/>
                  </a:lnTo>
                  <a:close/>
                  <a:moveTo>
                    <a:pt x="1812015" y="588550"/>
                  </a:moveTo>
                  <a:cubicBezTo>
                    <a:pt x="1812642" y="583327"/>
                    <a:pt x="1808927" y="578583"/>
                    <a:pt x="1803721" y="577954"/>
                  </a:cubicBezTo>
                  <a:cubicBezTo>
                    <a:pt x="1802714" y="577832"/>
                    <a:pt x="1801698" y="577872"/>
                    <a:pt x="1800710" y="578072"/>
                  </a:cubicBezTo>
                  <a:lnTo>
                    <a:pt x="1795104" y="594169"/>
                  </a:lnTo>
                  <a:lnTo>
                    <a:pt x="1800710" y="606266"/>
                  </a:lnTo>
                  <a:lnTo>
                    <a:pt x="1812015" y="606266"/>
                  </a:lnTo>
                  <a:lnTo>
                    <a:pt x="1812015" y="588550"/>
                  </a:lnTo>
                  <a:close/>
                  <a:moveTo>
                    <a:pt x="1396854" y="171926"/>
                  </a:moveTo>
                  <a:lnTo>
                    <a:pt x="1453855" y="171926"/>
                  </a:lnTo>
                  <a:lnTo>
                    <a:pt x="1484921" y="127063"/>
                  </a:lnTo>
                  <a:lnTo>
                    <a:pt x="1556458" y="127063"/>
                  </a:lnTo>
                  <a:lnTo>
                    <a:pt x="1567953" y="98488"/>
                  </a:lnTo>
                  <a:lnTo>
                    <a:pt x="1611939" y="75152"/>
                  </a:lnTo>
                  <a:cubicBezTo>
                    <a:pt x="1632745" y="56960"/>
                    <a:pt x="1611939" y="24003"/>
                    <a:pt x="1611939" y="24003"/>
                  </a:cubicBezTo>
                  <a:lnTo>
                    <a:pt x="1522257" y="12764"/>
                  </a:lnTo>
                  <a:lnTo>
                    <a:pt x="1433145" y="24194"/>
                  </a:lnTo>
                  <a:lnTo>
                    <a:pt x="1303561" y="0"/>
                  </a:lnTo>
                  <a:lnTo>
                    <a:pt x="1223664" y="36385"/>
                  </a:lnTo>
                  <a:cubicBezTo>
                    <a:pt x="1223664" y="36385"/>
                    <a:pt x="1166187" y="67532"/>
                    <a:pt x="1158397" y="64961"/>
                  </a:cubicBezTo>
                  <a:cubicBezTo>
                    <a:pt x="1142874" y="63646"/>
                    <a:pt x="1127274" y="63646"/>
                    <a:pt x="1111751" y="64961"/>
                  </a:cubicBezTo>
                  <a:cubicBezTo>
                    <a:pt x="1111751" y="64961"/>
                    <a:pt x="1140252" y="90869"/>
                    <a:pt x="1153172" y="93536"/>
                  </a:cubicBezTo>
                  <a:cubicBezTo>
                    <a:pt x="1162615" y="94992"/>
                    <a:pt x="1172229" y="94992"/>
                    <a:pt x="1181673" y="93536"/>
                  </a:cubicBezTo>
                  <a:cubicBezTo>
                    <a:pt x="1181673" y="93536"/>
                    <a:pt x="1181673" y="118872"/>
                    <a:pt x="1186898" y="124682"/>
                  </a:cubicBezTo>
                  <a:cubicBezTo>
                    <a:pt x="1205043" y="145542"/>
                    <a:pt x="1167897" y="161068"/>
                    <a:pt x="1167897" y="161068"/>
                  </a:cubicBezTo>
                  <a:lnTo>
                    <a:pt x="1167897" y="185642"/>
                  </a:lnTo>
                  <a:cubicBezTo>
                    <a:pt x="1167897" y="185642"/>
                    <a:pt x="1171982" y="232029"/>
                    <a:pt x="1179678" y="229933"/>
                  </a:cubicBezTo>
                  <a:cubicBezTo>
                    <a:pt x="1187373" y="227838"/>
                    <a:pt x="1200008" y="254603"/>
                    <a:pt x="1200008" y="254603"/>
                  </a:cubicBezTo>
                  <a:lnTo>
                    <a:pt x="1223854" y="280606"/>
                  </a:lnTo>
                  <a:lnTo>
                    <a:pt x="1267460" y="280606"/>
                  </a:lnTo>
                  <a:lnTo>
                    <a:pt x="1321897" y="215646"/>
                  </a:lnTo>
                  <a:lnTo>
                    <a:pt x="1375478" y="192310"/>
                  </a:lnTo>
                  <a:lnTo>
                    <a:pt x="1396854" y="171926"/>
                  </a:lnTo>
                  <a:close/>
                  <a:moveTo>
                    <a:pt x="2516459" y="1725835"/>
                  </a:moveTo>
                  <a:lnTo>
                    <a:pt x="2509429" y="1706785"/>
                  </a:lnTo>
                  <a:lnTo>
                    <a:pt x="2501354" y="1714786"/>
                  </a:lnTo>
                  <a:lnTo>
                    <a:pt x="2494324" y="1730978"/>
                  </a:lnTo>
                  <a:lnTo>
                    <a:pt x="2478268" y="1740503"/>
                  </a:lnTo>
                  <a:lnTo>
                    <a:pt x="2471238" y="1761744"/>
                  </a:lnTo>
                  <a:lnTo>
                    <a:pt x="2461168" y="1786890"/>
                  </a:lnTo>
                  <a:lnTo>
                    <a:pt x="2421932" y="1798987"/>
                  </a:lnTo>
                  <a:lnTo>
                    <a:pt x="2404831" y="1828229"/>
                  </a:lnTo>
                  <a:lnTo>
                    <a:pt x="2400841" y="1876616"/>
                  </a:lnTo>
                  <a:lnTo>
                    <a:pt x="2386781" y="1900619"/>
                  </a:lnTo>
                  <a:lnTo>
                    <a:pt x="2370725" y="1917764"/>
                  </a:lnTo>
                  <a:lnTo>
                    <a:pt x="2376710" y="1946339"/>
                  </a:lnTo>
                  <a:lnTo>
                    <a:pt x="2387826" y="1959483"/>
                  </a:lnTo>
                  <a:lnTo>
                    <a:pt x="2376710" y="1974533"/>
                  </a:lnTo>
                  <a:lnTo>
                    <a:pt x="2387826" y="1984058"/>
                  </a:lnTo>
                  <a:lnTo>
                    <a:pt x="2424972" y="1984058"/>
                  </a:lnTo>
                  <a:lnTo>
                    <a:pt x="2446062" y="1952816"/>
                  </a:lnTo>
                  <a:cubicBezTo>
                    <a:pt x="2446062" y="1952816"/>
                    <a:pt x="2463163" y="1916525"/>
                    <a:pt x="2463163" y="1913477"/>
                  </a:cubicBezTo>
                  <a:cubicBezTo>
                    <a:pt x="2463163" y="1910429"/>
                    <a:pt x="2471238" y="1877187"/>
                    <a:pt x="2471238" y="1877187"/>
                  </a:cubicBezTo>
                  <a:lnTo>
                    <a:pt x="2500309" y="1839087"/>
                  </a:lnTo>
                  <a:lnTo>
                    <a:pt x="2500309" y="1786319"/>
                  </a:lnTo>
                  <a:lnTo>
                    <a:pt x="2520449" y="1786319"/>
                  </a:lnTo>
                  <a:lnTo>
                    <a:pt x="2514464" y="1748981"/>
                  </a:lnTo>
                  <a:lnTo>
                    <a:pt x="2516459" y="1725835"/>
                  </a:lnTo>
                  <a:close/>
                  <a:moveTo>
                    <a:pt x="487109" y="952881"/>
                  </a:moveTo>
                  <a:lnTo>
                    <a:pt x="443027" y="937832"/>
                  </a:lnTo>
                  <a:cubicBezTo>
                    <a:pt x="443027" y="937832"/>
                    <a:pt x="430772" y="939546"/>
                    <a:pt x="416427" y="942975"/>
                  </a:cubicBezTo>
                  <a:cubicBezTo>
                    <a:pt x="405872" y="945099"/>
                    <a:pt x="395564" y="948290"/>
                    <a:pt x="385646" y="952500"/>
                  </a:cubicBezTo>
                  <a:lnTo>
                    <a:pt x="448158" y="973836"/>
                  </a:lnTo>
                  <a:lnTo>
                    <a:pt x="473428" y="973836"/>
                  </a:lnTo>
                  <a:lnTo>
                    <a:pt x="515609" y="1010221"/>
                  </a:lnTo>
                  <a:lnTo>
                    <a:pt x="544110" y="1010221"/>
                  </a:lnTo>
                  <a:cubicBezTo>
                    <a:pt x="544110" y="1010221"/>
                    <a:pt x="567386" y="999839"/>
                    <a:pt x="559596" y="981646"/>
                  </a:cubicBezTo>
                  <a:lnTo>
                    <a:pt x="523400" y="968597"/>
                  </a:lnTo>
                  <a:lnTo>
                    <a:pt x="487109" y="95288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3918;p38">
              <a:extLst>
                <a:ext uri="{FF2B5EF4-FFF2-40B4-BE49-F238E27FC236}">
                  <a16:creationId xmlns:a16="http://schemas.microsoft.com/office/drawing/2014/main" id="{012BB929-ACA3-45F1-91E0-917E2B961673}"/>
                </a:ext>
              </a:extLst>
            </p:cNvPr>
            <p:cNvSpPr/>
            <p:nvPr/>
          </p:nvSpPr>
          <p:spPr>
            <a:xfrm>
              <a:off x="2963026" y="773963"/>
              <a:ext cx="2815611" cy="2175092"/>
            </a:xfrm>
            <a:custGeom>
              <a:avLst/>
              <a:gdLst/>
              <a:ahLst/>
              <a:cxnLst/>
              <a:rect l="l" t="t" r="r" b="b"/>
              <a:pathLst>
                <a:path w="2815611" h="2175092" extrusionOk="0">
                  <a:moveTo>
                    <a:pt x="1577728" y="1854137"/>
                  </a:moveTo>
                  <a:cubicBezTo>
                    <a:pt x="783307" y="1853603"/>
                    <a:pt x="139725" y="1207484"/>
                    <a:pt x="140258" y="410994"/>
                  </a:cubicBezTo>
                  <a:cubicBezTo>
                    <a:pt x="140350" y="271815"/>
                    <a:pt x="160537" y="133380"/>
                    <a:pt x="200190" y="0"/>
                  </a:cubicBezTo>
                  <a:cubicBezTo>
                    <a:pt x="-203778" y="685400"/>
                    <a:pt x="22925" y="1569358"/>
                    <a:pt x="706545" y="1974380"/>
                  </a:cubicBezTo>
                  <a:cubicBezTo>
                    <a:pt x="1390164" y="2379402"/>
                    <a:pt x="2271836" y="2152107"/>
                    <a:pt x="2675797" y="1466707"/>
                  </a:cubicBezTo>
                  <a:cubicBezTo>
                    <a:pt x="2735230" y="1365885"/>
                    <a:pt x="2782181" y="1258167"/>
                    <a:pt x="2815612" y="1145953"/>
                  </a:cubicBezTo>
                  <a:cubicBezTo>
                    <a:pt x="2557081" y="1585036"/>
                    <a:pt x="2086286" y="1854375"/>
                    <a:pt x="1577728" y="1854137"/>
                  </a:cubicBezTo>
                  <a:close/>
                </a:path>
              </a:pathLst>
            </a:custGeom>
            <a:solidFill>
              <a:srgbClr val="000000">
                <a:alpha val="47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3919;p38">
              <a:extLst>
                <a:ext uri="{FF2B5EF4-FFF2-40B4-BE49-F238E27FC236}">
                  <a16:creationId xmlns:a16="http://schemas.microsoft.com/office/drawing/2014/main" id="{01D9E0C1-6BDE-49A3-B73F-A0DAB79A6A6A}"/>
                </a:ext>
              </a:extLst>
            </p:cNvPr>
            <p:cNvSpPr/>
            <p:nvPr/>
          </p:nvSpPr>
          <p:spPr>
            <a:xfrm>
              <a:off x="2183550" y="4458424"/>
              <a:ext cx="644687" cy="369950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3920;p38">
              <a:extLst>
                <a:ext uri="{FF2B5EF4-FFF2-40B4-BE49-F238E27FC236}">
                  <a16:creationId xmlns:a16="http://schemas.microsoft.com/office/drawing/2014/main" id="{5F98D8AF-9243-4E0D-9539-72AB456D1CED}"/>
                </a:ext>
              </a:extLst>
            </p:cNvPr>
            <p:cNvSpPr/>
            <p:nvPr/>
          </p:nvSpPr>
          <p:spPr>
            <a:xfrm>
              <a:off x="2233331" y="4282211"/>
              <a:ext cx="427701" cy="247554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3921;p38">
              <a:extLst>
                <a:ext uri="{FF2B5EF4-FFF2-40B4-BE49-F238E27FC236}">
                  <a16:creationId xmlns:a16="http://schemas.microsoft.com/office/drawing/2014/main" id="{D072C70A-381B-4CFC-8B61-95D206FEFF32}"/>
                </a:ext>
              </a:extLst>
            </p:cNvPr>
            <p:cNvSpPr/>
            <p:nvPr/>
          </p:nvSpPr>
          <p:spPr>
            <a:xfrm>
              <a:off x="2233331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3922;p38">
              <a:extLst>
                <a:ext uri="{FF2B5EF4-FFF2-40B4-BE49-F238E27FC236}">
                  <a16:creationId xmlns:a16="http://schemas.microsoft.com/office/drawing/2014/main" id="{D70D0BE7-915A-4622-AD4F-1996915C405A}"/>
                </a:ext>
              </a:extLst>
            </p:cNvPr>
            <p:cNvSpPr/>
            <p:nvPr/>
          </p:nvSpPr>
          <p:spPr>
            <a:xfrm>
              <a:off x="2447182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3923;p38">
              <a:extLst>
                <a:ext uri="{FF2B5EF4-FFF2-40B4-BE49-F238E27FC236}">
                  <a16:creationId xmlns:a16="http://schemas.microsoft.com/office/drawing/2014/main" id="{14A42E3C-9AFE-4333-8F54-47FFE978AF49}"/>
                </a:ext>
              </a:extLst>
            </p:cNvPr>
            <p:cNvSpPr/>
            <p:nvPr/>
          </p:nvSpPr>
          <p:spPr>
            <a:xfrm>
              <a:off x="2726476" y="4553957"/>
              <a:ext cx="159649" cy="89989"/>
            </a:xfrm>
            <a:custGeom>
              <a:avLst/>
              <a:gdLst/>
              <a:ahLst/>
              <a:cxnLst/>
              <a:rect l="l" t="t" r="r" b="b"/>
              <a:pathLst>
                <a:path w="159649" h="89989" extrusionOk="0">
                  <a:moveTo>
                    <a:pt x="8089" y="21720"/>
                  </a:moveTo>
                  <a:cubicBezTo>
                    <a:pt x="26619" y="26806"/>
                    <a:pt x="46400" y="24415"/>
                    <a:pt x="63190" y="15052"/>
                  </a:cubicBezTo>
                  <a:cubicBezTo>
                    <a:pt x="76395" y="15052"/>
                    <a:pt x="148692" y="-15523"/>
                    <a:pt x="158193" y="10480"/>
                  </a:cubicBezTo>
                  <a:cubicBezTo>
                    <a:pt x="166743" y="33150"/>
                    <a:pt x="135582" y="54200"/>
                    <a:pt x="118862" y="58105"/>
                  </a:cubicBezTo>
                  <a:cubicBezTo>
                    <a:pt x="82476" y="66963"/>
                    <a:pt x="55590" y="85156"/>
                    <a:pt x="40959" y="88204"/>
                  </a:cubicBezTo>
                  <a:cubicBezTo>
                    <a:pt x="30034" y="90490"/>
                    <a:pt x="15974" y="92014"/>
                    <a:pt x="7329" y="83442"/>
                  </a:cubicBezTo>
                  <a:cubicBezTo>
                    <a:pt x="-3027" y="73345"/>
                    <a:pt x="-2077" y="35245"/>
                    <a:pt x="8089" y="2172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3924;p38">
              <a:extLst>
                <a:ext uri="{FF2B5EF4-FFF2-40B4-BE49-F238E27FC236}">
                  <a16:creationId xmlns:a16="http://schemas.microsoft.com/office/drawing/2014/main" id="{D0C6C0D0-C281-4EAD-9057-E05C199BD0D7}"/>
                </a:ext>
              </a:extLst>
            </p:cNvPr>
            <p:cNvSpPr/>
            <p:nvPr/>
          </p:nvSpPr>
          <p:spPr>
            <a:xfrm>
              <a:off x="2729149" y="4569009"/>
              <a:ext cx="157010" cy="75128"/>
            </a:xfrm>
            <a:custGeom>
              <a:avLst/>
              <a:gdLst/>
              <a:ahLst/>
              <a:cxnLst/>
              <a:rect l="l" t="t" r="r" b="b"/>
              <a:pathLst>
                <a:path w="157010" h="75128" extrusionOk="0">
                  <a:moveTo>
                    <a:pt x="38381" y="67056"/>
                  </a:moveTo>
                  <a:cubicBezTo>
                    <a:pt x="53011" y="63913"/>
                    <a:pt x="79897" y="45815"/>
                    <a:pt x="116283" y="36957"/>
                  </a:cubicBezTo>
                  <a:cubicBezTo>
                    <a:pt x="130249" y="33528"/>
                    <a:pt x="154284" y="17907"/>
                    <a:pt x="156754" y="0"/>
                  </a:cubicBezTo>
                  <a:cubicBezTo>
                    <a:pt x="159984" y="20860"/>
                    <a:pt x="131864" y="39434"/>
                    <a:pt x="116283" y="43244"/>
                  </a:cubicBezTo>
                  <a:cubicBezTo>
                    <a:pt x="79897" y="52102"/>
                    <a:pt x="53011" y="70295"/>
                    <a:pt x="38381" y="73343"/>
                  </a:cubicBezTo>
                  <a:cubicBezTo>
                    <a:pt x="27456" y="75629"/>
                    <a:pt x="13395" y="77153"/>
                    <a:pt x="4750" y="68580"/>
                  </a:cubicBezTo>
                  <a:cubicBezTo>
                    <a:pt x="2496" y="66075"/>
                    <a:pt x="867" y="63075"/>
                    <a:pt x="0" y="59817"/>
                  </a:cubicBezTo>
                  <a:cubicBezTo>
                    <a:pt x="10928" y="68189"/>
                    <a:pt x="25166" y="70876"/>
                    <a:pt x="38381" y="67056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3925;p38">
              <a:extLst>
                <a:ext uri="{FF2B5EF4-FFF2-40B4-BE49-F238E27FC236}">
                  <a16:creationId xmlns:a16="http://schemas.microsoft.com/office/drawing/2014/main" id="{EDE6D66E-4A4B-4506-802F-DAEABAB493C7}"/>
                </a:ext>
              </a:extLst>
            </p:cNvPr>
            <p:cNvSpPr/>
            <p:nvPr/>
          </p:nvSpPr>
          <p:spPr>
            <a:xfrm>
              <a:off x="2596621" y="4484615"/>
              <a:ext cx="159662" cy="89989"/>
            </a:xfrm>
            <a:custGeom>
              <a:avLst/>
              <a:gdLst/>
              <a:ahLst/>
              <a:cxnLst/>
              <a:rect l="l" t="t" r="r" b="b"/>
              <a:pathLst>
                <a:path w="159662" h="89989" extrusionOk="0">
                  <a:moveTo>
                    <a:pt x="8075" y="21720"/>
                  </a:moveTo>
                  <a:cubicBezTo>
                    <a:pt x="26602" y="26863"/>
                    <a:pt x="46403" y="24463"/>
                    <a:pt x="63177" y="15052"/>
                  </a:cubicBezTo>
                  <a:cubicBezTo>
                    <a:pt x="76382" y="15052"/>
                    <a:pt x="148679" y="-15523"/>
                    <a:pt x="158179" y="10480"/>
                  </a:cubicBezTo>
                  <a:cubicBezTo>
                    <a:pt x="166825" y="33245"/>
                    <a:pt x="135569" y="54295"/>
                    <a:pt x="118943" y="58105"/>
                  </a:cubicBezTo>
                  <a:cubicBezTo>
                    <a:pt x="82557" y="66963"/>
                    <a:pt x="55672" y="85156"/>
                    <a:pt x="41041" y="88204"/>
                  </a:cubicBezTo>
                  <a:cubicBezTo>
                    <a:pt x="30116" y="90490"/>
                    <a:pt x="16055" y="92014"/>
                    <a:pt x="7410" y="83442"/>
                  </a:cubicBezTo>
                  <a:cubicBezTo>
                    <a:pt x="-3040" y="73345"/>
                    <a:pt x="-2090" y="35245"/>
                    <a:pt x="8075" y="2172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3926;p38">
              <a:extLst>
                <a:ext uri="{FF2B5EF4-FFF2-40B4-BE49-F238E27FC236}">
                  <a16:creationId xmlns:a16="http://schemas.microsoft.com/office/drawing/2014/main" id="{1AD273CD-0E27-495B-80EA-D401478CF2BB}"/>
                </a:ext>
              </a:extLst>
            </p:cNvPr>
            <p:cNvSpPr/>
            <p:nvPr/>
          </p:nvSpPr>
          <p:spPr>
            <a:xfrm>
              <a:off x="2599186" y="4499667"/>
              <a:ext cx="157105" cy="75128"/>
            </a:xfrm>
            <a:custGeom>
              <a:avLst/>
              <a:gdLst/>
              <a:ahLst/>
              <a:cxnLst/>
              <a:rect l="l" t="t" r="r" b="b"/>
              <a:pathLst>
                <a:path w="157105" h="75128" extrusionOk="0">
                  <a:moveTo>
                    <a:pt x="38476" y="67056"/>
                  </a:moveTo>
                  <a:cubicBezTo>
                    <a:pt x="53106" y="64008"/>
                    <a:pt x="79992" y="45815"/>
                    <a:pt x="116378" y="36957"/>
                  </a:cubicBezTo>
                  <a:cubicBezTo>
                    <a:pt x="130344" y="33528"/>
                    <a:pt x="154379" y="17907"/>
                    <a:pt x="156849" y="0"/>
                  </a:cubicBezTo>
                  <a:cubicBezTo>
                    <a:pt x="160079" y="20955"/>
                    <a:pt x="131959" y="39434"/>
                    <a:pt x="116378" y="43244"/>
                  </a:cubicBezTo>
                  <a:cubicBezTo>
                    <a:pt x="79992" y="52102"/>
                    <a:pt x="53106" y="70295"/>
                    <a:pt x="38476" y="73343"/>
                  </a:cubicBezTo>
                  <a:cubicBezTo>
                    <a:pt x="27551" y="75629"/>
                    <a:pt x="13490" y="77153"/>
                    <a:pt x="4845" y="68580"/>
                  </a:cubicBezTo>
                  <a:cubicBezTo>
                    <a:pt x="2578" y="66113"/>
                    <a:pt x="919" y="63141"/>
                    <a:pt x="0" y="59912"/>
                  </a:cubicBezTo>
                  <a:cubicBezTo>
                    <a:pt x="10998" y="68209"/>
                    <a:pt x="25243" y="70856"/>
                    <a:pt x="38476" y="67056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3927;p38">
              <a:extLst>
                <a:ext uri="{FF2B5EF4-FFF2-40B4-BE49-F238E27FC236}">
                  <a16:creationId xmlns:a16="http://schemas.microsoft.com/office/drawing/2014/main" id="{8B76CA51-B316-4BB2-B06A-BC463973AFE5}"/>
                </a:ext>
              </a:extLst>
            </p:cNvPr>
            <p:cNvSpPr/>
            <p:nvPr/>
          </p:nvSpPr>
          <p:spPr>
            <a:xfrm>
              <a:off x="2302147" y="4142110"/>
              <a:ext cx="514696" cy="443940"/>
            </a:xfrm>
            <a:custGeom>
              <a:avLst/>
              <a:gdLst/>
              <a:ahLst/>
              <a:cxnLst/>
              <a:rect l="l" t="t" r="r" b="b"/>
              <a:pathLst>
                <a:path w="514696" h="443940" extrusionOk="0">
                  <a:moveTo>
                    <a:pt x="99908" y="274309"/>
                  </a:moveTo>
                  <a:cubicBezTo>
                    <a:pt x="156055" y="299074"/>
                    <a:pt x="209066" y="302884"/>
                    <a:pt x="252388" y="279643"/>
                  </a:cubicBezTo>
                  <a:lnTo>
                    <a:pt x="297134" y="253735"/>
                  </a:lnTo>
                  <a:cubicBezTo>
                    <a:pt x="299794" y="311647"/>
                    <a:pt x="302359" y="367273"/>
                    <a:pt x="302359" y="367273"/>
                  </a:cubicBezTo>
                  <a:cubicBezTo>
                    <a:pt x="302359" y="367273"/>
                    <a:pt x="336655" y="393371"/>
                    <a:pt x="363351" y="370130"/>
                  </a:cubicBezTo>
                  <a:cubicBezTo>
                    <a:pt x="363351" y="370130"/>
                    <a:pt x="368956" y="288787"/>
                    <a:pt x="374656" y="208872"/>
                  </a:cubicBezTo>
                  <a:lnTo>
                    <a:pt x="421872" y="181440"/>
                  </a:lnTo>
                  <a:cubicBezTo>
                    <a:pt x="420813" y="185707"/>
                    <a:pt x="420239" y="190089"/>
                    <a:pt x="420162" y="194489"/>
                  </a:cubicBezTo>
                  <a:cubicBezTo>
                    <a:pt x="420162" y="209729"/>
                    <a:pt x="430992" y="435472"/>
                    <a:pt x="430992" y="435472"/>
                  </a:cubicBezTo>
                  <a:cubicBezTo>
                    <a:pt x="430992" y="435472"/>
                    <a:pt x="465573" y="456141"/>
                    <a:pt x="492269" y="432900"/>
                  </a:cubicBezTo>
                  <a:cubicBezTo>
                    <a:pt x="492269" y="432900"/>
                    <a:pt x="510225" y="171248"/>
                    <a:pt x="514405" y="129434"/>
                  </a:cubicBezTo>
                  <a:cubicBezTo>
                    <a:pt x="519060" y="82475"/>
                    <a:pt x="466903" y="59329"/>
                    <a:pt x="434033" y="71331"/>
                  </a:cubicBezTo>
                  <a:lnTo>
                    <a:pt x="383681" y="90381"/>
                  </a:lnTo>
                  <a:cubicBezTo>
                    <a:pt x="384726" y="77236"/>
                    <a:pt x="385581" y="67045"/>
                    <a:pt x="386151" y="61330"/>
                  </a:cubicBezTo>
                  <a:cubicBezTo>
                    <a:pt x="390806" y="14276"/>
                    <a:pt x="338650" y="-8870"/>
                    <a:pt x="305874" y="3132"/>
                  </a:cubicBezTo>
                  <a:cubicBezTo>
                    <a:pt x="275853" y="14086"/>
                    <a:pt x="73213" y="90286"/>
                    <a:pt x="73213" y="90286"/>
                  </a:cubicBezTo>
                  <a:cubicBezTo>
                    <a:pt x="74494" y="109831"/>
                    <a:pt x="76873" y="129300"/>
                    <a:pt x="80338" y="148579"/>
                  </a:cubicBezTo>
                  <a:lnTo>
                    <a:pt x="346" y="141816"/>
                  </a:lnTo>
                  <a:cubicBezTo>
                    <a:pt x="-4594" y="217254"/>
                    <a:pt x="44142" y="249544"/>
                    <a:pt x="99908" y="274309"/>
                  </a:cubicBezTo>
                  <a:close/>
                  <a:moveTo>
                    <a:pt x="240132" y="144293"/>
                  </a:moveTo>
                  <a:lnTo>
                    <a:pt x="293714" y="113241"/>
                  </a:lnTo>
                  <a:cubicBezTo>
                    <a:pt x="292795" y="117022"/>
                    <a:pt x="292191" y="120880"/>
                    <a:pt x="291909" y="124766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3928;p38">
              <a:extLst>
                <a:ext uri="{FF2B5EF4-FFF2-40B4-BE49-F238E27FC236}">
                  <a16:creationId xmlns:a16="http://schemas.microsoft.com/office/drawing/2014/main" id="{D13D2ED7-F1F1-4A9E-9B6D-97E81C549200}"/>
                </a:ext>
              </a:extLst>
            </p:cNvPr>
            <p:cNvSpPr/>
            <p:nvPr/>
          </p:nvSpPr>
          <p:spPr>
            <a:xfrm>
              <a:off x="2258507" y="4054849"/>
              <a:ext cx="110678" cy="194691"/>
            </a:xfrm>
            <a:custGeom>
              <a:avLst/>
              <a:gdLst/>
              <a:ahLst/>
              <a:cxnLst/>
              <a:rect l="l" t="t" r="r" b="b"/>
              <a:pathLst>
                <a:path w="110678" h="194691" extrusionOk="0">
                  <a:moveTo>
                    <a:pt x="0" y="0"/>
                  </a:moveTo>
                  <a:cubicBezTo>
                    <a:pt x="0" y="0"/>
                    <a:pt x="6555" y="99917"/>
                    <a:pt x="19666" y="114300"/>
                  </a:cubicBezTo>
                  <a:cubicBezTo>
                    <a:pt x="32776" y="128683"/>
                    <a:pt x="76667" y="138493"/>
                    <a:pt x="76667" y="138493"/>
                  </a:cubicBezTo>
                  <a:lnTo>
                    <a:pt x="110678" y="194691"/>
                  </a:lnTo>
                  <a:cubicBezTo>
                    <a:pt x="110678" y="194691"/>
                    <a:pt x="79612" y="16192"/>
                    <a:pt x="72677" y="11906"/>
                  </a:cubicBezTo>
                  <a:cubicBezTo>
                    <a:pt x="65742" y="762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3929;p38">
              <a:extLst>
                <a:ext uri="{FF2B5EF4-FFF2-40B4-BE49-F238E27FC236}">
                  <a16:creationId xmlns:a16="http://schemas.microsoft.com/office/drawing/2014/main" id="{5FF9E761-C8E3-47F2-A4F4-D5CBC61B2189}"/>
                </a:ext>
              </a:extLst>
            </p:cNvPr>
            <p:cNvSpPr/>
            <p:nvPr/>
          </p:nvSpPr>
          <p:spPr>
            <a:xfrm>
              <a:off x="2250051" y="3940511"/>
              <a:ext cx="73912" cy="142900"/>
            </a:xfrm>
            <a:custGeom>
              <a:avLst/>
              <a:gdLst/>
              <a:ahLst/>
              <a:cxnLst/>
              <a:rect l="l" t="t" r="r" b="b"/>
              <a:pathLst>
                <a:path w="73912" h="142900" extrusionOk="0">
                  <a:moveTo>
                    <a:pt x="73912" y="3467"/>
                  </a:moveTo>
                  <a:cubicBezTo>
                    <a:pt x="56731" y="-4505"/>
                    <a:pt x="36318" y="1677"/>
                    <a:pt x="26411" y="17850"/>
                  </a:cubicBezTo>
                  <a:cubicBezTo>
                    <a:pt x="13965" y="38614"/>
                    <a:pt x="950" y="109957"/>
                    <a:pt x="0" y="122149"/>
                  </a:cubicBezTo>
                  <a:cubicBezTo>
                    <a:pt x="0" y="122149"/>
                    <a:pt x="17575" y="146533"/>
                    <a:pt x="43891" y="1424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3930;p38">
              <a:extLst>
                <a:ext uri="{FF2B5EF4-FFF2-40B4-BE49-F238E27FC236}">
                  <a16:creationId xmlns:a16="http://schemas.microsoft.com/office/drawing/2014/main" id="{0819C7EC-B5C5-4035-A84B-DEDB26796B79}"/>
                </a:ext>
              </a:extLst>
            </p:cNvPr>
            <p:cNvSpPr/>
            <p:nvPr/>
          </p:nvSpPr>
          <p:spPr>
            <a:xfrm>
              <a:off x="2326123" y="3751123"/>
              <a:ext cx="169201" cy="272154"/>
            </a:xfrm>
            <a:custGeom>
              <a:avLst/>
              <a:gdLst/>
              <a:ahLst/>
              <a:cxnLst/>
              <a:rect l="l" t="t" r="r" b="b"/>
              <a:pathLst>
                <a:path w="169201" h="272154" extrusionOk="0">
                  <a:moveTo>
                    <a:pt x="9431" y="194093"/>
                  </a:moveTo>
                  <a:cubicBezTo>
                    <a:pt x="26626" y="194951"/>
                    <a:pt x="39452" y="199427"/>
                    <a:pt x="41542" y="194093"/>
                  </a:cubicBezTo>
                  <a:cubicBezTo>
                    <a:pt x="43431" y="185197"/>
                    <a:pt x="44764" y="176196"/>
                    <a:pt x="45532" y="167138"/>
                  </a:cubicBezTo>
                  <a:cubicBezTo>
                    <a:pt x="43537" y="162185"/>
                    <a:pt x="41827" y="156755"/>
                    <a:pt x="41827" y="156755"/>
                  </a:cubicBezTo>
                  <a:cubicBezTo>
                    <a:pt x="20166" y="143420"/>
                    <a:pt x="13326" y="119989"/>
                    <a:pt x="10571" y="92748"/>
                  </a:cubicBezTo>
                  <a:cubicBezTo>
                    <a:pt x="5726" y="46170"/>
                    <a:pt x="30806" y="5308"/>
                    <a:pt x="77073" y="450"/>
                  </a:cubicBezTo>
                  <a:cubicBezTo>
                    <a:pt x="120774" y="-4122"/>
                    <a:pt x="153075" y="26644"/>
                    <a:pt x="161530" y="68935"/>
                  </a:cubicBezTo>
                  <a:cubicBezTo>
                    <a:pt x="166185" y="89890"/>
                    <a:pt x="175400" y="129324"/>
                    <a:pt x="162955" y="163613"/>
                  </a:cubicBezTo>
                  <a:cubicBezTo>
                    <a:pt x="156020" y="182663"/>
                    <a:pt x="146995" y="198094"/>
                    <a:pt x="138064" y="201047"/>
                  </a:cubicBezTo>
                  <a:cubicBezTo>
                    <a:pt x="129411" y="200818"/>
                    <a:pt x="120781" y="200056"/>
                    <a:pt x="112224" y="198761"/>
                  </a:cubicBezTo>
                  <a:lnTo>
                    <a:pt x="112224" y="198761"/>
                  </a:lnTo>
                  <a:cubicBezTo>
                    <a:pt x="112224" y="198761"/>
                    <a:pt x="109943" y="211715"/>
                    <a:pt x="108328" y="220097"/>
                  </a:cubicBezTo>
                  <a:cubicBezTo>
                    <a:pt x="106713" y="228479"/>
                    <a:pt x="107378" y="232765"/>
                    <a:pt x="123814" y="242957"/>
                  </a:cubicBezTo>
                  <a:cubicBezTo>
                    <a:pt x="140249" y="253149"/>
                    <a:pt x="98923" y="274103"/>
                    <a:pt x="71847" y="272008"/>
                  </a:cubicBezTo>
                  <a:cubicBezTo>
                    <a:pt x="44772" y="269912"/>
                    <a:pt x="14276" y="253625"/>
                    <a:pt x="5916" y="236003"/>
                  </a:cubicBezTo>
                  <a:cubicBezTo>
                    <a:pt x="-2825" y="216668"/>
                    <a:pt x="-2065" y="193522"/>
                    <a:pt x="9431" y="19409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33" name="Google Shape;3931;p38">
              <a:extLst>
                <a:ext uri="{FF2B5EF4-FFF2-40B4-BE49-F238E27FC236}">
                  <a16:creationId xmlns:a16="http://schemas.microsoft.com/office/drawing/2014/main" id="{6800BE08-97E6-493D-86AD-3F0ACBB61DEE}"/>
                </a:ext>
              </a:extLst>
            </p:cNvPr>
            <p:cNvGrpSpPr/>
            <p:nvPr/>
          </p:nvGrpSpPr>
          <p:grpSpPr>
            <a:xfrm>
              <a:off x="2428704" y="3970322"/>
              <a:ext cx="350131" cy="370523"/>
              <a:chOff x="4512354" y="4952197"/>
              <a:chExt cx="350131" cy="370523"/>
            </a:xfrm>
          </p:grpSpPr>
          <p:grpSp>
            <p:nvGrpSpPr>
              <p:cNvPr id="169" name="Google Shape;3932;p38">
                <a:extLst>
                  <a:ext uri="{FF2B5EF4-FFF2-40B4-BE49-F238E27FC236}">
                    <a16:creationId xmlns:a16="http://schemas.microsoft.com/office/drawing/2014/main" id="{EBF0E2BD-275A-4AC9-A7F6-C93C344E5DB7}"/>
                  </a:ext>
                </a:extLst>
              </p:cNvPr>
              <p:cNvGrpSpPr/>
              <p:nvPr/>
            </p:nvGrpSpPr>
            <p:grpSpPr>
              <a:xfrm>
                <a:off x="4512354" y="5116449"/>
                <a:ext cx="343196" cy="206271"/>
                <a:chOff x="4512354" y="5116449"/>
                <a:chExt cx="343196" cy="206271"/>
              </a:xfrm>
            </p:grpSpPr>
            <p:sp>
              <p:nvSpPr>
                <p:cNvPr id="180" name="Google Shape;3933;p38">
                  <a:extLst>
                    <a:ext uri="{FF2B5EF4-FFF2-40B4-BE49-F238E27FC236}">
                      <a16:creationId xmlns:a16="http://schemas.microsoft.com/office/drawing/2014/main" id="{2CEE8F8B-5E49-4328-B27C-9A1E237881DC}"/>
                    </a:ext>
                  </a:extLst>
                </p:cNvPr>
                <p:cNvSpPr/>
                <p:nvPr/>
              </p:nvSpPr>
              <p:spPr>
                <a:xfrm>
                  <a:off x="4512496" y="5200650"/>
                  <a:ext cx="343054" cy="1220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3054" h="122070" extrusionOk="0">
                      <a:moveTo>
                        <a:pt x="343054" y="31909"/>
                      </a:moveTo>
                      <a:lnTo>
                        <a:pt x="343054" y="31909"/>
                      </a:lnTo>
                      <a:cubicBezTo>
                        <a:pt x="343053" y="36890"/>
                        <a:pt x="340413" y="41500"/>
                        <a:pt x="336119" y="44005"/>
                      </a:cubicBezTo>
                      <a:lnTo>
                        <a:pt x="204921" y="120205"/>
                      </a:lnTo>
                      <a:cubicBezTo>
                        <a:pt x="200594" y="122692"/>
                        <a:pt x="195282" y="122692"/>
                        <a:pt x="190955" y="120205"/>
                      </a:cubicBezTo>
                      <a:lnTo>
                        <a:pt x="7030" y="13526"/>
                      </a:lnTo>
                      <a:cubicBezTo>
                        <a:pt x="2686" y="11059"/>
                        <a:pt x="0" y="6439"/>
                        <a:pt x="0" y="1429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1" name="Google Shape;3934;p38">
                  <a:extLst>
                    <a:ext uri="{FF2B5EF4-FFF2-40B4-BE49-F238E27FC236}">
                      <a16:creationId xmlns:a16="http://schemas.microsoft.com/office/drawing/2014/main" id="{2952CCCD-8A72-47F2-B694-37DF4BD51EDB}"/>
                    </a:ext>
                  </a:extLst>
                </p:cNvPr>
                <p:cNvSpPr/>
                <p:nvPr/>
              </p:nvSpPr>
              <p:spPr>
                <a:xfrm>
                  <a:off x="4710387" y="5232749"/>
                  <a:ext cx="145163" cy="89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5163" h="89916" extrusionOk="0">
                      <a:moveTo>
                        <a:pt x="138229" y="11906"/>
                      </a:moveTo>
                      <a:lnTo>
                        <a:pt x="7030" y="88106"/>
                      </a:lnTo>
                      <a:cubicBezTo>
                        <a:pt x="4885" y="89316"/>
                        <a:pt x="2461" y="89945"/>
                        <a:pt x="0" y="89916"/>
                      </a:cubicBezTo>
                      <a:lnTo>
                        <a:pt x="0" y="0"/>
                      </a:lnTo>
                      <a:lnTo>
                        <a:pt x="145164" y="0"/>
                      </a:lnTo>
                      <a:cubicBezTo>
                        <a:pt x="145097" y="4915"/>
                        <a:pt x="142464" y="9430"/>
                        <a:pt x="138229" y="11906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2" name="Google Shape;3935;p38">
                  <a:extLst>
                    <a:ext uri="{FF2B5EF4-FFF2-40B4-BE49-F238E27FC236}">
                      <a16:creationId xmlns:a16="http://schemas.microsoft.com/office/drawing/2014/main" id="{02BCEEB6-2ACC-4FAF-A8CA-4823378316EC}"/>
                    </a:ext>
                  </a:extLst>
                </p:cNvPr>
                <p:cNvSpPr/>
                <p:nvPr/>
              </p:nvSpPr>
              <p:spPr>
                <a:xfrm>
                  <a:off x="4512354" y="5116449"/>
                  <a:ext cx="343006" cy="1985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3006" h="198541" extrusionOk="0">
                      <a:moveTo>
                        <a:pt x="202973" y="197263"/>
                      </a:moveTo>
                      <a:cubicBezTo>
                        <a:pt x="200034" y="198968"/>
                        <a:pt x="196412" y="198968"/>
                        <a:pt x="193473" y="197263"/>
                      </a:cubicBezTo>
                      <a:lnTo>
                        <a:pt x="1853" y="86582"/>
                      </a:lnTo>
                      <a:cubicBezTo>
                        <a:pt x="-618" y="85249"/>
                        <a:pt x="-618" y="82963"/>
                        <a:pt x="1853" y="81534"/>
                      </a:cubicBezTo>
                      <a:lnTo>
                        <a:pt x="142551" y="0"/>
                      </a:lnTo>
                      <a:lnTo>
                        <a:pt x="343007" y="116110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grpSp>
              <p:nvGrpSpPr>
                <p:cNvPr id="183" name="Google Shape;3936;p38">
                  <a:extLst>
                    <a:ext uri="{FF2B5EF4-FFF2-40B4-BE49-F238E27FC236}">
                      <a16:creationId xmlns:a16="http://schemas.microsoft.com/office/drawing/2014/main" id="{938B42E9-A771-4CCD-9F44-2A8E10A47778}"/>
                    </a:ext>
                  </a:extLst>
                </p:cNvPr>
                <p:cNvGrpSpPr/>
                <p:nvPr/>
              </p:nvGrpSpPr>
              <p:grpSpPr>
                <a:xfrm>
                  <a:off x="4592868" y="5212556"/>
                  <a:ext cx="96807" cy="56007"/>
                  <a:chOff x="4592868" y="5212556"/>
                  <a:chExt cx="96807" cy="56007"/>
                </a:xfrm>
              </p:grpSpPr>
              <p:sp>
                <p:nvSpPr>
                  <p:cNvPr id="248" name="Google Shape;3937;p38">
                    <a:extLst>
                      <a:ext uri="{FF2B5EF4-FFF2-40B4-BE49-F238E27FC236}">
                        <a16:creationId xmlns:a16="http://schemas.microsoft.com/office/drawing/2014/main" id="{171EBE7B-42E3-4574-9438-016C11DF2258}"/>
                      </a:ext>
                    </a:extLst>
                  </p:cNvPr>
                  <p:cNvSpPr/>
                  <p:nvPr/>
                </p:nvSpPr>
                <p:spPr>
                  <a:xfrm>
                    <a:off x="4592868" y="5212556"/>
                    <a:ext cx="96807" cy="5600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6807" h="56007" extrusionOk="0">
                        <a:moveTo>
                          <a:pt x="0" y="20003"/>
                        </a:moveTo>
                        <a:lnTo>
                          <a:pt x="950" y="20479"/>
                        </a:lnTo>
                        <a:lnTo>
                          <a:pt x="62227" y="56007"/>
                        </a:lnTo>
                        <a:lnTo>
                          <a:pt x="95858" y="36481"/>
                        </a:lnTo>
                        <a:lnTo>
                          <a:pt x="96808" y="36004"/>
                        </a:lnTo>
                        <a:lnTo>
                          <a:pt x="34581" y="0"/>
                        </a:lnTo>
                        <a:lnTo>
                          <a:pt x="0" y="20003"/>
                        </a:lnTo>
                        <a:close/>
                      </a:path>
                    </a:pathLst>
                  </a:custGeom>
                  <a:solidFill>
                    <a:srgbClr val="BFBFB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49" name="Google Shape;3938;p38">
                    <a:extLst>
                      <a:ext uri="{FF2B5EF4-FFF2-40B4-BE49-F238E27FC236}">
                        <a16:creationId xmlns:a16="http://schemas.microsoft.com/office/drawing/2014/main" id="{B6A097F1-CC36-4A76-B32F-E6A720A7DF53}"/>
                      </a:ext>
                    </a:extLst>
                  </p:cNvPr>
                  <p:cNvSpPr/>
                  <p:nvPr/>
                </p:nvSpPr>
                <p:spPr>
                  <a:xfrm>
                    <a:off x="4593818" y="5213603"/>
                    <a:ext cx="94907" cy="5495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4907" h="54959" extrusionOk="0">
                        <a:moveTo>
                          <a:pt x="0" y="19431"/>
                        </a:moveTo>
                        <a:lnTo>
                          <a:pt x="61277" y="54959"/>
                        </a:lnTo>
                        <a:lnTo>
                          <a:pt x="94908" y="35433"/>
                        </a:lnTo>
                        <a:lnTo>
                          <a:pt x="33631" y="0"/>
                        </a:lnTo>
                        <a:lnTo>
                          <a:pt x="0" y="19431"/>
                        </a:ln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184" name="Google Shape;3939;p38">
                  <a:extLst>
                    <a:ext uri="{FF2B5EF4-FFF2-40B4-BE49-F238E27FC236}">
                      <a16:creationId xmlns:a16="http://schemas.microsoft.com/office/drawing/2014/main" id="{B137C0EA-16B4-4689-8011-573E04492688}"/>
                    </a:ext>
                  </a:extLst>
                </p:cNvPr>
                <p:cNvSpPr/>
                <p:nvPr/>
              </p:nvSpPr>
              <p:spPr>
                <a:xfrm>
                  <a:off x="4803130" y="5231915"/>
                  <a:ext cx="21235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5" h="12299" extrusionOk="0">
                      <a:moveTo>
                        <a:pt x="454" y="6834"/>
                      </a:moveTo>
                      <a:lnTo>
                        <a:pt x="9289" y="11978"/>
                      </a:lnTo>
                      <a:cubicBezTo>
                        <a:pt x="10191" y="12406"/>
                        <a:pt x="11238" y="12406"/>
                        <a:pt x="12139" y="11978"/>
                      </a:cubicBezTo>
                      <a:lnTo>
                        <a:pt x="20594" y="7120"/>
                      </a:lnTo>
                      <a:cubicBezTo>
                        <a:pt x="21449" y="7120"/>
                        <a:pt x="21449" y="5882"/>
                        <a:pt x="20594" y="5501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215"/>
                        <a:pt x="-211" y="5882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5" name="Google Shape;3940;p38">
                  <a:extLst>
                    <a:ext uri="{FF2B5EF4-FFF2-40B4-BE49-F238E27FC236}">
                      <a16:creationId xmlns:a16="http://schemas.microsoft.com/office/drawing/2014/main" id="{13C978AC-D620-45B4-8058-3CD5415E7986}"/>
                    </a:ext>
                  </a:extLst>
                </p:cNvPr>
                <p:cNvSpPr/>
                <p:nvPr/>
              </p:nvSpPr>
              <p:spPr>
                <a:xfrm>
                  <a:off x="4790604" y="52242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6" name="Google Shape;3941;p38">
                  <a:extLst>
                    <a:ext uri="{FF2B5EF4-FFF2-40B4-BE49-F238E27FC236}">
                      <a16:creationId xmlns:a16="http://schemas.microsoft.com/office/drawing/2014/main" id="{FD48CE8A-947B-449B-AA99-762063AA28BF}"/>
                    </a:ext>
                  </a:extLst>
                </p:cNvPr>
                <p:cNvSpPr/>
                <p:nvPr/>
              </p:nvSpPr>
              <p:spPr>
                <a:xfrm>
                  <a:off x="4778123" y="5216961"/>
                  <a:ext cx="2119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197" h="12299" extrusionOk="0">
                      <a:moveTo>
                        <a:pt x="475" y="6834"/>
                      </a:moveTo>
                      <a:lnTo>
                        <a:pt x="9310" y="11978"/>
                      </a:lnTo>
                      <a:cubicBezTo>
                        <a:pt x="10212" y="12406"/>
                        <a:pt x="11259" y="12406"/>
                        <a:pt x="12160" y="11978"/>
                      </a:cubicBezTo>
                      <a:lnTo>
                        <a:pt x="20521" y="7120"/>
                      </a:lnTo>
                      <a:cubicBezTo>
                        <a:pt x="21376" y="6644"/>
                        <a:pt x="21471" y="5881"/>
                        <a:pt x="20521" y="5501"/>
                      </a:cubicBezTo>
                      <a:lnTo>
                        <a:pt x="11685" y="357"/>
                      </a:lnTo>
                      <a:cubicBezTo>
                        <a:pt x="10794" y="-119"/>
                        <a:pt x="9726" y="-119"/>
                        <a:pt x="8835" y="357"/>
                      </a:cubicBezTo>
                      <a:lnTo>
                        <a:pt x="380" y="5215"/>
                      </a:lnTo>
                      <a:cubicBezTo>
                        <a:pt x="-95" y="5691"/>
                        <a:pt x="-190" y="6358"/>
                        <a:pt x="47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7" name="Google Shape;3942;p38">
                  <a:extLst>
                    <a:ext uri="{FF2B5EF4-FFF2-40B4-BE49-F238E27FC236}">
                      <a16:creationId xmlns:a16="http://schemas.microsoft.com/office/drawing/2014/main" id="{572D8F60-DE5F-488D-99B4-0096F0231F3C}"/>
                    </a:ext>
                  </a:extLst>
                </p:cNvPr>
                <p:cNvSpPr/>
                <p:nvPr/>
              </p:nvSpPr>
              <p:spPr>
                <a:xfrm>
                  <a:off x="4765618" y="520972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8" name="Google Shape;3943;p38">
                  <a:extLst>
                    <a:ext uri="{FF2B5EF4-FFF2-40B4-BE49-F238E27FC236}">
                      <a16:creationId xmlns:a16="http://schemas.microsoft.com/office/drawing/2014/main" id="{E9CF9A34-4DBB-480C-B92B-190E9386022B}"/>
                    </a:ext>
                  </a:extLst>
                </p:cNvPr>
                <p:cNvSpPr/>
                <p:nvPr/>
              </p:nvSpPr>
              <p:spPr>
                <a:xfrm>
                  <a:off x="4753078" y="5202483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9" name="Google Shape;3944;p38">
                  <a:extLst>
                    <a:ext uri="{FF2B5EF4-FFF2-40B4-BE49-F238E27FC236}">
                      <a16:creationId xmlns:a16="http://schemas.microsoft.com/office/drawing/2014/main" id="{441D654D-27FB-4773-83B5-B8E0859744C6}"/>
                    </a:ext>
                  </a:extLst>
                </p:cNvPr>
                <p:cNvSpPr/>
                <p:nvPr/>
              </p:nvSpPr>
              <p:spPr>
                <a:xfrm>
                  <a:off x="4740609" y="5195244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405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0" name="Google Shape;3945;p38">
                  <a:extLst>
                    <a:ext uri="{FF2B5EF4-FFF2-40B4-BE49-F238E27FC236}">
                      <a16:creationId xmlns:a16="http://schemas.microsoft.com/office/drawing/2014/main" id="{CD227CD4-5938-4E16-BA98-DA844172EADB}"/>
                    </a:ext>
                  </a:extLst>
                </p:cNvPr>
                <p:cNvSpPr/>
                <p:nvPr/>
              </p:nvSpPr>
              <p:spPr>
                <a:xfrm>
                  <a:off x="4728092" y="518800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39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7120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1" name="Google Shape;3946;p38">
                  <a:extLst>
                    <a:ext uri="{FF2B5EF4-FFF2-40B4-BE49-F238E27FC236}">
                      <a16:creationId xmlns:a16="http://schemas.microsoft.com/office/drawing/2014/main" id="{FFDA31D0-50D0-4A26-81ED-01EA13D427C4}"/>
                    </a:ext>
                  </a:extLst>
                </p:cNvPr>
                <p:cNvSpPr/>
                <p:nvPr/>
              </p:nvSpPr>
              <p:spPr>
                <a:xfrm>
                  <a:off x="4715552" y="518076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72" y="12406"/>
                        <a:pt x="11319" y="12406"/>
                        <a:pt x="12220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2" name="Google Shape;3947;p38">
                  <a:extLst>
                    <a:ext uri="{FF2B5EF4-FFF2-40B4-BE49-F238E27FC236}">
                      <a16:creationId xmlns:a16="http://schemas.microsoft.com/office/drawing/2014/main" id="{0039A0E3-64CC-49F1-ABD4-4BFEFCEACC56}"/>
                    </a:ext>
                  </a:extLst>
                </p:cNvPr>
                <p:cNvSpPr/>
                <p:nvPr/>
              </p:nvSpPr>
              <p:spPr>
                <a:xfrm>
                  <a:off x="4703083" y="5173527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3" name="Google Shape;3948;p38">
                  <a:extLst>
                    <a:ext uri="{FF2B5EF4-FFF2-40B4-BE49-F238E27FC236}">
                      <a16:creationId xmlns:a16="http://schemas.microsoft.com/office/drawing/2014/main" id="{35C12432-100D-4B37-BB39-A1C8C169ABA3}"/>
                    </a:ext>
                  </a:extLst>
                </p:cNvPr>
                <p:cNvSpPr/>
                <p:nvPr/>
              </p:nvSpPr>
              <p:spPr>
                <a:xfrm>
                  <a:off x="4690566" y="5166324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39" y="12371"/>
                        <a:pt x="11256" y="12371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322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4" name="Google Shape;3949;p38">
                  <a:extLst>
                    <a:ext uri="{FF2B5EF4-FFF2-40B4-BE49-F238E27FC236}">
                      <a16:creationId xmlns:a16="http://schemas.microsoft.com/office/drawing/2014/main" id="{A526D07E-620A-488A-A43A-214BF395BF4E}"/>
                    </a:ext>
                  </a:extLst>
                </p:cNvPr>
                <p:cNvSpPr/>
                <p:nvPr/>
              </p:nvSpPr>
              <p:spPr>
                <a:xfrm>
                  <a:off x="4678026" y="5159085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72" y="12371"/>
                        <a:pt x="11319" y="12371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60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656"/>
                        <a:pt x="-225" y="6322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5" name="Google Shape;3950;p38">
                  <a:extLst>
                    <a:ext uri="{FF2B5EF4-FFF2-40B4-BE49-F238E27FC236}">
                      <a16:creationId xmlns:a16="http://schemas.microsoft.com/office/drawing/2014/main" id="{4A971763-7F15-4B68-B40E-C3D07DF64B77}"/>
                    </a:ext>
                  </a:extLst>
                </p:cNvPr>
                <p:cNvSpPr/>
                <p:nvPr/>
              </p:nvSpPr>
              <p:spPr>
                <a:xfrm>
                  <a:off x="4665615" y="5151846"/>
                  <a:ext cx="21342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42" h="12263" extrusionOk="0">
                      <a:moveTo>
                        <a:pt x="596" y="6798"/>
                      </a:moveTo>
                      <a:lnTo>
                        <a:pt x="9431" y="11942"/>
                      </a:lnTo>
                      <a:cubicBezTo>
                        <a:pt x="10333" y="12371"/>
                        <a:pt x="11380" y="12371"/>
                        <a:pt x="12281" y="11942"/>
                      </a:cubicBezTo>
                      <a:lnTo>
                        <a:pt x="20736" y="7084"/>
                      </a:lnTo>
                      <a:cubicBezTo>
                        <a:pt x="21496" y="6608"/>
                        <a:pt x="21591" y="5846"/>
                        <a:pt x="20736" y="5465"/>
                      </a:cubicBezTo>
                      <a:lnTo>
                        <a:pt x="11901" y="322"/>
                      </a:lnTo>
                      <a:cubicBezTo>
                        <a:pt x="10999" y="-107"/>
                        <a:pt x="9953" y="-107"/>
                        <a:pt x="9051" y="322"/>
                      </a:cubicBezTo>
                      <a:lnTo>
                        <a:pt x="691" y="5274"/>
                      </a:lnTo>
                      <a:cubicBezTo>
                        <a:pt x="-164" y="5656"/>
                        <a:pt x="-259" y="6322"/>
                        <a:pt x="59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6" name="Google Shape;3951;p38">
                  <a:extLst>
                    <a:ext uri="{FF2B5EF4-FFF2-40B4-BE49-F238E27FC236}">
                      <a16:creationId xmlns:a16="http://schemas.microsoft.com/office/drawing/2014/main" id="{11ABDB1E-205E-46FB-9C3C-DCF3D5AD45FF}"/>
                    </a:ext>
                  </a:extLst>
                </p:cNvPr>
                <p:cNvSpPr/>
                <p:nvPr/>
              </p:nvSpPr>
              <p:spPr>
                <a:xfrm>
                  <a:off x="4653040" y="514451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60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7" name="Google Shape;3952;p38">
                  <a:extLst>
                    <a:ext uri="{FF2B5EF4-FFF2-40B4-BE49-F238E27FC236}">
                      <a16:creationId xmlns:a16="http://schemas.microsoft.com/office/drawing/2014/main" id="{1539C5D4-2533-4CD3-AD20-AA6BF07AA71A}"/>
                    </a:ext>
                  </a:extLst>
                </p:cNvPr>
                <p:cNvSpPr/>
                <p:nvPr/>
              </p:nvSpPr>
              <p:spPr>
                <a:xfrm>
                  <a:off x="4634503" y="5133808"/>
                  <a:ext cx="27254" cy="157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254" h="15763" extrusionOk="0">
                      <a:moveTo>
                        <a:pt x="546" y="6834"/>
                      </a:moveTo>
                      <a:lnTo>
                        <a:pt x="15367" y="15407"/>
                      </a:lnTo>
                      <a:cubicBezTo>
                        <a:pt x="16258" y="15883"/>
                        <a:pt x="17326" y="15883"/>
                        <a:pt x="18217" y="15407"/>
                      </a:cubicBezTo>
                      <a:lnTo>
                        <a:pt x="26577" y="10549"/>
                      </a:lnTo>
                      <a:cubicBezTo>
                        <a:pt x="27432" y="10073"/>
                        <a:pt x="27527" y="9311"/>
                        <a:pt x="26577" y="8930"/>
                      </a:cubicBezTo>
                      <a:lnTo>
                        <a:pt x="11662" y="357"/>
                      </a:lnTo>
                      <a:cubicBezTo>
                        <a:pt x="10805" y="-119"/>
                        <a:pt x="9763" y="-119"/>
                        <a:pt x="8906" y="357"/>
                      </a:cubicBezTo>
                      <a:lnTo>
                        <a:pt x="451" y="5215"/>
                      </a:lnTo>
                      <a:cubicBezTo>
                        <a:pt x="-119" y="5691"/>
                        <a:pt x="-214" y="6453"/>
                        <a:pt x="546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8" name="Google Shape;3953;p38">
                  <a:extLst>
                    <a:ext uri="{FF2B5EF4-FFF2-40B4-BE49-F238E27FC236}">
                      <a16:creationId xmlns:a16="http://schemas.microsoft.com/office/drawing/2014/main" id="{1D82183C-B26D-4389-831C-BE1C004BECFE}"/>
                    </a:ext>
                  </a:extLst>
                </p:cNvPr>
                <p:cNvSpPr/>
                <p:nvPr/>
              </p:nvSpPr>
              <p:spPr>
                <a:xfrm>
                  <a:off x="4772458" y="522766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44" y="-107"/>
                        <a:pt x="9797" y="-107"/>
                        <a:pt x="8895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9" name="Google Shape;3954;p38">
                  <a:extLst>
                    <a:ext uri="{FF2B5EF4-FFF2-40B4-BE49-F238E27FC236}">
                      <a16:creationId xmlns:a16="http://schemas.microsoft.com/office/drawing/2014/main" id="{17C541E2-5D61-4360-8C7C-66210379DE46}"/>
                    </a:ext>
                  </a:extLst>
                </p:cNvPr>
                <p:cNvSpPr/>
                <p:nvPr/>
              </p:nvSpPr>
              <p:spPr>
                <a:xfrm>
                  <a:off x="4759918" y="522042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0" name="Google Shape;3955;p38">
                  <a:extLst>
                    <a:ext uri="{FF2B5EF4-FFF2-40B4-BE49-F238E27FC236}">
                      <a16:creationId xmlns:a16="http://schemas.microsoft.com/office/drawing/2014/main" id="{E5314E10-D127-4C13-965D-1D749D7FE4D8}"/>
                    </a:ext>
                  </a:extLst>
                </p:cNvPr>
                <p:cNvSpPr/>
                <p:nvPr/>
              </p:nvSpPr>
              <p:spPr>
                <a:xfrm>
                  <a:off x="4747378" y="5212806"/>
                  <a:ext cx="21257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8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179"/>
                      </a:lnTo>
                      <a:cubicBezTo>
                        <a:pt x="-130" y="6036"/>
                        <a:pt x="-225" y="6894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1" name="Google Shape;3956;p38">
                  <a:extLst>
                    <a:ext uri="{FF2B5EF4-FFF2-40B4-BE49-F238E27FC236}">
                      <a16:creationId xmlns:a16="http://schemas.microsoft.com/office/drawing/2014/main" id="{5AB62A2D-5577-4D90-99C4-7D8026329EB5}"/>
                    </a:ext>
                  </a:extLst>
                </p:cNvPr>
                <p:cNvSpPr/>
                <p:nvPr/>
              </p:nvSpPr>
              <p:spPr>
                <a:xfrm>
                  <a:off x="4734837" y="520591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72" y="12406"/>
                        <a:pt x="11319" y="12406"/>
                        <a:pt x="12220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2" name="Google Shape;3957;p38">
                  <a:extLst>
                    <a:ext uri="{FF2B5EF4-FFF2-40B4-BE49-F238E27FC236}">
                      <a16:creationId xmlns:a16="http://schemas.microsoft.com/office/drawing/2014/main" id="{6ECE1C0E-8E28-45D0-AD6D-C7D8F45FF78D}"/>
                    </a:ext>
                  </a:extLst>
                </p:cNvPr>
                <p:cNvSpPr/>
                <p:nvPr/>
              </p:nvSpPr>
              <p:spPr>
                <a:xfrm>
                  <a:off x="4722523" y="5198768"/>
                  <a:ext cx="2141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11" h="12299" extrusionOk="0">
                      <a:moveTo>
                        <a:pt x="689" y="6834"/>
                      </a:moveTo>
                      <a:lnTo>
                        <a:pt x="9524" y="11978"/>
                      </a:lnTo>
                      <a:cubicBezTo>
                        <a:pt x="10426" y="12406"/>
                        <a:pt x="11473" y="12406"/>
                        <a:pt x="12374" y="11978"/>
                      </a:cubicBezTo>
                      <a:lnTo>
                        <a:pt x="20734" y="7120"/>
                      </a:lnTo>
                      <a:cubicBezTo>
                        <a:pt x="21589" y="7120"/>
                        <a:pt x="21684" y="5882"/>
                        <a:pt x="20734" y="5501"/>
                      </a:cubicBezTo>
                      <a:lnTo>
                        <a:pt x="11899" y="357"/>
                      </a:lnTo>
                      <a:cubicBezTo>
                        <a:pt x="11008" y="-119"/>
                        <a:pt x="9940" y="-119"/>
                        <a:pt x="9049" y="357"/>
                      </a:cubicBezTo>
                      <a:lnTo>
                        <a:pt x="594" y="5215"/>
                      </a:lnTo>
                      <a:cubicBezTo>
                        <a:pt x="-166" y="5691"/>
                        <a:pt x="-261" y="6358"/>
                        <a:pt x="689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3" name="Google Shape;3958;p38">
                  <a:extLst>
                    <a:ext uri="{FF2B5EF4-FFF2-40B4-BE49-F238E27FC236}">
                      <a16:creationId xmlns:a16="http://schemas.microsoft.com/office/drawing/2014/main" id="{7A383478-92E0-40A3-84CD-8C864B1C5207}"/>
                    </a:ext>
                  </a:extLst>
                </p:cNvPr>
                <p:cNvSpPr/>
                <p:nvPr/>
              </p:nvSpPr>
              <p:spPr>
                <a:xfrm>
                  <a:off x="4709923" y="5191470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7084"/>
                        <a:pt x="21459" y="5846"/>
                        <a:pt x="20604" y="5465"/>
                      </a:cubicBezTo>
                      <a:lnTo>
                        <a:pt x="11769" y="322"/>
                      </a:lnTo>
                      <a:cubicBezTo>
                        <a:pt x="10868" y="-107"/>
                        <a:pt x="9821" y="-107"/>
                        <a:pt x="8919" y="322"/>
                      </a:cubicBezTo>
                      <a:lnTo>
                        <a:pt x="464" y="5274"/>
                      </a:lnTo>
                      <a:cubicBezTo>
                        <a:pt x="-106" y="5751"/>
                        <a:pt x="-201" y="6417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4" name="Google Shape;3959;p38">
                  <a:extLst>
                    <a:ext uri="{FF2B5EF4-FFF2-40B4-BE49-F238E27FC236}">
                      <a16:creationId xmlns:a16="http://schemas.microsoft.com/office/drawing/2014/main" id="{70D39E1C-5FCB-44BA-94D1-D4D0DA630F11}"/>
                    </a:ext>
                  </a:extLst>
                </p:cNvPr>
                <p:cNvSpPr/>
                <p:nvPr/>
              </p:nvSpPr>
              <p:spPr>
                <a:xfrm>
                  <a:off x="4697392" y="5184231"/>
                  <a:ext cx="21235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5" h="12298" extrusionOk="0">
                      <a:moveTo>
                        <a:pt x="454" y="6894"/>
                      </a:moveTo>
                      <a:lnTo>
                        <a:pt x="9289" y="11942"/>
                      </a:lnTo>
                      <a:cubicBezTo>
                        <a:pt x="10180" y="12418"/>
                        <a:pt x="11248" y="12418"/>
                        <a:pt x="12139" y="11942"/>
                      </a:cubicBezTo>
                      <a:lnTo>
                        <a:pt x="20594" y="7084"/>
                      </a:lnTo>
                      <a:cubicBezTo>
                        <a:pt x="21449" y="6608"/>
                        <a:pt x="21449" y="5846"/>
                        <a:pt x="20594" y="5465"/>
                      </a:cubicBezTo>
                      <a:lnTo>
                        <a:pt x="11759" y="321"/>
                      </a:lnTo>
                      <a:cubicBezTo>
                        <a:pt x="10858" y="-107"/>
                        <a:pt x="9811" y="-107"/>
                        <a:pt x="8909" y="321"/>
                      </a:cubicBezTo>
                      <a:lnTo>
                        <a:pt x="549" y="5179"/>
                      </a:lnTo>
                      <a:cubicBezTo>
                        <a:pt x="-116" y="5751"/>
                        <a:pt x="-211" y="6894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5" name="Google Shape;3960;p38">
                  <a:extLst>
                    <a:ext uri="{FF2B5EF4-FFF2-40B4-BE49-F238E27FC236}">
                      <a16:creationId xmlns:a16="http://schemas.microsoft.com/office/drawing/2014/main" id="{9BCAF0F0-52FF-4C36-B279-233C0FF19038}"/>
                    </a:ext>
                  </a:extLst>
                </p:cNvPr>
                <p:cNvSpPr/>
                <p:nvPr/>
              </p:nvSpPr>
              <p:spPr>
                <a:xfrm>
                  <a:off x="4684958" y="5176992"/>
                  <a:ext cx="2097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76" h="12299" extrusionOk="0">
                      <a:moveTo>
                        <a:pt x="253" y="6799"/>
                      </a:moveTo>
                      <a:lnTo>
                        <a:pt x="9089" y="11942"/>
                      </a:lnTo>
                      <a:cubicBezTo>
                        <a:pt x="9946" y="12418"/>
                        <a:pt x="10987" y="12418"/>
                        <a:pt x="11844" y="11942"/>
                      </a:cubicBezTo>
                      <a:lnTo>
                        <a:pt x="20299" y="7084"/>
                      </a:lnTo>
                      <a:cubicBezTo>
                        <a:pt x="21154" y="6608"/>
                        <a:pt x="21249" y="5846"/>
                        <a:pt x="20299" y="5465"/>
                      </a:cubicBezTo>
                      <a:lnTo>
                        <a:pt x="11464" y="321"/>
                      </a:lnTo>
                      <a:cubicBezTo>
                        <a:pt x="10562" y="-107"/>
                        <a:pt x="9515" y="-107"/>
                        <a:pt x="8614" y="321"/>
                      </a:cubicBezTo>
                      <a:lnTo>
                        <a:pt x="253" y="5179"/>
                      </a:lnTo>
                      <a:cubicBezTo>
                        <a:pt x="253" y="5655"/>
                        <a:pt x="-317" y="6417"/>
                        <a:pt x="253" y="6799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6" name="Google Shape;3961;p38">
                  <a:extLst>
                    <a:ext uri="{FF2B5EF4-FFF2-40B4-BE49-F238E27FC236}">
                      <a16:creationId xmlns:a16="http://schemas.microsoft.com/office/drawing/2014/main" id="{43C6164B-64C5-4F43-B1A2-F703EE69BFC3}"/>
                    </a:ext>
                  </a:extLst>
                </p:cNvPr>
                <p:cNvSpPr/>
                <p:nvPr/>
              </p:nvSpPr>
              <p:spPr>
                <a:xfrm>
                  <a:off x="4672326" y="516971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549"/>
                        <a:pt x="21531" y="5882"/>
                        <a:pt x="20581" y="5406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7" name="Google Shape;3962;p38">
                  <a:extLst>
                    <a:ext uri="{FF2B5EF4-FFF2-40B4-BE49-F238E27FC236}">
                      <a16:creationId xmlns:a16="http://schemas.microsoft.com/office/drawing/2014/main" id="{25D43EAD-7652-4BC4-A81C-8AE81342E709}"/>
                    </a:ext>
                  </a:extLst>
                </p:cNvPr>
                <p:cNvSpPr/>
                <p:nvPr/>
              </p:nvSpPr>
              <p:spPr>
                <a:xfrm>
                  <a:off x="4659785" y="5162478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025"/>
                      </a:lnTo>
                      <a:cubicBezTo>
                        <a:pt x="21436" y="6548"/>
                        <a:pt x="21531" y="5881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8" name="Google Shape;3963;p38">
                  <a:extLst>
                    <a:ext uri="{FF2B5EF4-FFF2-40B4-BE49-F238E27FC236}">
                      <a16:creationId xmlns:a16="http://schemas.microsoft.com/office/drawing/2014/main" id="{CDCC1993-9ECB-4FE6-82A3-24CAB03660EF}"/>
                    </a:ext>
                  </a:extLst>
                </p:cNvPr>
                <p:cNvSpPr/>
                <p:nvPr/>
              </p:nvSpPr>
              <p:spPr>
                <a:xfrm>
                  <a:off x="4647352" y="5155656"/>
                  <a:ext cx="21150" cy="123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150" h="12358" extrusionOk="0">
                      <a:moveTo>
                        <a:pt x="428" y="6894"/>
                      </a:moveTo>
                      <a:lnTo>
                        <a:pt x="9263" y="12037"/>
                      </a:lnTo>
                      <a:cubicBezTo>
                        <a:pt x="10164" y="12466"/>
                        <a:pt x="11211" y="12466"/>
                        <a:pt x="12113" y="12037"/>
                      </a:cubicBezTo>
                      <a:lnTo>
                        <a:pt x="20473" y="7084"/>
                      </a:lnTo>
                      <a:cubicBezTo>
                        <a:pt x="21328" y="7084"/>
                        <a:pt x="21423" y="5941"/>
                        <a:pt x="20473" y="5465"/>
                      </a:cubicBezTo>
                      <a:lnTo>
                        <a:pt x="11638" y="321"/>
                      </a:lnTo>
                      <a:cubicBezTo>
                        <a:pt x="10769" y="-107"/>
                        <a:pt x="9752" y="-107"/>
                        <a:pt x="8883" y="321"/>
                      </a:cubicBezTo>
                      <a:lnTo>
                        <a:pt x="428" y="5179"/>
                      </a:lnTo>
                      <a:cubicBezTo>
                        <a:pt x="-143" y="5274"/>
                        <a:pt x="-143" y="6036"/>
                        <a:pt x="428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9" name="Google Shape;3964;p38">
                  <a:extLst>
                    <a:ext uri="{FF2B5EF4-FFF2-40B4-BE49-F238E27FC236}">
                      <a16:creationId xmlns:a16="http://schemas.microsoft.com/office/drawing/2014/main" id="{F8C8B01F-4324-466C-B8AA-0F66845749B9}"/>
                    </a:ext>
                  </a:extLst>
                </p:cNvPr>
                <p:cNvSpPr/>
                <p:nvPr/>
              </p:nvSpPr>
              <p:spPr>
                <a:xfrm>
                  <a:off x="4634693" y="5148036"/>
                  <a:ext cx="21269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69" h="12263" extrusionOk="0">
                      <a:moveTo>
                        <a:pt x="546" y="6798"/>
                      </a:moveTo>
                      <a:lnTo>
                        <a:pt x="9381" y="11942"/>
                      </a:lnTo>
                      <a:cubicBezTo>
                        <a:pt x="10283" y="12371"/>
                        <a:pt x="11330" y="12371"/>
                        <a:pt x="12232" y="11942"/>
                      </a:cubicBezTo>
                      <a:lnTo>
                        <a:pt x="20592" y="7084"/>
                      </a:lnTo>
                      <a:cubicBezTo>
                        <a:pt x="21447" y="6608"/>
                        <a:pt x="21542" y="5846"/>
                        <a:pt x="20592" y="5465"/>
                      </a:cubicBezTo>
                      <a:lnTo>
                        <a:pt x="11757" y="322"/>
                      </a:lnTo>
                      <a:cubicBezTo>
                        <a:pt x="10855" y="-107"/>
                        <a:pt x="9808" y="-107"/>
                        <a:pt x="8906" y="322"/>
                      </a:cubicBezTo>
                      <a:lnTo>
                        <a:pt x="451" y="5179"/>
                      </a:lnTo>
                      <a:cubicBezTo>
                        <a:pt x="-119" y="5656"/>
                        <a:pt x="-214" y="6417"/>
                        <a:pt x="54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0" name="Google Shape;3965;p38">
                  <a:extLst>
                    <a:ext uri="{FF2B5EF4-FFF2-40B4-BE49-F238E27FC236}">
                      <a16:creationId xmlns:a16="http://schemas.microsoft.com/office/drawing/2014/main" id="{C70FA3D0-EDA5-482A-8C8E-D8BAC55FE6C0}"/>
                    </a:ext>
                  </a:extLst>
                </p:cNvPr>
                <p:cNvSpPr/>
                <p:nvPr/>
              </p:nvSpPr>
              <p:spPr>
                <a:xfrm>
                  <a:off x="4784985" y="5234904"/>
                  <a:ext cx="27256" cy="158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256" h="15823" extrusionOk="0">
                      <a:moveTo>
                        <a:pt x="454" y="6894"/>
                      </a:moveTo>
                      <a:lnTo>
                        <a:pt x="15369" y="15466"/>
                      </a:lnTo>
                      <a:cubicBezTo>
                        <a:pt x="16226" y="15942"/>
                        <a:pt x="17267" y="15942"/>
                        <a:pt x="18124" y="15466"/>
                      </a:cubicBezTo>
                      <a:lnTo>
                        <a:pt x="26580" y="10608"/>
                      </a:lnTo>
                      <a:cubicBezTo>
                        <a:pt x="27435" y="10132"/>
                        <a:pt x="27530" y="9370"/>
                        <a:pt x="26580" y="8989"/>
                      </a:cubicBezTo>
                      <a:lnTo>
                        <a:pt x="11759" y="322"/>
                      </a:lnTo>
                      <a:cubicBezTo>
                        <a:pt x="10858" y="-107"/>
                        <a:pt x="9811" y="-107"/>
                        <a:pt x="8909" y="322"/>
                      </a:cubicBezTo>
                      <a:lnTo>
                        <a:pt x="549" y="5179"/>
                      </a:lnTo>
                      <a:cubicBezTo>
                        <a:pt x="-116" y="5751"/>
                        <a:pt x="-211" y="6513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1" name="Google Shape;3966;p38">
                  <a:extLst>
                    <a:ext uri="{FF2B5EF4-FFF2-40B4-BE49-F238E27FC236}">
                      <a16:creationId xmlns:a16="http://schemas.microsoft.com/office/drawing/2014/main" id="{CC70E8A7-86F6-4064-8F1C-8800EC569C49}"/>
                    </a:ext>
                  </a:extLst>
                </p:cNvPr>
                <p:cNvSpPr/>
                <p:nvPr/>
              </p:nvSpPr>
              <p:spPr>
                <a:xfrm>
                  <a:off x="4610064" y="5140680"/>
                  <a:ext cx="33535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535" h="17487" extrusionOk="0">
                      <a:moveTo>
                        <a:pt x="24131" y="343"/>
                      </a:moveTo>
                      <a:lnTo>
                        <a:pt x="32966" y="5487"/>
                      </a:lnTo>
                      <a:cubicBezTo>
                        <a:pt x="33726" y="5487"/>
                        <a:pt x="33726" y="6534"/>
                        <a:pt x="32966" y="6915"/>
                      </a:cubicBezTo>
                      <a:lnTo>
                        <a:pt x="24036" y="12154"/>
                      </a:lnTo>
                      <a:cubicBezTo>
                        <a:pt x="23222" y="12535"/>
                        <a:pt x="22284" y="12535"/>
                        <a:pt x="21471" y="12154"/>
                      </a:cubicBezTo>
                      <a:lnTo>
                        <a:pt x="20711" y="11678"/>
                      </a:lnTo>
                      <a:cubicBezTo>
                        <a:pt x="19963" y="11306"/>
                        <a:pt x="19083" y="11306"/>
                        <a:pt x="18336" y="11678"/>
                      </a:cubicBezTo>
                      <a:lnTo>
                        <a:pt x="8835" y="17202"/>
                      </a:lnTo>
                      <a:cubicBezTo>
                        <a:pt x="7990" y="17583"/>
                        <a:pt x="7021" y="17583"/>
                        <a:pt x="6175" y="17202"/>
                      </a:cubicBezTo>
                      <a:lnTo>
                        <a:pt x="570" y="13964"/>
                      </a:lnTo>
                      <a:cubicBezTo>
                        <a:pt x="-190" y="13487"/>
                        <a:pt x="-190" y="12821"/>
                        <a:pt x="570" y="12440"/>
                      </a:cubicBezTo>
                      <a:lnTo>
                        <a:pt x="9405" y="7296"/>
                      </a:lnTo>
                      <a:lnTo>
                        <a:pt x="11210" y="6248"/>
                      </a:lnTo>
                      <a:lnTo>
                        <a:pt x="12540" y="5487"/>
                      </a:lnTo>
                      <a:lnTo>
                        <a:pt x="13870" y="4725"/>
                      </a:lnTo>
                      <a:lnTo>
                        <a:pt x="21471" y="343"/>
                      </a:lnTo>
                      <a:cubicBezTo>
                        <a:pt x="22298" y="-114"/>
                        <a:pt x="23302" y="-114"/>
                        <a:pt x="24131" y="343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" name="Google Shape;3967;p38">
                  <a:extLst>
                    <a:ext uri="{FF2B5EF4-FFF2-40B4-BE49-F238E27FC236}">
                      <a16:creationId xmlns:a16="http://schemas.microsoft.com/office/drawing/2014/main" id="{D14FE0C4-0943-43B7-A77C-3CF07072F6C4}"/>
                    </a:ext>
                  </a:extLst>
                </p:cNvPr>
                <p:cNvSpPr/>
                <p:nvPr/>
              </p:nvSpPr>
              <p:spPr>
                <a:xfrm>
                  <a:off x="4754598" y="5259443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025"/>
                      </a:lnTo>
                      <a:cubicBezTo>
                        <a:pt x="21436" y="7025"/>
                        <a:pt x="21531" y="5882"/>
                        <a:pt x="20581" y="5405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" name="Google Shape;3968;p38">
                  <a:extLst>
                    <a:ext uri="{FF2B5EF4-FFF2-40B4-BE49-F238E27FC236}">
                      <a16:creationId xmlns:a16="http://schemas.microsoft.com/office/drawing/2014/main" id="{CD981E15-D104-45FD-8D89-4C7844DFEC2C}"/>
                    </a:ext>
                  </a:extLst>
                </p:cNvPr>
                <p:cNvSpPr/>
                <p:nvPr/>
              </p:nvSpPr>
              <p:spPr>
                <a:xfrm>
                  <a:off x="4742212" y="5252239"/>
                  <a:ext cx="2074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46" h="12299" extrusionOk="0">
                      <a:moveTo>
                        <a:pt x="0" y="6798"/>
                      </a:moveTo>
                      <a:lnTo>
                        <a:pt x="8835" y="11942"/>
                      </a:lnTo>
                      <a:cubicBezTo>
                        <a:pt x="9726" y="12418"/>
                        <a:pt x="10794" y="12418"/>
                        <a:pt x="11685" y="11942"/>
                      </a:cubicBezTo>
                      <a:lnTo>
                        <a:pt x="20141" y="7084"/>
                      </a:lnTo>
                      <a:cubicBezTo>
                        <a:pt x="20901" y="7084"/>
                        <a:pt x="20996" y="5846"/>
                        <a:pt x="20141" y="5465"/>
                      </a:cubicBezTo>
                      <a:lnTo>
                        <a:pt x="11305" y="322"/>
                      </a:lnTo>
                      <a:cubicBezTo>
                        <a:pt x="10404" y="-107"/>
                        <a:pt x="9357" y="-107"/>
                        <a:pt x="8455" y="322"/>
                      </a:cubicBezTo>
                      <a:lnTo>
                        <a:pt x="0" y="5179"/>
                      </a:lnTo>
                      <a:cubicBezTo>
                        <a:pt x="0" y="5560"/>
                        <a:pt x="0" y="6417"/>
                        <a:pt x="0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" name="Google Shape;3969;p38">
                  <a:extLst>
                    <a:ext uri="{FF2B5EF4-FFF2-40B4-BE49-F238E27FC236}">
                      <a16:creationId xmlns:a16="http://schemas.microsoft.com/office/drawing/2014/main" id="{9929222A-A084-407B-B344-0D9CDCD09934}"/>
                    </a:ext>
                  </a:extLst>
                </p:cNvPr>
                <p:cNvSpPr/>
                <p:nvPr/>
              </p:nvSpPr>
              <p:spPr>
                <a:xfrm>
                  <a:off x="4729612" y="52450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61" y="12418"/>
                        <a:pt x="11329" y="12418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" name="Google Shape;3970;p38">
                  <a:extLst>
                    <a:ext uri="{FF2B5EF4-FFF2-40B4-BE49-F238E27FC236}">
                      <a16:creationId xmlns:a16="http://schemas.microsoft.com/office/drawing/2014/main" id="{CAAB9551-1CED-4B95-BE32-F4B9FD4117B9}"/>
                    </a:ext>
                  </a:extLst>
                </p:cNvPr>
                <p:cNvSpPr/>
                <p:nvPr/>
              </p:nvSpPr>
              <p:spPr>
                <a:xfrm>
                  <a:off x="4623423" y="5183528"/>
                  <a:ext cx="2123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4" h="12299" extrusionOk="0">
                      <a:moveTo>
                        <a:pt x="511" y="6834"/>
                      </a:moveTo>
                      <a:lnTo>
                        <a:pt x="9347" y="11978"/>
                      </a:lnTo>
                      <a:cubicBezTo>
                        <a:pt x="10248" y="12406"/>
                        <a:pt x="11295" y="12406"/>
                        <a:pt x="12197" y="11978"/>
                      </a:cubicBezTo>
                      <a:lnTo>
                        <a:pt x="20557" y="7025"/>
                      </a:lnTo>
                      <a:cubicBezTo>
                        <a:pt x="21412" y="6549"/>
                        <a:pt x="21507" y="5882"/>
                        <a:pt x="20557" y="5405"/>
                      </a:cubicBezTo>
                      <a:lnTo>
                        <a:pt x="11722" y="357"/>
                      </a:lnTo>
                      <a:cubicBezTo>
                        <a:pt x="10831" y="-119"/>
                        <a:pt x="9763" y="-119"/>
                        <a:pt x="8872" y="357"/>
                      </a:cubicBezTo>
                      <a:lnTo>
                        <a:pt x="416" y="5215"/>
                      </a:lnTo>
                      <a:cubicBezTo>
                        <a:pt x="-154" y="5691"/>
                        <a:pt x="-154" y="6453"/>
                        <a:pt x="511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" name="Google Shape;3971;p38">
                  <a:extLst>
                    <a:ext uri="{FF2B5EF4-FFF2-40B4-BE49-F238E27FC236}">
                      <a16:creationId xmlns:a16="http://schemas.microsoft.com/office/drawing/2014/main" id="{22E11FB9-3865-4E9E-A153-6632896588D5}"/>
                    </a:ext>
                  </a:extLst>
                </p:cNvPr>
                <p:cNvSpPr/>
                <p:nvPr/>
              </p:nvSpPr>
              <p:spPr>
                <a:xfrm>
                  <a:off x="4610954" y="517632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274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" name="Google Shape;3972;p38">
                  <a:extLst>
                    <a:ext uri="{FF2B5EF4-FFF2-40B4-BE49-F238E27FC236}">
                      <a16:creationId xmlns:a16="http://schemas.microsoft.com/office/drawing/2014/main" id="{2C8BC2D9-CADE-41E4-9808-5C95BD116676}"/>
                    </a:ext>
                  </a:extLst>
                </p:cNvPr>
                <p:cNvSpPr/>
                <p:nvPr/>
              </p:nvSpPr>
              <p:spPr>
                <a:xfrm>
                  <a:off x="4598509" y="516908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" name="Google Shape;3973;p38">
                  <a:extLst>
                    <a:ext uri="{FF2B5EF4-FFF2-40B4-BE49-F238E27FC236}">
                      <a16:creationId xmlns:a16="http://schemas.microsoft.com/office/drawing/2014/main" id="{6E446A8D-3369-4F8F-BEE9-83709DE1873F}"/>
                    </a:ext>
                  </a:extLst>
                </p:cNvPr>
                <p:cNvSpPr/>
                <p:nvPr/>
              </p:nvSpPr>
              <p:spPr>
                <a:xfrm>
                  <a:off x="4586039" y="5161907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9" name="Google Shape;3974;p38">
                  <a:extLst>
                    <a:ext uri="{FF2B5EF4-FFF2-40B4-BE49-F238E27FC236}">
                      <a16:creationId xmlns:a16="http://schemas.microsoft.com/office/drawing/2014/main" id="{5B16C913-B73F-43B2-90CD-1954D343CFA3}"/>
                    </a:ext>
                  </a:extLst>
                </p:cNvPr>
                <p:cNvSpPr/>
                <p:nvPr/>
              </p:nvSpPr>
              <p:spPr>
                <a:xfrm>
                  <a:off x="4713902" y="5236011"/>
                  <a:ext cx="24523" cy="141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523" h="14108" extrusionOk="0">
                      <a:moveTo>
                        <a:pt x="570" y="6739"/>
                      </a:moveTo>
                      <a:lnTo>
                        <a:pt x="12635" y="13787"/>
                      </a:lnTo>
                      <a:cubicBezTo>
                        <a:pt x="13505" y="14216"/>
                        <a:pt x="14521" y="14216"/>
                        <a:pt x="15390" y="13787"/>
                      </a:cubicBezTo>
                      <a:lnTo>
                        <a:pt x="23846" y="8930"/>
                      </a:lnTo>
                      <a:cubicBezTo>
                        <a:pt x="24701" y="8453"/>
                        <a:pt x="24796" y="7691"/>
                        <a:pt x="23846" y="7310"/>
                      </a:cubicBezTo>
                      <a:lnTo>
                        <a:pt x="11780" y="357"/>
                      </a:lnTo>
                      <a:cubicBezTo>
                        <a:pt x="10923" y="-119"/>
                        <a:pt x="9882" y="-119"/>
                        <a:pt x="9025" y="357"/>
                      </a:cubicBezTo>
                      <a:lnTo>
                        <a:pt x="570" y="5215"/>
                      </a:lnTo>
                      <a:cubicBezTo>
                        <a:pt x="-190" y="5596"/>
                        <a:pt x="-190" y="6358"/>
                        <a:pt x="570" y="6739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0" name="Google Shape;3975;p38">
                  <a:extLst>
                    <a:ext uri="{FF2B5EF4-FFF2-40B4-BE49-F238E27FC236}">
                      <a16:creationId xmlns:a16="http://schemas.microsoft.com/office/drawing/2014/main" id="{B1C98CC7-57D0-4BD5-9F93-B888F1B1A64B}"/>
                    </a:ext>
                  </a:extLst>
                </p:cNvPr>
                <p:cNvSpPr/>
                <p:nvPr/>
              </p:nvSpPr>
              <p:spPr>
                <a:xfrm>
                  <a:off x="4635943" y="5190803"/>
                  <a:ext cx="24413" cy="141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413" h="14108" extrusionOk="0">
                      <a:moveTo>
                        <a:pt x="436" y="6798"/>
                      </a:moveTo>
                      <a:lnTo>
                        <a:pt x="12502" y="13752"/>
                      </a:lnTo>
                      <a:cubicBezTo>
                        <a:pt x="13393" y="14228"/>
                        <a:pt x="14461" y="14228"/>
                        <a:pt x="15352" y="13752"/>
                      </a:cubicBezTo>
                      <a:lnTo>
                        <a:pt x="23807" y="8894"/>
                      </a:lnTo>
                      <a:cubicBezTo>
                        <a:pt x="24567" y="8418"/>
                        <a:pt x="24662" y="7656"/>
                        <a:pt x="23807" y="7275"/>
                      </a:cubicBezTo>
                      <a:lnTo>
                        <a:pt x="11932" y="322"/>
                      </a:lnTo>
                      <a:cubicBezTo>
                        <a:pt x="11030" y="-107"/>
                        <a:pt x="9983" y="-107"/>
                        <a:pt x="9082" y="322"/>
                      </a:cubicBezTo>
                      <a:lnTo>
                        <a:pt x="721" y="5179"/>
                      </a:lnTo>
                      <a:cubicBezTo>
                        <a:pt x="-134" y="5656"/>
                        <a:pt x="-229" y="6418"/>
                        <a:pt x="43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1" name="Google Shape;3976;p38">
                  <a:extLst>
                    <a:ext uri="{FF2B5EF4-FFF2-40B4-BE49-F238E27FC236}">
                      <a16:creationId xmlns:a16="http://schemas.microsoft.com/office/drawing/2014/main" id="{BA033DDF-A5AA-4C4F-8B26-AB82DAB777AF}"/>
                    </a:ext>
                  </a:extLst>
                </p:cNvPr>
                <p:cNvSpPr/>
                <p:nvPr/>
              </p:nvSpPr>
              <p:spPr>
                <a:xfrm>
                  <a:off x="4651601" y="5199816"/>
                  <a:ext cx="71148" cy="411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148" h="41195" extrusionOk="0">
                      <a:moveTo>
                        <a:pt x="454" y="6834"/>
                      </a:moveTo>
                      <a:lnTo>
                        <a:pt x="59260" y="40839"/>
                      </a:lnTo>
                      <a:cubicBezTo>
                        <a:pt x="60117" y="41315"/>
                        <a:pt x="61159" y="41315"/>
                        <a:pt x="62016" y="40839"/>
                      </a:cubicBezTo>
                      <a:lnTo>
                        <a:pt x="70471" y="35981"/>
                      </a:lnTo>
                      <a:cubicBezTo>
                        <a:pt x="71326" y="35505"/>
                        <a:pt x="71421" y="34742"/>
                        <a:pt x="70471" y="34361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691"/>
                        <a:pt x="-211" y="6453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2" name="Google Shape;3977;p38">
                  <a:extLst>
                    <a:ext uri="{FF2B5EF4-FFF2-40B4-BE49-F238E27FC236}">
                      <a16:creationId xmlns:a16="http://schemas.microsoft.com/office/drawing/2014/main" id="{5CD37A9F-8BE4-46C0-99C3-BA47459205EE}"/>
                    </a:ext>
                  </a:extLst>
                </p:cNvPr>
                <p:cNvSpPr/>
                <p:nvPr/>
              </p:nvSpPr>
              <p:spPr>
                <a:xfrm>
                  <a:off x="4756949" y="5232713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6608"/>
                        <a:pt x="21459" y="5846"/>
                        <a:pt x="20604" y="5465"/>
                      </a:cubicBezTo>
                      <a:lnTo>
                        <a:pt x="11769" y="321"/>
                      </a:lnTo>
                      <a:cubicBezTo>
                        <a:pt x="10868" y="-107"/>
                        <a:pt x="9821" y="-107"/>
                        <a:pt x="8919" y="321"/>
                      </a:cubicBezTo>
                      <a:lnTo>
                        <a:pt x="464" y="5275"/>
                      </a:lnTo>
                      <a:cubicBezTo>
                        <a:pt x="-106" y="6036"/>
                        <a:pt x="-201" y="6036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3" name="Google Shape;3978;p38">
                  <a:extLst>
                    <a:ext uri="{FF2B5EF4-FFF2-40B4-BE49-F238E27FC236}">
                      <a16:creationId xmlns:a16="http://schemas.microsoft.com/office/drawing/2014/main" id="{FE08A91C-78E0-4FDB-AFC4-39E0D97C9B7F}"/>
                    </a:ext>
                  </a:extLst>
                </p:cNvPr>
                <p:cNvSpPr/>
                <p:nvPr/>
              </p:nvSpPr>
              <p:spPr>
                <a:xfrm>
                  <a:off x="4744433" y="5225534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7120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4" name="Google Shape;3979;p38">
                  <a:extLst>
                    <a:ext uri="{FF2B5EF4-FFF2-40B4-BE49-F238E27FC236}">
                      <a16:creationId xmlns:a16="http://schemas.microsoft.com/office/drawing/2014/main" id="{8070C462-EA21-4D50-A24F-B3C5DD32529A}"/>
                    </a:ext>
                  </a:extLst>
                </p:cNvPr>
                <p:cNvSpPr/>
                <p:nvPr/>
              </p:nvSpPr>
              <p:spPr>
                <a:xfrm>
                  <a:off x="4732035" y="5218330"/>
                  <a:ext cx="21424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24" h="12263" extrusionOk="0">
                      <a:moveTo>
                        <a:pt x="677" y="6798"/>
                      </a:moveTo>
                      <a:lnTo>
                        <a:pt x="9513" y="11942"/>
                      </a:lnTo>
                      <a:cubicBezTo>
                        <a:pt x="10414" y="12371"/>
                        <a:pt x="11461" y="12371"/>
                        <a:pt x="12363" y="11942"/>
                      </a:cubicBezTo>
                      <a:lnTo>
                        <a:pt x="20818" y="7084"/>
                      </a:lnTo>
                      <a:cubicBezTo>
                        <a:pt x="21578" y="6608"/>
                        <a:pt x="21673" y="5846"/>
                        <a:pt x="20818" y="5465"/>
                      </a:cubicBezTo>
                      <a:lnTo>
                        <a:pt x="11983" y="322"/>
                      </a:lnTo>
                      <a:cubicBezTo>
                        <a:pt x="11081" y="-107"/>
                        <a:pt x="10034" y="-107"/>
                        <a:pt x="9133" y="322"/>
                      </a:cubicBezTo>
                      <a:lnTo>
                        <a:pt x="677" y="5179"/>
                      </a:lnTo>
                      <a:cubicBezTo>
                        <a:pt x="-178" y="5656"/>
                        <a:pt x="-273" y="6417"/>
                        <a:pt x="677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5" name="Google Shape;3980;p38">
                  <a:extLst>
                    <a:ext uri="{FF2B5EF4-FFF2-40B4-BE49-F238E27FC236}">
                      <a16:creationId xmlns:a16="http://schemas.microsoft.com/office/drawing/2014/main" id="{8C421418-5BF6-4CB7-91F3-FEADCCE9D6F4}"/>
                    </a:ext>
                  </a:extLst>
                </p:cNvPr>
                <p:cNvSpPr/>
                <p:nvPr/>
              </p:nvSpPr>
              <p:spPr>
                <a:xfrm>
                  <a:off x="4719447" y="5211091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941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6" name="Google Shape;3981;p38">
                  <a:extLst>
                    <a:ext uri="{FF2B5EF4-FFF2-40B4-BE49-F238E27FC236}">
                      <a16:creationId xmlns:a16="http://schemas.microsoft.com/office/drawing/2014/main" id="{8D0E36D6-0CCB-4C5B-88DE-808DD2B1C492}"/>
                    </a:ext>
                  </a:extLst>
                </p:cNvPr>
                <p:cNvSpPr/>
                <p:nvPr/>
              </p:nvSpPr>
              <p:spPr>
                <a:xfrm>
                  <a:off x="4706978" y="5203817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025"/>
                      </a:lnTo>
                      <a:cubicBezTo>
                        <a:pt x="21364" y="6548"/>
                        <a:pt x="21459" y="5882"/>
                        <a:pt x="20604" y="5405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7" name="Google Shape;3982;p38">
                  <a:extLst>
                    <a:ext uri="{FF2B5EF4-FFF2-40B4-BE49-F238E27FC236}">
                      <a16:creationId xmlns:a16="http://schemas.microsoft.com/office/drawing/2014/main" id="{88C3B913-3457-4A84-8154-D61E9D6DA045}"/>
                    </a:ext>
                  </a:extLst>
                </p:cNvPr>
                <p:cNvSpPr/>
                <p:nvPr/>
              </p:nvSpPr>
              <p:spPr>
                <a:xfrm>
                  <a:off x="4694711" y="5196578"/>
                  <a:ext cx="20722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22" h="12299" extrusionOk="0">
                      <a:moveTo>
                        <a:pt x="0" y="6834"/>
                      </a:moveTo>
                      <a:lnTo>
                        <a:pt x="8835" y="11978"/>
                      </a:lnTo>
                      <a:cubicBezTo>
                        <a:pt x="9705" y="12406"/>
                        <a:pt x="10721" y="12406"/>
                        <a:pt x="11590" y="11978"/>
                      </a:cubicBezTo>
                      <a:lnTo>
                        <a:pt x="20046" y="7025"/>
                      </a:lnTo>
                      <a:cubicBezTo>
                        <a:pt x="20901" y="6549"/>
                        <a:pt x="20996" y="5882"/>
                        <a:pt x="20046" y="5406"/>
                      </a:cubicBezTo>
                      <a:lnTo>
                        <a:pt x="11210" y="357"/>
                      </a:lnTo>
                      <a:cubicBezTo>
                        <a:pt x="10353" y="-119"/>
                        <a:pt x="9312" y="-119"/>
                        <a:pt x="8455" y="357"/>
                      </a:cubicBezTo>
                      <a:lnTo>
                        <a:pt x="0" y="5215"/>
                      </a:lnTo>
                      <a:cubicBezTo>
                        <a:pt x="0" y="5691"/>
                        <a:pt x="0" y="6453"/>
                        <a:pt x="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8" name="Google Shape;3983;p38">
                  <a:extLst>
                    <a:ext uri="{FF2B5EF4-FFF2-40B4-BE49-F238E27FC236}">
                      <a16:creationId xmlns:a16="http://schemas.microsoft.com/office/drawing/2014/main" id="{FB217C87-9B3E-4AC0-A0BE-08FB0AA8DCEE}"/>
                    </a:ext>
                  </a:extLst>
                </p:cNvPr>
                <p:cNvSpPr/>
                <p:nvPr/>
              </p:nvSpPr>
              <p:spPr>
                <a:xfrm>
                  <a:off x="4681992" y="5189338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025"/>
                      </a:lnTo>
                      <a:cubicBezTo>
                        <a:pt x="21364" y="6549"/>
                        <a:pt x="21459" y="5882"/>
                        <a:pt x="20604" y="5406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453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9" name="Google Shape;3984;p38">
                  <a:extLst>
                    <a:ext uri="{FF2B5EF4-FFF2-40B4-BE49-F238E27FC236}">
                      <a16:creationId xmlns:a16="http://schemas.microsoft.com/office/drawing/2014/main" id="{11DB172A-5A28-4CD7-B60D-AC23D96DCA0E}"/>
                    </a:ext>
                  </a:extLst>
                </p:cNvPr>
                <p:cNvSpPr/>
                <p:nvPr/>
              </p:nvSpPr>
              <p:spPr>
                <a:xfrm>
                  <a:off x="4669476" y="51821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0" name="Google Shape;3985;p38">
                  <a:extLst>
                    <a:ext uri="{FF2B5EF4-FFF2-40B4-BE49-F238E27FC236}">
                      <a16:creationId xmlns:a16="http://schemas.microsoft.com/office/drawing/2014/main" id="{1C48A823-D03F-4D5F-8348-88CEC5D839CB}"/>
                    </a:ext>
                  </a:extLst>
                </p:cNvPr>
                <p:cNvSpPr/>
                <p:nvPr/>
              </p:nvSpPr>
              <p:spPr>
                <a:xfrm>
                  <a:off x="4656900" y="5174765"/>
                  <a:ext cx="2131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16" h="12299" extrusionOk="0">
                      <a:moveTo>
                        <a:pt x="570" y="6834"/>
                      </a:moveTo>
                      <a:lnTo>
                        <a:pt x="9405" y="11978"/>
                      </a:lnTo>
                      <a:cubicBezTo>
                        <a:pt x="10307" y="12406"/>
                        <a:pt x="11354" y="12406"/>
                        <a:pt x="12255" y="11978"/>
                      </a:cubicBezTo>
                      <a:lnTo>
                        <a:pt x="20711" y="7120"/>
                      </a:lnTo>
                      <a:cubicBezTo>
                        <a:pt x="21471" y="7120"/>
                        <a:pt x="21566" y="5882"/>
                        <a:pt x="20711" y="5501"/>
                      </a:cubicBezTo>
                      <a:lnTo>
                        <a:pt x="11875" y="357"/>
                      </a:lnTo>
                      <a:cubicBezTo>
                        <a:pt x="10984" y="-119"/>
                        <a:pt x="9916" y="-119"/>
                        <a:pt x="9025" y="357"/>
                      </a:cubicBezTo>
                      <a:lnTo>
                        <a:pt x="570" y="5215"/>
                      </a:lnTo>
                      <a:cubicBezTo>
                        <a:pt x="-190" y="5787"/>
                        <a:pt x="-190" y="6834"/>
                        <a:pt x="57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1" name="Google Shape;3986;p38">
                  <a:extLst>
                    <a:ext uri="{FF2B5EF4-FFF2-40B4-BE49-F238E27FC236}">
                      <a16:creationId xmlns:a16="http://schemas.microsoft.com/office/drawing/2014/main" id="{29D924B0-7952-4F8D-8D80-13EB861F690C}"/>
                    </a:ext>
                  </a:extLst>
                </p:cNvPr>
                <p:cNvSpPr/>
                <p:nvPr/>
              </p:nvSpPr>
              <p:spPr>
                <a:xfrm>
                  <a:off x="4644490" y="516765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2" name="Google Shape;3987;p38">
                  <a:extLst>
                    <a:ext uri="{FF2B5EF4-FFF2-40B4-BE49-F238E27FC236}">
                      <a16:creationId xmlns:a16="http://schemas.microsoft.com/office/drawing/2014/main" id="{D0CFAA81-E142-49C3-AF14-A8535BD516D9}"/>
                    </a:ext>
                  </a:extLst>
                </p:cNvPr>
                <p:cNvSpPr/>
                <p:nvPr/>
              </p:nvSpPr>
              <p:spPr>
                <a:xfrm>
                  <a:off x="4632021" y="5160418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6608"/>
                        <a:pt x="21459" y="5846"/>
                        <a:pt x="20604" y="5465"/>
                      </a:cubicBezTo>
                      <a:lnTo>
                        <a:pt x="11769" y="321"/>
                      </a:lnTo>
                      <a:cubicBezTo>
                        <a:pt x="10868" y="-107"/>
                        <a:pt x="9821" y="-107"/>
                        <a:pt x="8919" y="321"/>
                      </a:cubicBezTo>
                      <a:lnTo>
                        <a:pt x="464" y="5179"/>
                      </a:lnTo>
                      <a:cubicBezTo>
                        <a:pt x="-106" y="5751"/>
                        <a:pt x="-201" y="6417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3" name="Google Shape;3988;p38">
                  <a:extLst>
                    <a:ext uri="{FF2B5EF4-FFF2-40B4-BE49-F238E27FC236}">
                      <a16:creationId xmlns:a16="http://schemas.microsoft.com/office/drawing/2014/main" id="{E8A1D166-928F-43D1-871A-367B467AFAEB}"/>
                    </a:ext>
                  </a:extLst>
                </p:cNvPr>
                <p:cNvSpPr/>
                <p:nvPr/>
              </p:nvSpPr>
              <p:spPr>
                <a:xfrm>
                  <a:off x="4619504" y="5153179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59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4" name="Google Shape;3989;p38">
                  <a:extLst>
                    <a:ext uri="{FF2B5EF4-FFF2-40B4-BE49-F238E27FC236}">
                      <a16:creationId xmlns:a16="http://schemas.microsoft.com/office/drawing/2014/main" id="{FA23E63D-7444-498C-BC3C-1B65354ECED8}"/>
                    </a:ext>
                  </a:extLst>
                </p:cNvPr>
                <p:cNvSpPr/>
                <p:nvPr/>
              </p:nvSpPr>
              <p:spPr>
                <a:xfrm>
                  <a:off x="4769418" y="5240428"/>
                  <a:ext cx="30663" cy="177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663" h="17728" extrusionOk="0">
                      <a:moveTo>
                        <a:pt x="535" y="6417"/>
                      </a:moveTo>
                      <a:lnTo>
                        <a:pt x="18775" y="17371"/>
                      </a:lnTo>
                      <a:cubicBezTo>
                        <a:pt x="19667" y="17847"/>
                        <a:pt x="20734" y="17847"/>
                        <a:pt x="21626" y="17371"/>
                      </a:cubicBezTo>
                      <a:lnTo>
                        <a:pt x="29986" y="12513"/>
                      </a:lnTo>
                      <a:cubicBezTo>
                        <a:pt x="30841" y="12037"/>
                        <a:pt x="30936" y="11370"/>
                        <a:pt x="29986" y="10894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275"/>
                        <a:pt x="-225" y="5941"/>
                        <a:pt x="535" y="6417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5" name="Google Shape;3990;p38">
                  <a:extLst>
                    <a:ext uri="{FF2B5EF4-FFF2-40B4-BE49-F238E27FC236}">
                      <a16:creationId xmlns:a16="http://schemas.microsoft.com/office/drawing/2014/main" id="{6BEAAE53-7CF9-4A4C-AAE3-5DB7428D67EF}"/>
                    </a:ext>
                  </a:extLst>
                </p:cNvPr>
                <p:cNvSpPr/>
                <p:nvPr/>
              </p:nvSpPr>
              <p:spPr>
                <a:xfrm>
                  <a:off x="4751035" y="5243345"/>
                  <a:ext cx="2140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00" h="12299" extrusionOk="0">
                      <a:moveTo>
                        <a:pt x="677" y="6834"/>
                      </a:moveTo>
                      <a:lnTo>
                        <a:pt x="9513" y="11978"/>
                      </a:lnTo>
                      <a:cubicBezTo>
                        <a:pt x="10382" y="12406"/>
                        <a:pt x="11398" y="12406"/>
                        <a:pt x="12268" y="11978"/>
                      </a:cubicBezTo>
                      <a:lnTo>
                        <a:pt x="20723" y="7025"/>
                      </a:lnTo>
                      <a:cubicBezTo>
                        <a:pt x="21578" y="7025"/>
                        <a:pt x="21673" y="5882"/>
                        <a:pt x="20723" y="5405"/>
                      </a:cubicBezTo>
                      <a:lnTo>
                        <a:pt x="11888" y="357"/>
                      </a:lnTo>
                      <a:cubicBezTo>
                        <a:pt x="11031" y="-119"/>
                        <a:pt x="9990" y="-119"/>
                        <a:pt x="9133" y="357"/>
                      </a:cubicBezTo>
                      <a:lnTo>
                        <a:pt x="677" y="4929"/>
                      </a:lnTo>
                      <a:cubicBezTo>
                        <a:pt x="-178" y="5691"/>
                        <a:pt x="-273" y="6453"/>
                        <a:pt x="677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6" name="Google Shape;3991;p38">
                  <a:extLst>
                    <a:ext uri="{FF2B5EF4-FFF2-40B4-BE49-F238E27FC236}">
                      <a16:creationId xmlns:a16="http://schemas.microsoft.com/office/drawing/2014/main" id="{A8591249-05E7-42CD-B1DA-855F0987F23E}"/>
                    </a:ext>
                  </a:extLst>
                </p:cNvPr>
                <p:cNvSpPr/>
                <p:nvPr/>
              </p:nvSpPr>
              <p:spPr>
                <a:xfrm>
                  <a:off x="4738529" y="5236106"/>
                  <a:ext cx="2120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00" h="12299" extrusionOk="0">
                      <a:moveTo>
                        <a:pt x="454" y="6834"/>
                      </a:moveTo>
                      <a:lnTo>
                        <a:pt x="9289" y="11978"/>
                      </a:lnTo>
                      <a:cubicBezTo>
                        <a:pt x="10191" y="12406"/>
                        <a:pt x="11238" y="12406"/>
                        <a:pt x="12139" y="11978"/>
                      </a:cubicBezTo>
                      <a:lnTo>
                        <a:pt x="20594" y="7025"/>
                      </a:lnTo>
                      <a:cubicBezTo>
                        <a:pt x="21354" y="6549"/>
                        <a:pt x="21449" y="5882"/>
                        <a:pt x="20594" y="5406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691"/>
                        <a:pt x="-211" y="6453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7" name="Google Shape;3992;p38">
                  <a:extLst>
                    <a:ext uri="{FF2B5EF4-FFF2-40B4-BE49-F238E27FC236}">
                      <a16:creationId xmlns:a16="http://schemas.microsoft.com/office/drawing/2014/main" id="{A6C5E39E-1125-45A8-8E7A-76BFF5DE264C}"/>
                    </a:ext>
                  </a:extLst>
                </p:cNvPr>
                <p:cNvSpPr/>
                <p:nvPr/>
              </p:nvSpPr>
              <p:spPr>
                <a:xfrm>
                  <a:off x="4726002" y="522886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39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548"/>
                        <a:pt x="21531" y="5881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8" name="Google Shape;3993;p38">
                  <a:extLst>
                    <a:ext uri="{FF2B5EF4-FFF2-40B4-BE49-F238E27FC236}">
                      <a16:creationId xmlns:a16="http://schemas.microsoft.com/office/drawing/2014/main" id="{F03119CA-8296-41F1-8493-43730CF66C6B}"/>
                    </a:ext>
                  </a:extLst>
                </p:cNvPr>
                <p:cNvSpPr/>
                <p:nvPr/>
              </p:nvSpPr>
              <p:spPr>
                <a:xfrm>
                  <a:off x="4713712" y="5221628"/>
                  <a:ext cx="2078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81" h="12299" extrusionOk="0">
                      <a:moveTo>
                        <a:pt x="0" y="6834"/>
                      </a:moveTo>
                      <a:lnTo>
                        <a:pt x="8835" y="11978"/>
                      </a:lnTo>
                      <a:cubicBezTo>
                        <a:pt x="9737" y="12406"/>
                        <a:pt x="10784" y="12406"/>
                        <a:pt x="11685" y="11978"/>
                      </a:cubicBezTo>
                      <a:lnTo>
                        <a:pt x="20141" y="7120"/>
                      </a:lnTo>
                      <a:cubicBezTo>
                        <a:pt x="20996" y="6644"/>
                        <a:pt x="20996" y="5882"/>
                        <a:pt x="20141" y="5501"/>
                      </a:cubicBezTo>
                      <a:lnTo>
                        <a:pt x="11305" y="357"/>
                      </a:lnTo>
                      <a:cubicBezTo>
                        <a:pt x="10414" y="-119"/>
                        <a:pt x="9346" y="-119"/>
                        <a:pt x="8455" y="357"/>
                      </a:cubicBezTo>
                      <a:lnTo>
                        <a:pt x="95" y="5215"/>
                      </a:lnTo>
                      <a:cubicBezTo>
                        <a:pt x="0" y="5691"/>
                        <a:pt x="0" y="6453"/>
                        <a:pt x="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9" name="Google Shape;3994;p38">
                  <a:extLst>
                    <a:ext uri="{FF2B5EF4-FFF2-40B4-BE49-F238E27FC236}">
                      <a16:creationId xmlns:a16="http://schemas.microsoft.com/office/drawing/2014/main" id="{6122A134-D9C7-4B1A-B657-878807B784F3}"/>
                    </a:ext>
                  </a:extLst>
                </p:cNvPr>
                <p:cNvSpPr/>
                <p:nvPr/>
              </p:nvSpPr>
              <p:spPr>
                <a:xfrm>
                  <a:off x="4701016" y="521442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61" y="12418"/>
                        <a:pt x="11329" y="12418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274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0" name="Google Shape;3995;p38">
                  <a:extLst>
                    <a:ext uri="{FF2B5EF4-FFF2-40B4-BE49-F238E27FC236}">
                      <a16:creationId xmlns:a16="http://schemas.microsoft.com/office/drawing/2014/main" id="{FB026A04-7662-44E7-A330-5C25D7BACBBE}"/>
                    </a:ext>
                  </a:extLst>
                </p:cNvPr>
                <p:cNvSpPr/>
                <p:nvPr/>
              </p:nvSpPr>
              <p:spPr>
                <a:xfrm>
                  <a:off x="4688557" y="5207186"/>
                  <a:ext cx="2127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71" h="12299" extrusionOk="0">
                      <a:moveTo>
                        <a:pt x="454" y="6894"/>
                      </a:moveTo>
                      <a:lnTo>
                        <a:pt x="9289" y="11942"/>
                      </a:lnTo>
                      <a:cubicBezTo>
                        <a:pt x="10180" y="12418"/>
                        <a:pt x="11248" y="12418"/>
                        <a:pt x="12139" y="11942"/>
                      </a:cubicBezTo>
                      <a:lnTo>
                        <a:pt x="20594" y="7084"/>
                      </a:lnTo>
                      <a:cubicBezTo>
                        <a:pt x="21449" y="6608"/>
                        <a:pt x="21544" y="5846"/>
                        <a:pt x="20594" y="5465"/>
                      </a:cubicBezTo>
                      <a:lnTo>
                        <a:pt x="11759" y="322"/>
                      </a:lnTo>
                      <a:cubicBezTo>
                        <a:pt x="10858" y="-107"/>
                        <a:pt x="9811" y="-107"/>
                        <a:pt x="8909" y="322"/>
                      </a:cubicBezTo>
                      <a:lnTo>
                        <a:pt x="549" y="5274"/>
                      </a:lnTo>
                      <a:cubicBezTo>
                        <a:pt x="-116" y="5751"/>
                        <a:pt x="-211" y="6417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1" name="Google Shape;3996;p38">
                  <a:extLst>
                    <a:ext uri="{FF2B5EF4-FFF2-40B4-BE49-F238E27FC236}">
                      <a16:creationId xmlns:a16="http://schemas.microsoft.com/office/drawing/2014/main" id="{266668AB-CAF8-45D2-A404-C598AAE14539}"/>
                    </a:ext>
                  </a:extLst>
                </p:cNvPr>
                <p:cNvSpPr/>
                <p:nvPr/>
              </p:nvSpPr>
              <p:spPr>
                <a:xfrm>
                  <a:off x="4675924" y="5199947"/>
                  <a:ext cx="2136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64" h="12299" extrusionOk="0">
                      <a:moveTo>
                        <a:pt x="641" y="6894"/>
                      </a:moveTo>
                      <a:lnTo>
                        <a:pt x="9477" y="11942"/>
                      </a:lnTo>
                      <a:cubicBezTo>
                        <a:pt x="10368" y="12418"/>
                        <a:pt x="11435" y="12418"/>
                        <a:pt x="12327" y="11942"/>
                      </a:cubicBezTo>
                      <a:lnTo>
                        <a:pt x="20687" y="7084"/>
                      </a:lnTo>
                      <a:cubicBezTo>
                        <a:pt x="21542" y="6608"/>
                        <a:pt x="21637" y="5846"/>
                        <a:pt x="20687" y="5465"/>
                      </a:cubicBezTo>
                      <a:lnTo>
                        <a:pt x="11852" y="321"/>
                      </a:lnTo>
                      <a:cubicBezTo>
                        <a:pt x="10982" y="-107"/>
                        <a:pt x="9966" y="-107"/>
                        <a:pt x="9096" y="321"/>
                      </a:cubicBezTo>
                      <a:lnTo>
                        <a:pt x="641" y="5275"/>
                      </a:lnTo>
                      <a:cubicBezTo>
                        <a:pt x="-214" y="5751"/>
                        <a:pt x="-214" y="6417"/>
                        <a:pt x="641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2" name="Google Shape;3997;p38">
                  <a:extLst>
                    <a:ext uri="{FF2B5EF4-FFF2-40B4-BE49-F238E27FC236}">
                      <a16:creationId xmlns:a16="http://schemas.microsoft.com/office/drawing/2014/main" id="{F1A843E6-BD02-44D8-AC31-93A316B28495}"/>
                    </a:ext>
                  </a:extLst>
                </p:cNvPr>
                <p:cNvSpPr/>
                <p:nvPr/>
              </p:nvSpPr>
              <p:spPr>
                <a:xfrm>
                  <a:off x="4663585" y="5192708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3" name="Google Shape;3998;p38">
                  <a:extLst>
                    <a:ext uri="{FF2B5EF4-FFF2-40B4-BE49-F238E27FC236}">
                      <a16:creationId xmlns:a16="http://schemas.microsoft.com/office/drawing/2014/main" id="{DD8C25AC-5C92-471A-827A-6C2C2260FD80}"/>
                    </a:ext>
                  </a:extLst>
                </p:cNvPr>
                <p:cNvSpPr/>
                <p:nvPr/>
              </p:nvSpPr>
              <p:spPr>
                <a:xfrm>
                  <a:off x="4651034" y="5185529"/>
                  <a:ext cx="21269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69" h="12299" extrusionOk="0">
                      <a:moveTo>
                        <a:pt x="546" y="6834"/>
                      </a:moveTo>
                      <a:lnTo>
                        <a:pt x="9381" y="11978"/>
                      </a:lnTo>
                      <a:cubicBezTo>
                        <a:pt x="10283" y="12406"/>
                        <a:pt x="11330" y="12406"/>
                        <a:pt x="12232" y="11978"/>
                      </a:cubicBezTo>
                      <a:lnTo>
                        <a:pt x="20592" y="7120"/>
                      </a:lnTo>
                      <a:cubicBezTo>
                        <a:pt x="21447" y="6644"/>
                        <a:pt x="21542" y="5882"/>
                        <a:pt x="20592" y="5501"/>
                      </a:cubicBezTo>
                      <a:lnTo>
                        <a:pt x="11757" y="357"/>
                      </a:lnTo>
                      <a:cubicBezTo>
                        <a:pt x="10865" y="-119"/>
                        <a:pt x="9798" y="-119"/>
                        <a:pt x="8906" y="357"/>
                      </a:cubicBezTo>
                      <a:lnTo>
                        <a:pt x="451" y="5215"/>
                      </a:lnTo>
                      <a:cubicBezTo>
                        <a:pt x="-119" y="5596"/>
                        <a:pt x="-214" y="6358"/>
                        <a:pt x="546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4" name="Google Shape;3999;p38">
                  <a:extLst>
                    <a:ext uri="{FF2B5EF4-FFF2-40B4-BE49-F238E27FC236}">
                      <a16:creationId xmlns:a16="http://schemas.microsoft.com/office/drawing/2014/main" id="{102955B5-5733-45C8-B624-829A2FC70E12}"/>
                    </a:ext>
                  </a:extLst>
                </p:cNvPr>
                <p:cNvSpPr/>
                <p:nvPr/>
              </p:nvSpPr>
              <p:spPr>
                <a:xfrm>
                  <a:off x="4638600" y="5178325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40" y="12371"/>
                        <a:pt x="11256" y="12371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5" name="Google Shape;4000;p38">
                  <a:extLst>
                    <a:ext uri="{FF2B5EF4-FFF2-40B4-BE49-F238E27FC236}">
                      <a16:creationId xmlns:a16="http://schemas.microsoft.com/office/drawing/2014/main" id="{B3B4366F-93C8-4256-96DB-1368824E6FC0}"/>
                    </a:ext>
                  </a:extLst>
                </p:cNvPr>
                <p:cNvSpPr/>
                <p:nvPr/>
              </p:nvSpPr>
              <p:spPr>
                <a:xfrm>
                  <a:off x="4626083" y="5171051"/>
                  <a:ext cx="2123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4" h="12299" extrusionOk="0">
                      <a:moveTo>
                        <a:pt x="511" y="6834"/>
                      </a:moveTo>
                      <a:lnTo>
                        <a:pt x="9347" y="11978"/>
                      </a:lnTo>
                      <a:cubicBezTo>
                        <a:pt x="10248" y="12406"/>
                        <a:pt x="11295" y="12406"/>
                        <a:pt x="12197" y="11978"/>
                      </a:cubicBezTo>
                      <a:lnTo>
                        <a:pt x="20557" y="7025"/>
                      </a:lnTo>
                      <a:cubicBezTo>
                        <a:pt x="21412" y="6548"/>
                        <a:pt x="21507" y="5882"/>
                        <a:pt x="20557" y="5405"/>
                      </a:cubicBezTo>
                      <a:lnTo>
                        <a:pt x="11722" y="357"/>
                      </a:lnTo>
                      <a:cubicBezTo>
                        <a:pt x="10831" y="-119"/>
                        <a:pt x="9763" y="-119"/>
                        <a:pt x="8872" y="357"/>
                      </a:cubicBezTo>
                      <a:lnTo>
                        <a:pt x="416" y="5215"/>
                      </a:lnTo>
                      <a:cubicBezTo>
                        <a:pt x="-154" y="5691"/>
                        <a:pt x="-154" y="6453"/>
                        <a:pt x="511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6" name="Google Shape;4001;p38">
                  <a:extLst>
                    <a:ext uri="{FF2B5EF4-FFF2-40B4-BE49-F238E27FC236}">
                      <a16:creationId xmlns:a16="http://schemas.microsoft.com/office/drawing/2014/main" id="{2563C858-E905-47E2-90E3-73B3D1002B0D}"/>
                    </a:ext>
                  </a:extLst>
                </p:cNvPr>
                <p:cNvSpPr/>
                <p:nvPr/>
              </p:nvSpPr>
              <p:spPr>
                <a:xfrm>
                  <a:off x="4598129" y="5154858"/>
                  <a:ext cx="36743" cy="212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743" h="21252" extrusionOk="0">
                      <a:moveTo>
                        <a:pt x="535" y="6834"/>
                      </a:moveTo>
                      <a:lnTo>
                        <a:pt x="24856" y="20931"/>
                      </a:lnTo>
                      <a:cubicBezTo>
                        <a:pt x="25725" y="21360"/>
                        <a:pt x="26741" y="21360"/>
                        <a:pt x="27611" y="20931"/>
                      </a:cubicBezTo>
                      <a:lnTo>
                        <a:pt x="36066" y="15978"/>
                      </a:lnTo>
                      <a:cubicBezTo>
                        <a:pt x="36921" y="15502"/>
                        <a:pt x="37016" y="14835"/>
                        <a:pt x="36066" y="14359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7" name="Google Shape;4002;p38">
                  <a:extLst>
                    <a:ext uri="{FF2B5EF4-FFF2-40B4-BE49-F238E27FC236}">
                      <a16:creationId xmlns:a16="http://schemas.microsoft.com/office/drawing/2014/main" id="{482C371C-8CD0-4363-88FD-0BA5E246707F}"/>
                    </a:ext>
                  </a:extLst>
                </p:cNvPr>
                <p:cNvSpPr/>
                <p:nvPr/>
              </p:nvSpPr>
              <p:spPr>
                <a:xfrm>
                  <a:off x="4763493" y="5250906"/>
                  <a:ext cx="24428" cy="142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428" h="14204" extrusionOk="0">
                      <a:moveTo>
                        <a:pt x="475" y="6894"/>
                      </a:moveTo>
                      <a:lnTo>
                        <a:pt x="12540" y="13847"/>
                      </a:lnTo>
                      <a:cubicBezTo>
                        <a:pt x="13431" y="14323"/>
                        <a:pt x="14499" y="14323"/>
                        <a:pt x="15390" y="13847"/>
                      </a:cubicBezTo>
                      <a:lnTo>
                        <a:pt x="23751" y="8989"/>
                      </a:lnTo>
                      <a:cubicBezTo>
                        <a:pt x="24606" y="8513"/>
                        <a:pt x="24701" y="7751"/>
                        <a:pt x="23751" y="7370"/>
                      </a:cubicBezTo>
                      <a:lnTo>
                        <a:pt x="11685" y="321"/>
                      </a:lnTo>
                      <a:cubicBezTo>
                        <a:pt x="10784" y="-107"/>
                        <a:pt x="9737" y="-107"/>
                        <a:pt x="8835" y="321"/>
                      </a:cubicBezTo>
                      <a:lnTo>
                        <a:pt x="380" y="5179"/>
                      </a:lnTo>
                      <a:cubicBezTo>
                        <a:pt x="-95" y="5370"/>
                        <a:pt x="-190" y="6132"/>
                        <a:pt x="47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170" name="Google Shape;4003;p38">
                <a:extLst>
                  <a:ext uri="{FF2B5EF4-FFF2-40B4-BE49-F238E27FC236}">
                    <a16:creationId xmlns:a16="http://schemas.microsoft.com/office/drawing/2014/main" id="{506B27A1-3AB2-48C2-BEBC-F5F8F2957AE1}"/>
                  </a:ext>
                </a:extLst>
              </p:cNvPr>
              <p:cNvGrpSpPr/>
              <p:nvPr/>
            </p:nvGrpSpPr>
            <p:grpSpPr>
              <a:xfrm>
                <a:off x="4655095" y="4952197"/>
                <a:ext cx="207390" cy="280361"/>
                <a:chOff x="4655095" y="4952197"/>
                <a:chExt cx="207390" cy="280361"/>
              </a:xfrm>
            </p:grpSpPr>
            <p:grpSp>
              <p:nvGrpSpPr>
                <p:cNvPr id="171" name="Google Shape;4004;p38">
                  <a:extLst>
                    <a:ext uri="{FF2B5EF4-FFF2-40B4-BE49-F238E27FC236}">
                      <a16:creationId xmlns:a16="http://schemas.microsoft.com/office/drawing/2014/main" id="{60AFCD74-531C-4C1A-A462-7918858BDC57}"/>
                    </a:ext>
                  </a:extLst>
                </p:cNvPr>
                <p:cNvGrpSpPr/>
                <p:nvPr/>
              </p:nvGrpSpPr>
              <p:grpSpPr>
                <a:xfrm>
                  <a:off x="4655095" y="4952197"/>
                  <a:ext cx="207390" cy="280361"/>
                  <a:chOff x="4655095" y="4952197"/>
                  <a:chExt cx="207390" cy="280361"/>
                </a:xfrm>
              </p:grpSpPr>
              <p:sp>
                <p:nvSpPr>
                  <p:cNvPr id="175" name="Google Shape;4005;p38">
                    <a:extLst>
                      <a:ext uri="{FF2B5EF4-FFF2-40B4-BE49-F238E27FC236}">
                        <a16:creationId xmlns:a16="http://schemas.microsoft.com/office/drawing/2014/main" id="{1F0FC6EB-E265-4E9D-9943-C2B16E2C43DF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2197"/>
                    <a:ext cx="207390" cy="28036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7390" h="280361" extrusionOk="0">
                        <a:moveTo>
                          <a:pt x="200455" y="280361"/>
                        </a:moveTo>
                        <a:lnTo>
                          <a:pt x="200455" y="280361"/>
                        </a:lnTo>
                        <a:lnTo>
                          <a:pt x="0" y="164251"/>
                        </a:lnTo>
                        <a:lnTo>
                          <a:pt x="0" y="6232"/>
                        </a:lnTo>
                        <a:lnTo>
                          <a:pt x="1520" y="2612"/>
                        </a:lnTo>
                        <a:lnTo>
                          <a:pt x="3230" y="1850"/>
                        </a:lnTo>
                        <a:lnTo>
                          <a:pt x="3230" y="1850"/>
                        </a:lnTo>
                        <a:cubicBezTo>
                          <a:pt x="7492" y="-617"/>
                          <a:pt x="12744" y="-617"/>
                          <a:pt x="17005" y="1850"/>
                        </a:cubicBezTo>
                        <a:lnTo>
                          <a:pt x="200455" y="108054"/>
                        </a:lnTo>
                        <a:cubicBezTo>
                          <a:pt x="204734" y="110530"/>
                          <a:pt x="207375" y="115102"/>
                          <a:pt x="207391" y="120055"/>
                        </a:cubicBezTo>
                        <a:lnTo>
                          <a:pt x="207391" y="268360"/>
                        </a:lnTo>
                        <a:cubicBezTo>
                          <a:pt x="206156" y="275980"/>
                          <a:pt x="204731" y="277885"/>
                          <a:pt x="200455" y="280361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6" name="Google Shape;4006;p38">
                    <a:extLst>
                      <a:ext uri="{FF2B5EF4-FFF2-40B4-BE49-F238E27FC236}">
                        <a16:creationId xmlns:a16="http://schemas.microsoft.com/office/drawing/2014/main" id="{9C582E57-A099-49FD-A861-85D989D317EA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2197"/>
                    <a:ext cx="205775" cy="12710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5775" h="127104" extrusionOk="0">
                        <a:moveTo>
                          <a:pt x="182120" y="127104"/>
                        </a:moveTo>
                        <a:lnTo>
                          <a:pt x="0" y="11470"/>
                        </a:lnTo>
                        <a:lnTo>
                          <a:pt x="0" y="6232"/>
                        </a:lnTo>
                        <a:lnTo>
                          <a:pt x="1520" y="2612"/>
                        </a:lnTo>
                        <a:lnTo>
                          <a:pt x="3230" y="1850"/>
                        </a:lnTo>
                        <a:cubicBezTo>
                          <a:pt x="7492" y="-617"/>
                          <a:pt x="12744" y="-617"/>
                          <a:pt x="17005" y="1850"/>
                        </a:cubicBezTo>
                        <a:lnTo>
                          <a:pt x="200455" y="108054"/>
                        </a:lnTo>
                        <a:cubicBezTo>
                          <a:pt x="202698" y="109330"/>
                          <a:pt x="204541" y="111216"/>
                          <a:pt x="205776" y="113483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7" name="Google Shape;4007;p38">
                    <a:extLst>
                      <a:ext uri="{FF2B5EF4-FFF2-40B4-BE49-F238E27FC236}">
                        <a16:creationId xmlns:a16="http://schemas.microsoft.com/office/drawing/2014/main" id="{C0F2D7E2-67F4-4A4E-BBB6-5555E98A2604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4417"/>
                    <a:ext cx="200455" cy="27814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278140" extrusionOk="0">
                        <a:moveTo>
                          <a:pt x="4655" y="392"/>
                        </a:moveTo>
                        <a:lnTo>
                          <a:pt x="197130" y="111834"/>
                        </a:lnTo>
                        <a:cubicBezTo>
                          <a:pt x="199185" y="113044"/>
                          <a:pt x="200449" y="115254"/>
                          <a:pt x="200455" y="117645"/>
                        </a:cubicBezTo>
                        <a:lnTo>
                          <a:pt x="200455" y="278141"/>
                        </a:lnTo>
                        <a:lnTo>
                          <a:pt x="0" y="162031"/>
                        </a:lnTo>
                        <a:lnTo>
                          <a:pt x="0" y="3059"/>
                        </a:lnTo>
                        <a:cubicBezTo>
                          <a:pt x="45" y="1325"/>
                          <a:pt x="1485" y="-46"/>
                          <a:pt x="3215" y="1"/>
                        </a:cubicBezTo>
                        <a:cubicBezTo>
                          <a:pt x="3720" y="11"/>
                          <a:pt x="4213" y="144"/>
                          <a:pt x="4655" y="392"/>
                        </a:cubicBezTo>
                        <a:close/>
                      </a:path>
                    </a:pathLst>
                  </a:custGeom>
                  <a:solidFill>
                    <a:srgbClr val="DCEE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8" name="Google Shape;4008;p38">
                    <a:extLst>
                      <a:ext uri="{FF2B5EF4-FFF2-40B4-BE49-F238E27FC236}">
                        <a16:creationId xmlns:a16="http://schemas.microsoft.com/office/drawing/2014/main" id="{2F71A566-0556-4D3E-A338-1156BA839ABE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4417"/>
                    <a:ext cx="200455" cy="27814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278140" extrusionOk="0">
                        <a:moveTo>
                          <a:pt x="4655" y="392"/>
                        </a:moveTo>
                        <a:lnTo>
                          <a:pt x="197130" y="111834"/>
                        </a:lnTo>
                        <a:cubicBezTo>
                          <a:pt x="199185" y="113044"/>
                          <a:pt x="200449" y="115254"/>
                          <a:pt x="200455" y="117645"/>
                        </a:cubicBezTo>
                        <a:lnTo>
                          <a:pt x="200455" y="278141"/>
                        </a:lnTo>
                        <a:lnTo>
                          <a:pt x="0" y="162031"/>
                        </a:lnTo>
                        <a:lnTo>
                          <a:pt x="0" y="3059"/>
                        </a:lnTo>
                        <a:cubicBezTo>
                          <a:pt x="45" y="1325"/>
                          <a:pt x="1485" y="-46"/>
                          <a:pt x="3215" y="1"/>
                        </a:cubicBezTo>
                        <a:cubicBezTo>
                          <a:pt x="3720" y="11"/>
                          <a:pt x="4213" y="144"/>
                          <a:pt x="4655" y="392"/>
                        </a:cubicBezTo>
                        <a:close/>
                      </a:path>
                    </a:pathLst>
                  </a:custGeom>
                  <a:solidFill>
                    <a:srgbClr val="F4F4F4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9" name="Google Shape;4009;p38">
                    <a:extLst>
                      <a:ext uri="{FF2B5EF4-FFF2-40B4-BE49-F238E27FC236}">
                        <a16:creationId xmlns:a16="http://schemas.microsoft.com/office/drawing/2014/main" id="{56365D63-197A-4EA1-80AD-5C06357FE69D}"/>
                      </a:ext>
                    </a:extLst>
                  </p:cNvPr>
                  <p:cNvSpPr/>
                  <p:nvPr/>
                </p:nvSpPr>
                <p:spPr>
                  <a:xfrm>
                    <a:off x="4655095" y="5110733"/>
                    <a:ext cx="200455" cy="12182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121824" extrusionOk="0">
                        <a:moveTo>
                          <a:pt x="200455" y="121825"/>
                        </a:moveTo>
                        <a:lnTo>
                          <a:pt x="200455" y="116014"/>
                        </a:lnTo>
                        <a:lnTo>
                          <a:pt x="0" y="0"/>
                        </a:lnTo>
                        <a:lnTo>
                          <a:pt x="0" y="5715"/>
                        </a:lnTo>
                        <a:lnTo>
                          <a:pt x="200455" y="121825"/>
                        </a:lnTo>
                        <a:close/>
                      </a:path>
                    </a:pathLst>
                  </a:custGeom>
                  <a:solidFill>
                    <a:srgbClr val="DBDBDB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172" name="Google Shape;4010;p38">
                  <a:extLst>
                    <a:ext uri="{FF2B5EF4-FFF2-40B4-BE49-F238E27FC236}">
                      <a16:creationId xmlns:a16="http://schemas.microsoft.com/office/drawing/2014/main" id="{EF76E33E-E274-43A6-909F-C2EA6DDAD2F8}"/>
                    </a:ext>
                  </a:extLst>
                </p:cNvPr>
                <p:cNvSpPr/>
                <p:nvPr/>
              </p:nvSpPr>
              <p:spPr>
                <a:xfrm>
                  <a:off x="4660320" y="4963096"/>
                  <a:ext cx="2375" cy="144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75" h="144970" extrusionOk="0">
                      <a:moveTo>
                        <a:pt x="0" y="144971"/>
                      </a:moveTo>
                      <a:lnTo>
                        <a:pt x="0" y="0"/>
                      </a:lnTo>
                      <a:lnTo>
                        <a:pt x="2375" y="1429"/>
                      </a:lnTo>
                      <a:lnTo>
                        <a:pt x="2375" y="143732"/>
                      </a:lnTo>
                      <a:lnTo>
                        <a:pt x="0" y="14497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3" name="Google Shape;4011;p38">
                  <a:extLst>
                    <a:ext uri="{FF2B5EF4-FFF2-40B4-BE49-F238E27FC236}">
                      <a16:creationId xmlns:a16="http://schemas.microsoft.com/office/drawing/2014/main" id="{56B60464-0092-450F-B5F4-C71B0295D82D}"/>
                    </a:ext>
                  </a:extLst>
                </p:cNvPr>
                <p:cNvSpPr/>
                <p:nvPr/>
              </p:nvSpPr>
              <p:spPr>
                <a:xfrm>
                  <a:off x="4662695" y="4964525"/>
                  <a:ext cx="186490" cy="2499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490" h="249936" extrusionOk="0">
                      <a:moveTo>
                        <a:pt x="0" y="0"/>
                      </a:moveTo>
                      <a:lnTo>
                        <a:pt x="0" y="142304"/>
                      </a:lnTo>
                      <a:lnTo>
                        <a:pt x="186490" y="249936"/>
                      </a:lnTo>
                      <a:lnTo>
                        <a:pt x="186490" y="10791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4" name="Google Shape;4012;p38">
                  <a:extLst>
                    <a:ext uri="{FF2B5EF4-FFF2-40B4-BE49-F238E27FC236}">
                      <a16:creationId xmlns:a16="http://schemas.microsoft.com/office/drawing/2014/main" id="{510EB25E-CDC6-4FD6-AE31-53DB68356267}"/>
                    </a:ext>
                  </a:extLst>
                </p:cNvPr>
                <p:cNvSpPr/>
                <p:nvPr/>
              </p:nvSpPr>
              <p:spPr>
                <a:xfrm>
                  <a:off x="4660320" y="5106828"/>
                  <a:ext cx="188865" cy="1104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8865" h="110490" extrusionOk="0">
                      <a:moveTo>
                        <a:pt x="0" y="1238"/>
                      </a:moveTo>
                      <a:lnTo>
                        <a:pt x="188865" y="110490"/>
                      </a:lnTo>
                      <a:lnTo>
                        <a:pt x="188865" y="107633"/>
                      </a:lnTo>
                      <a:lnTo>
                        <a:pt x="2375" y="0"/>
                      </a:lnTo>
                      <a:lnTo>
                        <a:pt x="0" y="123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134" name="Google Shape;4013;p38">
              <a:extLst>
                <a:ext uri="{FF2B5EF4-FFF2-40B4-BE49-F238E27FC236}">
                  <a16:creationId xmlns:a16="http://schemas.microsoft.com/office/drawing/2014/main" id="{DA171CC6-4390-4963-94CB-520925EC5158}"/>
                </a:ext>
              </a:extLst>
            </p:cNvPr>
            <p:cNvSpPr/>
            <p:nvPr/>
          </p:nvSpPr>
          <p:spPr>
            <a:xfrm>
              <a:off x="2270876" y="3943763"/>
              <a:ext cx="260754" cy="432930"/>
            </a:xfrm>
            <a:custGeom>
              <a:avLst/>
              <a:gdLst/>
              <a:ahLst/>
              <a:cxnLst/>
              <a:rect l="l" t="t" r="r" b="b"/>
              <a:pathLst>
                <a:path w="260754" h="432930" extrusionOk="0">
                  <a:moveTo>
                    <a:pt x="89949" y="4025"/>
                  </a:moveTo>
                  <a:cubicBezTo>
                    <a:pt x="85198" y="15931"/>
                    <a:pt x="97264" y="30504"/>
                    <a:pt x="129565" y="40696"/>
                  </a:cubicBezTo>
                  <a:cubicBezTo>
                    <a:pt x="161866" y="50888"/>
                    <a:pt x="164811" y="37839"/>
                    <a:pt x="164811" y="37839"/>
                  </a:cubicBezTo>
                  <a:cubicBezTo>
                    <a:pt x="186348" y="47478"/>
                    <a:pt x="207342" y="58289"/>
                    <a:pt x="227702" y="70224"/>
                  </a:cubicBezTo>
                  <a:cubicBezTo>
                    <a:pt x="246703" y="83844"/>
                    <a:pt x="255633" y="123183"/>
                    <a:pt x="258293" y="189667"/>
                  </a:cubicBezTo>
                  <a:cubicBezTo>
                    <a:pt x="261333" y="266534"/>
                    <a:pt x="261523" y="380167"/>
                    <a:pt x="259053" y="400265"/>
                  </a:cubicBezTo>
                  <a:cubicBezTo>
                    <a:pt x="259053" y="400265"/>
                    <a:pt x="222762" y="436460"/>
                    <a:pt x="176401" y="432650"/>
                  </a:cubicBezTo>
                  <a:cubicBezTo>
                    <a:pt x="130040" y="428840"/>
                    <a:pt x="51948" y="387692"/>
                    <a:pt x="32947" y="355878"/>
                  </a:cubicBezTo>
                  <a:cubicBezTo>
                    <a:pt x="33517" y="288441"/>
                    <a:pt x="41307" y="277488"/>
                    <a:pt x="30477" y="238626"/>
                  </a:cubicBezTo>
                  <a:cubicBezTo>
                    <a:pt x="5586" y="149757"/>
                    <a:pt x="-7524" y="113372"/>
                    <a:pt x="4541" y="54317"/>
                  </a:cubicBezTo>
                  <a:cubicBezTo>
                    <a:pt x="14517" y="5644"/>
                    <a:pt x="28482" y="-452"/>
                    <a:pt x="47672" y="24"/>
                  </a:cubicBezTo>
                  <a:cubicBezTo>
                    <a:pt x="61825" y="605"/>
                    <a:pt x="75937" y="1939"/>
                    <a:pt x="89949" y="4025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4014;p38">
              <a:extLst>
                <a:ext uri="{FF2B5EF4-FFF2-40B4-BE49-F238E27FC236}">
                  <a16:creationId xmlns:a16="http://schemas.microsoft.com/office/drawing/2014/main" id="{CDF30CD5-3000-4DF3-A6D7-2BAF411F2AAF}"/>
                </a:ext>
              </a:extLst>
            </p:cNvPr>
            <p:cNvSpPr/>
            <p:nvPr/>
          </p:nvSpPr>
          <p:spPr>
            <a:xfrm>
              <a:off x="2458935" y="4016678"/>
              <a:ext cx="330765" cy="258321"/>
            </a:xfrm>
            <a:custGeom>
              <a:avLst/>
              <a:gdLst/>
              <a:ahLst/>
              <a:cxnLst/>
              <a:rect l="l" t="t" r="r" b="b"/>
              <a:pathLst>
                <a:path w="330765" h="258321" extrusionOk="0">
                  <a:moveTo>
                    <a:pt x="146521" y="199144"/>
                  </a:moveTo>
                  <a:cubicBezTo>
                    <a:pt x="108520" y="208669"/>
                    <a:pt x="99495" y="184666"/>
                    <a:pt x="94460" y="164759"/>
                  </a:cubicBezTo>
                  <a:cubicBezTo>
                    <a:pt x="82394" y="116467"/>
                    <a:pt x="75459" y="72938"/>
                    <a:pt x="66814" y="45506"/>
                  </a:cubicBezTo>
                  <a:cubicBezTo>
                    <a:pt x="56174" y="13216"/>
                    <a:pt x="45058" y="8073"/>
                    <a:pt x="29383" y="1786"/>
                  </a:cubicBezTo>
                  <a:cubicBezTo>
                    <a:pt x="11047" y="-5643"/>
                    <a:pt x="-4818" y="9977"/>
                    <a:pt x="1357" y="51031"/>
                  </a:cubicBezTo>
                  <a:cubicBezTo>
                    <a:pt x="8834" y="98770"/>
                    <a:pt x="20501" y="145747"/>
                    <a:pt x="36223" y="191429"/>
                  </a:cubicBezTo>
                  <a:cubicBezTo>
                    <a:pt x="40973" y="206478"/>
                    <a:pt x="51614" y="233148"/>
                    <a:pt x="67479" y="246102"/>
                  </a:cubicBezTo>
                  <a:cubicBezTo>
                    <a:pt x="87144" y="262009"/>
                    <a:pt x="116690" y="261342"/>
                    <a:pt x="161437" y="250103"/>
                  </a:cubicBezTo>
                  <a:cubicBezTo>
                    <a:pt x="180437" y="245340"/>
                    <a:pt x="201528" y="233910"/>
                    <a:pt x="237439" y="217051"/>
                  </a:cubicBezTo>
                  <a:cubicBezTo>
                    <a:pt x="246939" y="212479"/>
                    <a:pt x="254634" y="209526"/>
                    <a:pt x="273255" y="200763"/>
                  </a:cubicBezTo>
                  <a:cubicBezTo>
                    <a:pt x="291856" y="192334"/>
                    <a:pt x="308153" y="179523"/>
                    <a:pt x="320756" y="163425"/>
                  </a:cubicBezTo>
                  <a:cubicBezTo>
                    <a:pt x="330256" y="149328"/>
                    <a:pt x="331776" y="142661"/>
                    <a:pt x="330256" y="139423"/>
                  </a:cubicBezTo>
                  <a:cubicBezTo>
                    <a:pt x="328736" y="136184"/>
                    <a:pt x="323321" y="136279"/>
                    <a:pt x="318096" y="142185"/>
                  </a:cubicBezTo>
                  <a:cubicBezTo>
                    <a:pt x="310637" y="152300"/>
                    <a:pt x="301357" y="160920"/>
                    <a:pt x="290735" y="167616"/>
                  </a:cubicBezTo>
                  <a:cubicBezTo>
                    <a:pt x="290735" y="167616"/>
                    <a:pt x="302800" y="155139"/>
                    <a:pt x="309261" y="147042"/>
                  </a:cubicBezTo>
                  <a:cubicBezTo>
                    <a:pt x="315140" y="139908"/>
                    <a:pt x="320001" y="131993"/>
                    <a:pt x="323701" y="123516"/>
                  </a:cubicBezTo>
                  <a:cubicBezTo>
                    <a:pt x="327121" y="115229"/>
                    <a:pt x="319996" y="103989"/>
                    <a:pt x="314201" y="109895"/>
                  </a:cubicBezTo>
                  <a:cubicBezTo>
                    <a:pt x="308406" y="115800"/>
                    <a:pt x="306221" y="121801"/>
                    <a:pt x="296340" y="133612"/>
                  </a:cubicBezTo>
                  <a:cubicBezTo>
                    <a:pt x="291172" y="139918"/>
                    <a:pt x="285271" y="145576"/>
                    <a:pt x="278765" y="150471"/>
                  </a:cubicBezTo>
                  <a:cubicBezTo>
                    <a:pt x="284870" y="142194"/>
                    <a:pt x="290302" y="133431"/>
                    <a:pt x="295010" y="124277"/>
                  </a:cubicBezTo>
                  <a:cubicBezTo>
                    <a:pt x="299192" y="117096"/>
                    <a:pt x="301237" y="108866"/>
                    <a:pt x="300900" y="100560"/>
                  </a:cubicBezTo>
                  <a:cubicBezTo>
                    <a:pt x="300900" y="96274"/>
                    <a:pt x="294535" y="91035"/>
                    <a:pt x="288835" y="99322"/>
                  </a:cubicBezTo>
                  <a:cubicBezTo>
                    <a:pt x="283306" y="110552"/>
                    <a:pt x="276448" y="121077"/>
                    <a:pt x="268409" y="130659"/>
                  </a:cubicBezTo>
                  <a:cubicBezTo>
                    <a:pt x="259669" y="139708"/>
                    <a:pt x="252354" y="144852"/>
                    <a:pt x="252069" y="142375"/>
                  </a:cubicBezTo>
                  <a:cubicBezTo>
                    <a:pt x="251784" y="139899"/>
                    <a:pt x="257389" y="134946"/>
                    <a:pt x="260429" y="124373"/>
                  </a:cubicBezTo>
                  <a:cubicBezTo>
                    <a:pt x="263469" y="113800"/>
                    <a:pt x="260429" y="102656"/>
                    <a:pt x="254634" y="101513"/>
                  </a:cubicBezTo>
                  <a:cubicBezTo>
                    <a:pt x="248839" y="100370"/>
                    <a:pt x="249979" y="100560"/>
                    <a:pt x="245134" y="110466"/>
                  </a:cubicBezTo>
                  <a:cubicBezTo>
                    <a:pt x="238797" y="120601"/>
                    <a:pt x="233117" y="131126"/>
                    <a:pt x="228128" y="141994"/>
                  </a:cubicBezTo>
                  <a:cubicBezTo>
                    <a:pt x="225144" y="152138"/>
                    <a:pt x="219767" y="161416"/>
                    <a:pt x="212453" y="169045"/>
                  </a:cubicBezTo>
                  <a:cubicBezTo>
                    <a:pt x="203428" y="178951"/>
                    <a:pt x="182717" y="190000"/>
                    <a:pt x="146521" y="19914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4015;p38">
              <a:extLst>
                <a:ext uri="{FF2B5EF4-FFF2-40B4-BE49-F238E27FC236}">
                  <a16:creationId xmlns:a16="http://schemas.microsoft.com/office/drawing/2014/main" id="{27E1B702-9826-4279-B47D-CE80F79D63C4}"/>
                </a:ext>
              </a:extLst>
            </p:cNvPr>
            <p:cNvSpPr/>
            <p:nvPr/>
          </p:nvSpPr>
          <p:spPr>
            <a:xfrm>
              <a:off x="2447141" y="4011203"/>
              <a:ext cx="100743" cy="148055"/>
            </a:xfrm>
            <a:custGeom>
              <a:avLst/>
              <a:gdLst/>
              <a:ahLst/>
              <a:cxnLst/>
              <a:rect l="l" t="t" r="r" b="b"/>
              <a:pathLst>
                <a:path w="100743" h="148055" extrusionOk="0">
                  <a:moveTo>
                    <a:pt x="27117" y="689"/>
                  </a:moveTo>
                  <a:cubicBezTo>
                    <a:pt x="52482" y="-3121"/>
                    <a:pt x="70438" y="8404"/>
                    <a:pt x="81743" y="46981"/>
                  </a:cubicBezTo>
                  <a:cubicBezTo>
                    <a:pt x="93049" y="85557"/>
                    <a:pt x="100744" y="117370"/>
                    <a:pt x="100744" y="117370"/>
                  </a:cubicBezTo>
                  <a:cubicBezTo>
                    <a:pt x="90684" y="132001"/>
                    <a:pt x="75423" y="142231"/>
                    <a:pt x="58088" y="145945"/>
                  </a:cubicBezTo>
                  <a:cubicBezTo>
                    <a:pt x="27687" y="153375"/>
                    <a:pt x="16761" y="138801"/>
                    <a:pt x="16761" y="138801"/>
                  </a:cubicBezTo>
                  <a:cubicBezTo>
                    <a:pt x="16761" y="138801"/>
                    <a:pt x="8306" y="98320"/>
                    <a:pt x="3081" y="70793"/>
                  </a:cubicBezTo>
                  <a:cubicBezTo>
                    <a:pt x="-2144" y="43266"/>
                    <a:pt x="-4329" y="5356"/>
                    <a:pt x="27117" y="68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4016;p38">
              <a:extLst>
                <a:ext uri="{FF2B5EF4-FFF2-40B4-BE49-F238E27FC236}">
                  <a16:creationId xmlns:a16="http://schemas.microsoft.com/office/drawing/2014/main" id="{6402F802-8236-41EE-94E2-94D4F4C82E4E}"/>
                </a:ext>
              </a:extLst>
            </p:cNvPr>
            <p:cNvSpPr/>
            <p:nvPr/>
          </p:nvSpPr>
          <p:spPr>
            <a:xfrm>
              <a:off x="2331622" y="3739152"/>
              <a:ext cx="164429" cy="181621"/>
            </a:xfrm>
            <a:custGeom>
              <a:avLst/>
              <a:gdLst/>
              <a:ahLst/>
              <a:cxnLst/>
              <a:rect l="l" t="t" r="r" b="b"/>
              <a:pathLst>
                <a:path w="164429" h="181621" extrusionOk="0">
                  <a:moveTo>
                    <a:pt x="155175" y="75001"/>
                  </a:moveTo>
                  <a:cubicBezTo>
                    <a:pt x="155175" y="75001"/>
                    <a:pt x="195362" y="13755"/>
                    <a:pt x="108244" y="1277"/>
                  </a:cubicBezTo>
                  <a:cubicBezTo>
                    <a:pt x="45447" y="-7771"/>
                    <a:pt x="5166" y="32710"/>
                    <a:pt x="511" y="76620"/>
                  </a:cubicBezTo>
                  <a:cubicBezTo>
                    <a:pt x="-3954" y="118530"/>
                    <a:pt x="21792" y="162345"/>
                    <a:pt x="40412" y="179300"/>
                  </a:cubicBezTo>
                  <a:cubicBezTo>
                    <a:pt x="58682" y="183929"/>
                    <a:pt x="78014" y="181586"/>
                    <a:pt x="94659" y="172727"/>
                  </a:cubicBezTo>
                  <a:cubicBezTo>
                    <a:pt x="95657" y="161326"/>
                    <a:pt x="96038" y="149877"/>
                    <a:pt x="95799" y="138437"/>
                  </a:cubicBezTo>
                  <a:cubicBezTo>
                    <a:pt x="95799" y="138437"/>
                    <a:pt x="65208" y="73858"/>
                    <a:pt x="155175" y="7500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4017;p38">
              <a:extLst>
                <a:ext uri="{FF2B5EF4-FFF2-40B4-BE49-F238E27FC236}">
                  <a16:creationId xmlns:a16="http://schemas.microsoft.com/office/drawing/2014/main" id="{EBA2A664-F14D-4E07-A228-853DA1ED2874}"/>
                </a:ext>
              </a:extLst>
            </p:cNvPr>
            <p:cNvSpPr/>
            <p:nvPr/>
          </p:nvSpPr>
          <p:spPr>
            <a:xfrm>
              <a:off x="2515394" y="4404988"/>
              <a:ext cx="145638" cy="201549"/>
            </a:xfrm>
            <a:custGeom>
              <a:avLst/>
              <a:gdLst/>
              <a:ahLst/>
              <a:cxnLst/>
              <a:rect l="l" t="t" r="r" b="b"/>
              <a:pathLst>
                <a:path w="145638" h="201549" extrusionOk="0">
                  <a:moveTo>
                    <a:pt x="145639" y="183928"/>
                  </a:moveTo>
                  <a:lnTo>
                    <a:pt x="145639" y="0"/>
                  </a:lnTo>
                  <a:lnTo>
                    <a:pt x="0" y="85249"/>
                  </a:lnTo>
                  <a:lnTo>
                    <a:pt x="56052" y="201549"/>
                  </a:lnTo>
                  <a:lnTo>
                    <a:pt x="145639" y="183928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4018;p38">
              <a:extLst>
                <a:ext uri="{FF2B5EF4-FFF2-40B4-BE49-F238E27FC236}">
                  <a16:creationId xmlns:a16="http://schemas.microsoft.com/office/drawing/2014/main" id="{3486BD62-997E-4CA5-B5E6-F00B72EA77A4}"/>
                </a:ext>
              </a:extLst>
            </p:cNvPr>
            <p:cNvSpPr/>
            <p:nvPr/>
          </p:nvSpPr>
          <p:spPr>
            <a:xfrm>
              <a:off x="2565555" y="4383081"/>
              <a:ext cx="95477" cy="55816"/>
            </a:xfrm>
            <a:custGeom>
              <a:avLst/>
              <a:gdLst/>
              <a:ahLst/>
              <a:cxnLst/>
              <a:rect l="l" t="t" r="r" b="b"/>
              <a:pathLst>
                <a:path w="95477" h="55816" extrusionOk="0">
                  <a:moveTo>
                    <a:pt x="0" y="32480"/>
                  </a:moveTo>
                  <a:lnTo>
                    <a:pt x="55862" y="0"/>
                  </a:lnTo>
                  <a:lnTo>
                    <a:pt x="95478" y="22860"/>
                  </a:lnTo>
                  <a:lnTo>
                    <a:pt x="37526" y="55816"/>
                  </a:lnTo>
                  <a:lnTo>
                    <a:pt x="0" y="32480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4019;p38">
              <a:extLst>
                <a:ext uri="{FF2B5EF4-FFF2-40B4-BE49-F238E27FC236}">
                  <a16:creationId xmlns:a16="http://schemas.microsoft.com/office/drawing/2014/main" id="{284F26E9-1873-4AFC-966A-A2341BB8A509}"/>
                </a:ext>
              </a:extLst>
            </p:cNvPr>
            <p:cNvSpPr/>
            <p:nvPr/>
          </p:nvSpPr>
          <p:spPr>
            <a:xfrm>
              <a:off x="4383145" y="3435820"/>
              <a:ext cx="77712" cy="44958"/>
            </a:xfrm>
            <a:custGeom>
              <a:avLst/>
              <a:gdLst/>
              <a:ahLst/>
              <a:cxnLst/>
              <a:rect l="l" t="t" r="r" b="b"/>
              <a:pathLst>
                <a:path w="77712" h="44958" extrusionOk="0">
                  <a:moveTo>
                    <a:pt x="77712" y="22479"/>
                  </a:moveTo>
                  <a:cubicBezTo>
                    <a:pt x="77712" y="34894"/>
                    <a:pt x="60316" y="44958"/>
                    <a:pt x="38856" y="44958"/>
                  </a:cubicBezTo>
                  <a:cubicBezTo>
                    <a:pt x="17396" y="44958"/>
                    <a:pt x="0" y="34894"/>
                    <a:pt x="0" y="22479"/>
                  </a:cubicBezTo>
                  <a:cubicBezTo>
                    <a:pt x="0" y="10064"/>
                    <a:pt x="17397" y="0"/>
                    <a:pt x="38856" y="0"/>
                  </a:cubicBezTo>
                  <a:cubicBezTo>
                    <a:pt x="60316" y="0"/>
                    <a:pt x="77712" y="10064"/>
                    <a:pt x="77712" y="22479"/>
                  </a:cubicBez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4020;p38">
              <a:extLst>
                <a:ext uri="{FF2B5EF4-FFF2-40B4-BE49-F238E27FC236}">
                  <a16:creationId xmlns:a16="http://schemas.microsoft.com/office/drawing/2014/main" id="{8F4D5164-02C0-41D8-BDA7-BF613A4DE4FC}"/>
                </a:ext>
              </a:extLst>
            </p:cNvPr>
            <p:cNvSpPr/>
            <p:nvPr/>
          </p:nvSpPr>
          <p:spPr>
            <a:xfrm flipH="1">
              <a:off x="4682927" y="3694995"/>
              <a:ext cx="1795739" cy="1039558"/>
            </a:xfrm>
            <a:custGeom>
              <a:avLst/>
              <a:gdLst/>
              <a:ahLst/>
              <a:cxnLst/>
              <a:rect l="l" t="t" r="r" b="b"/>
              <a:pathLst>
                <a:path w="1795739" h="1039558" extrusionOk="0">
                  <a:moveTo>
                    <a:pt x="1781394" y="0"/>
                  </a:moveTo>
                  <a:lnTo>
                    <a:pt x="1781394" y="95"/>
                  </a:lnTo>
                  <a:lnTo>
                    <a:pt x="651623" y="653987"/>
                  </a:lnTo>
                  <a:lnTo>
                    <a:pt x="0" y="1031176"/>
                  </a:lnTo>
                  <a:lnTo>
                    <a:pt x="14440" y="1039558"/>
                  </a:lnTo>
                  <a:lnTo>
                    <a:pt x="666063" y="662273"/>
                  </a:lnTo>
                  <a:lnTo>
                    <a:pt x="1795739" y="8382"/>
                  </a:lnTo>
                  <a:lnTo>
                    <a:pt x="1795739" y="8382"/>
                  </a:lnTo>
                  <a:lnTo>
                    <a:pt x="1781394" y="0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4021;p38">
              <a:extLst>
                <a:ext uri="{FF2B5EF4-FFF2-40B4-BE49-F238E27FC236}">
                  <a16:creationId xmlns:a16="http://schemas.microsoft.com/office/drawing/2014/main" id="{2724AD39-ABF5-4C18-8289-7C32DF00CC90}"/>
                </a:ext>
              </a:extLst>
            </p:cNvPr>
            <p:cNvSpPr/>
            <p:nvPr/>
          </p:nvSpPr>
          <p:spPr>
            <a:xfrm rot="10800000">
              <a:off x="6022844" y="4502970"/>
              <a:ext cx="644687" cy="369950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4022;p38">
              <a:extLst>
                <a:ext uri="{FF2B5EF4-FFF2-40B4-BE49-F238E27FC236}">
                  <a16:creationId xmlns:a16="http://schemas.microsoft.com/office/drawing/2014/main" id="{C43CF994-F0C9-4654-844D-5304FB6AAFB9}"/>
                </a:ext>
              </a:extLst>
            </p:cNvPr>
            <p:cNvSpPr/>
            <p:nvPr/>
          </p:nvSpPr>
          <p:spPr>
            <a:xfrm flipH="1">
              <a:off x="6190049" y="4282211"/>
              <a:ext cx="427701" cy="247554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4023;p38">
              <a:extLst>
                <a:ext uri="{FF2B5EF4-FFF2-40B4-BE49-F238E27FC236}">
                  <a16:creationId xmlns:a16="http://schemas.microsoft.com/office/drawing/2014/main" id="{123072D1-6DC2-4CCE-8D00-C6A177333D6E}"/>
                </a:ext>
              </a:extLst>
            </p:cNvPr>
            <p:cNvSpPr/>
            <p:nvPr/>
          </p:nvSpPr>
          <p:spPr>
            <a:xfrm flipH="1">
              <a:off x="6403900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4024;p38">
              <a:extLst>
                <a:ext uri="{FF2B5EF4-FFF2-40B4-BE49-F238E27FC236}">
                  <a16:creationId xmlns:a16="http://schemas.microsoft.com/office/drawing/2014/main" id="{0AA0B4C6-E67A-4F70-B9CB-DBECF6E58359}"/>
                </a:ext>
              </a:extLst>
            </p:cNvPr>
            <p:cNvSpPr/>
            <p:nvPr/>
          </p:nvSpPr>
          <p:spPr>
            <a:xfrm flipH="1">
              <a:off x="6190049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4025;p38">
              <a:extLst>
                <a:ext uri="{FF2B5EF4-FFF2-40B4-BE49-F238E27FC236}">
                  <a16:creationId xmlns:a16="http://schemas.microsoft.com/office/drawing/2014/main" id="{CB0C03C0-C448-48CC-B49A-9C8ED4C03989}"/>
                </a:ext>
              </a:extLst>
            </p:cNvPr>
            <p:cNvSpPr/>
            <p:nvPr/>
          </p:nvSpPr>
          <p:spPr>
            <a:xfrm>
              <a:off x="6351541" y="3874743"/>
              <a:ext cx="217302" cy="317702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4026;p38">
              <a:extLst>
                <a:ext uri="{FF2B5EF4-FFF2-40B4-BE49-F238E27FC236}">
                  <a16:creationId xmlns:a16="http://schemas.microsoft.com/office/drawing/2014/main" id="{39F05105-9993-4A9A-9F73-6D7DF5C145DA}"/>
                </a:ext>
              </a:extLst>
            </p:cNvPr>
            <p:cNvSpPr/>
            <p:nvPr/>
          </p:nvSpPr>
          <p:spPr>
            <a:xfrm>
              <a:off x="6368017" y="3871983"/>
              <a:ext cx="104086" cy="128266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4027;p38">
              <a:extLst>
                <a:ext uri="{FF2B5EF4-FFF2-40B4-BE49-F238E27FC236}">
                  <a16:creationId xmlns:a16="http://schemas.microsoft.com/office/drawing/2014/main" id="{0DCFC047-9F76-41E6-9263-01ECA8DA7DF7}"/>
                </a:ext>
              </a:extLst>
            </p:cNvPr>
            <p:cNvSpPr/>
            <p:nvPr/>
          </p:nvSpPr>
          <p:spPr>
            <a:xfrm>
              <a:off x="6388363" y="4011215"/>
              <a:ext cx="128390" cy="143694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4028;p38">
              <a:extLst>
                <a:ext uri="{FF2B5EF4-FFF2-40B4-BE49-F238E27FC236}">
                  <a16:creationId xmlns:a16="http://schemas.microsoft.com/office/drawing/2014/main" id="{EE895260-B728-4AC3-B7F0-E44A4BEA1C89}"/>
                </a:ext>
              </a:extLst>
            </p:cNvPr>
            <p:cNvSpPr/>
            <p:nvPr/>
          </p:nvSpPr>
          <p:spPr>
            <a:xfrm>
              <a:off x="6169126" y="4068541"/>
              <a:ext cx="242294" cy="344916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4029;p38">
              <a:extLst>
                <a:ext uri="{FF2B5EF4-FFF2-40B4-BE49-F238E27FC236}">
                  <a16:creationId xmlns:a16="http://schemas.microsoft.com/office/drawing/2014/main" id="{9D331281-8023-481D-8A4F-91F40C4DD573}"/>
                </a:ext>
              </a:extLst>
            </p:cNvPr>
            <p:cNvSpPr/>
            <p:nvPr/>
          </p:nvSpPr>
          <p:spPr>
            <a:xfrm>
              <a:off x="6350989" y="4058254"/>
              <a:ext cx="187162" cy="246878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4030;p38">
              <a:extLst>
                <a:ext uri="{FF2B5EF4-FFF2-40B4-BE49-F238E27FC236}">
                  <a16:creationId xmlns:a16="http://schemas.microsoft.com/office/drawing/2014/main" id="{8DBF3F51-2FD9-4DD7-8665-884D0AA8F3F8}"/>
                </a:ext>
              </a:extLst>
            </p:cNvPr>
            <p:cNvSpPr/>
            <p:nvPr/>
          </p:nvSpPr>
          <p:spPr>
            <a:xfrm>
              <a:off x="6384325" y="3881810"/>
              <a:ext cx="137686" cy="169616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4031;p38">
              <a:extLst>
                <a:ext uri="{FF2B5EF4-FFF2-40B4-BE49-F238E27FC236}">
                  <a16:creationId xmlns:a16="http://schemas.microsoft.com/office/drawing/2014/main" id="{60477999-A09C-48EA-96D5-987910A24A16}"/>
                </a:ext>
              </a:extLst>
            </p:cNvPr>
            <p:cNvSpPr/>
            <p:nvPr/>
          </p:nvSpPr>
          <p:spPr>
            <a:xfrm>
              <a:off x="6389913" y="3881145"/>
              <a:ext cx="138230" cy="130098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4032;p38">
              <a:extLst>
                <a:ext uri="{FF2B5EF4-FFF2-40B4-BE49-F238E27FC236}">
                  <a16:creationId xmlns:a16="http://schemas.microsoft.com/office/drawing/2014/main" id="{0A5FCA28-8C1B-4499-A5E3-5C7B517BECEC}"/>
                </a:ext>
              </a:extLst>
            </p:cNvPr>
            <p:cNvSpPr/>
            <p:nvPr/>
          </p:nvSpPr>
          <p:spPr>
            <a:xfrm>
              <a:off x="6223986" y="4735273"/>
              <a:ext cx="108702" cy="82916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4033;p38">
              <a:extLst>
                <a:ext uri="{FF2B5EF4-FFF2-40B4-BE49-F238E27FC236}">
                  <a16:creationId xmlns:a16="http://schemas.microsoft.com/office/drawing/2014/main" id="{DA476503-9AC7-4D81-A5E0-15D481879BAA}"/>
                </a:ext>
              </a:extLst>
            </p:cNvPr>
            <p:cNvSpPr/>
            <p:nvPr/>
          </p:nvSpPr>
          <p:spPr>
            <a:xfrm>
              <a:off x="6224466" y="4761723"/>
              <a:ext cx="108209" cy="56495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4034;p38">
              <a:extLst>
                <a:ext uri="{FF2B5EF4-FFF2-40B4-BE49-F238E27FC236}">
                  <a16:creationId xmlns:a16="http://schemas.microsoft.com/office/drawing/2014/main" id="{3F4A59B2-0808-405E-8C2B-D4DCD7131FB2}"/>
                </a:ext>
              </a:extLst>
            </p:cNvPr>
            <p:cNvSpPr/>
            <p:nvPr/>
          </p:nvSpPr>
          <p:spPr>
            <a:xfrm>
              <a:off x="6169601" y="4699543"/>
              <a:ext cx="99502" cy="77082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4035;p38">
              <a:extLst>
                <a:ext uri="{FF2B5EF4-FFF2-40B4-BE49-F238E27FC236}">
                  <a16:creationId xmlns:a16="http://schemas.microsoft.com/office/drawing/2014/main" id="{996A6D2C-2425-4091-9A39-C38A315265D0}"/>
                </a:ext>
              </a:extLst>
            </p:cNvPr>
            <p:cNvSpPr/>
            <p:nvPr/>
          </p:nvSpPr>
          <p:spPr>
            <a:xfrm>
              <a:off x="6170058" y="4724979"/>
              <a:ext cx="99108" cy="51736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4036;p38">
              <a:extLst>
                <a:ext uri="{FF2B5EF4-FFF2-40B4-BE49-F238E27FC236}">
                  <a16:creationId xmlns:a16="http://schemas.microsoft.com/office/drawing/2014/main" id="{4CA8EBD7-F1F3-416A-B997-B1F4C4411ED3}"/>
                </a:ext>
              </a:extLst>
            </p:cNvPr>
            <p:cNvSpPr/>
            <p:nvPr/>
          </p:nvSpPr>
          <p:spPr>
            <a:xfrm>
              <a:off x="6206498" y="4301929"/>
              <a:ext cx="236938" cy="408660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4037;p38">
              <a:extLst>
                <a:ext uri="{FF2B5EF4-FFF2-40B4-BE49-F238E27FC236}">
                  <a16:creationId xmlns:a16="http://schemas.microsoft.com/office/drawing/2014/main" id="{864CC755-3E2F-4702-B098-EF15DC3F0979}"/>
                </a:ext>
              </a:extLst>
            </p:cNvPr>
            <p:cNvSpPr/>
            <p:nvPr/>
          </p:nvSpPr>
          <p:spPr>
            <a:xfrm>
              <a:off x="6271102" y="4302737"/>
              <a:ext cx="235887" cy="442489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4038;p38">
              <a:extLst>
                <a:ext uri="{FF2B5EF4-FFF2-40B4-BE49-F238E27FC236}">
                  <a16:creationId xmlns:a16="http://schemas.microsoft.com/office/drawing/2014/main" id="{5C0A41A8-2887-47E0-967D-A45ECCB078F6}"/>
                </a:ext>
              </a:extLst>
            </p:cNvPr>
            <p:cNvSpPr/>
            <p:nvPr/>
          </p:nvSpPr>
          <p:spPr>
            <a:xfrm>
              <a:off x="6183254" y="4274877"/>
              <a:ext cx="352749" cy="324700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4039;p38">
              <a:extLst>
                <a:ext uri="{FF2B5EF4-FFF2-40B4-BE49-F238E27FC236}">
                  <a16:creationId xmlns:a16="http://schemas.microsoft.com/office/drawing/2014/main" id="{07A97891-03C9-4D80-9879-86D9E7D789AF}"/>
                </a:ext>
              </a:extLst>
            </p:cNvPr>
            <p:cNvSpPr/>
            <p:nvPr/>
          </p:nvSpPr>
          <p:spPr>
            <a:xfrm>
              <a:off x="6466820" y="4083042"/>
              <a:ext cx="122590" cy="429780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4040;p38">
              <a:extLst>
                <a:ext uri="{FF2B5EF4-FFF2-40B4-BE49-F238E27FC236}">
                  <a16:creationId xmlns:a16="http://schemas.microsoft.com/office/drawing/2014/main" id="{7A316A23-91D5-469D-933F-025508B76C15}"/>
                </a:ext>
              </a:extLst>
            </p:cNvPr>
            <p:cNvSpPr/>
            <p:nvPr/>
          </p:nvSpPr>
          <p:spPr>
            <a:xfrm>
              <a:off x="6490841" y="4077626"/>
              <a:ext cx="74124" cy="94270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4041;p38">
              <a:extLst>
                <a:ext uri="{FF2B5EF4-FFF2-40B4-BE49-F238E27FC236}">
                  <a16:creationId xmlns:a16="http://schemas.microsoft.com/office/drawing/2014/main" id="{0AA0B831-6D76-41EE-AC26-C54EC40AC5D6}"/>
                </a:ext>
              </a:extLst>
            </p:cNvPr>
            <p:cNvSpPr/>
            <p:nvPr/>
          </p:nvSpPr>
          <p:spPr>
            <a:xfrm>
              <a:off x="6345497" y="4058119"/>
              <a:ext cx="63405" cy="66570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63" name="Google Shape;4042;p38">
              <a:extLst>
                <a:ext uri="{FF2B5EF4-FFF2-40B4-BE49-F238E27FC236}">
                  <a16:creationId xmlns:a16="http://schemas.microsoft.com/office/drawing/2014/main" id="{B3DB9FF1-FAEF-4205-A0D5-2D23ED4805CC}"/>
                </a:ext>
              </a:extLst>
            </p:cNvPr>
            <p:cNvGrpSpPr/>
            <p:nvPr/>
          </p:nvGrpSpPr>
          <p:grpSpPr>
            <a:xfrm>
              <a:off x="6161836" y="4215479"/>
              <a:ext cx="350682" cy="265782"/>
              <a:chOff x="6621095" y="1452181"/>
              <a:chExt cx="330894" cy="250785"/>
            </a:xfrm>
          </p:grpSpPr>
          <p:sp>
            <p:nvSpPr>
              <p:cNvPr id="164" name="Google Shape;4043;p38">
                <a:extLst>
                  <a:ext uri="{FF2B5EF4-FFF2-40B4-BE49-F238E27FC236}">
                    <a16:creationId xmlns:a16="http://schemas.microsoft.com/office/drawing/2014/main" id="{353E18CA-54D8-4B41-975E-F1CA056F21CF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4044;p38">
                <a:extLst>
                  <a:ext uri="{FF2B5EF4-FFF2-40B4-BE49-F238E27FC236}">
                    <a16:creationId xmlns:a16="http://schemas.microsoft.com/office/drawing/2014/main" id="{8B46F87C-96BA-4E18-AC42-527771A899FF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4045;p38">
                <a:extLst>
                  <a:ext uri="{FF2B5EF4-FFF2-40B4-BE49-F238E27FC236}">
                    <a16:creationId xmlns:a16="http://schemas.microsoft.com/office/drawing/2014/main" id="{97495946-F8C3-478D-9797-13F2E5358A08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4046;p38">
                <a:extLst>
                  <a:ext uri="{FF2B5EF4-FFF2-40B4-BE49-F238E27FC236}">
                    <a16:creationId xmlns:a16="http://schemas.microsoft.com/office/drawing/2014/main" id="{3689A127-5BD5-431A-80B0-03BAD1AE64DE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4047;p38">
                <a:extLst>
                  <a:ext uri="{FF2B5EF4-FFF2-40B4-BE49-F238E27FC236}">
                    <a16:creationId xmlns:a16="http://schemas.microsoft.com/office/drawing/2014/main" id="{CCB456E2-E736-47FF-9C0D-9244D7A0A4F9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64514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4" name="Google Shape;1734;p29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Future Work</a:t>
            </a:r>
            <a:endParaRPr dirty="0"/>
          </a:p>
        </p:txBody>
      </p:sp>
      <p:sp>
        <p:nvSpPr>
          <p:cNvPr id="1735" name="Google Shape;1735;p29"/>
          <p:cNvSpPr txBox="1">
            <a:spLocks noGrp="1"/>
          </p:cNvSpPr>
          <p:nvPr>
            <p:ph type="body" idx="1"/>
          </p:nvPr>
        </p:nvSpPr>
        <p:spPr>
          <a:xfrm>
            <a:off x="3210262" y="1458355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Tablet and Mobile App</a:t>
            </a:r>
            <a:endParaRPr b="1" u="sng" dirty="0"/>
          </a:p>
          <a:p>
            <a:pPr marL="171450" indent="-171450"/>
            <a:r>
              <a:rPr lang="en" sz="1200" dirty="0"/>
              <a:t>Deploy the app for different screen sizes</a:t>
            </a:r>
            <a:endParaRPr sz="1200" dirty="0"/>
          </a:p>
        </p:txBody>
      </p:sp>
      <p:sp>
        <p:nvSpPr>
          <p:cNvPr id="1736" name="Google Shape;1736;p29"/>
          <p:cNvSpPr txBox="1">
            <a:spLocks noGrp="1"/>
          </p:cNvSpPr>
          <p:nvPr>
            <p:ph type="body" idx="2"/>
          </p:nvPr>
        </p:nvSpPr>
        <p:spPr>
          <a:xfrm>
            <a:off x="322425" y="3110455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b="1" u="sng" dirty="0"/>
              <a:t>Real-time Update</a:t>
            </a:r>
            <a:endParaRPr b="1" u="sng" dirty="0"/>
          </a:p>
          <a:p>
            <a:pPr marL="171450" indent="-171450"/>
            <a:r>
              <a:rPr lang="en" sz="1200" dirty="0"/>
              <a:t>Update dashboard with latest job postings</a:t>
            </a:r>
            <a:endParaRPr sz="1200" dirty="0"/>
          </a:p>
        </p:txBody>
      </p:sp>
      <p:sp>
        <p:nvSpPr>
          <p:cNvPr id="1737" name="Google Shape;1737;p29"/>
          <p:cNvSpPr txBox="1">
            <a:spLocks noGrp="1"/>
          </p:cNvSpPr>
          <p:nvPr>
            <p:ph type="body" idx="3"/>
          </p:nvPr>
        </p:nvSpPr>
        <p:spPr>
          <a:xfrm>
            <a:off x="6177486" y="1447151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More user interactions</a:t>
            </a:r>
            <a:endParaRPr b="1" u="sng" dirty="0"/>
          </a:p>
          <a:p>
            <a:pPr marL="171450" indent="-171450"/>
            <a:r>
              <a:rPr lang="en-CA" sz="1200" dirty="0"/>
              <a:t>Add more features to improve users experience</a:t>
            </a:r>
          </a:p>
          <a:p>
            <a:pPr marL="171450" indent="-171450"/>
            <a:r>
              <a:rPr lang="en-CA" sz="1200" dirty="0"/>
              <a:t>Add more drilldown options (city, job titles, salary ranges, etc.)</a:t>
            </a:r>
            <a:endParaRPr sz="1200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endParaRPr sz="1200" dirty="0"/>
          </a:p>
        </p:txBody>
      </p:sp>
      <p:sp>
        <p:nvSpPr>
          <p:cNvPr id="1738" name="Google Shape;1738;p29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5</a:t>
            </a:fld>
            <a:endParaRPr/>
          </a:p>
        </p:txBody>
      </p:sp>
      <p:sp>
        <p:nvSpPr>
          <p:cNvPr id="1739" name="Google Shape;1739;p29"/>
          <p:cNvSpPr txBox="1">
            <a:spLocks noGrp="1"/>
          </p:cNvSpPr>
          <p:nvPr>
            <p:ph type="body" idx="1"/>
          </p:nvPr>
        </p:nvSpPr>
        <p:spPr>
          <a:xfrm>
            <a:off x="322425" y="1448322"/>
            <a:ext cx="2563500" cy="1593756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b="1" u="sng" dirty="0"/>
              <a:t>Improve accuracy w/ more data</a:t>
            </a:r>
            <a:endParaRPr b="1" u="sng" dirty="0"/>
          </a:p>
          <a:p>
            <a:pPr marL="171450" indent="-171450"/>
            <a:r>
              <a:rPr lang="en" sz="1200" dirty="0"/>
              <a:t>Expand database to include job postings and surveys from more countries, and other valuable information such as salaries</a:t>
            </a:r>
          </a:p>
        </p:txBody>
      </p:sp>
      <p:sp>
        <p:nvSpPr>
          <p:cNvPr id="1740" name="Google Shape;1740;p29"/>
          <p:cNvSpPr txBox="1">
            <a:spLocks noGrp="1"/>
          </p:cNvSpPr>
          <p:nvPr>
            <p:ph type="body" idx="2"/>
          </p:nvPr>
        </p:nvSpPr>
        <p:spPr>
          <a:xfrm>
            <a:off x="3210262" y="3130775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Trend Predictions</a:t>
            </a:r>
            <a:endParaRPr b="1" u="sng" dirty="0"/>
          </a:p>
          <a:p>
            <a:pPr marL="171450" indent="-171450"/>
            <a:r>
              <a:rPr lang="en" sz="1200" dirty="0"/>
              <a:t>Predict data job demand using Linear Regression</a:t>
            </a:r>
          </a:p>
        </p:txBody>
      </p:sp>
      <p:sp>
        <p:nvSpPr>
          <p:cNvPr id="1741" name="Google Shape;1741;p29"/>
          <p:cNvSpPr txBox="1">
            <a:spLocks noGrp="1"/>
          </p:cNvSpPr>
          <p:nvPr>
            <p:ph type="body" idx="3"/>
          </p:nvPr>
        </p:nvSpPr>
        <p:spPr>
          <a:xfrm>
            <a:off x="6098099" y="3110455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Job Classification</a:t>
            </a:r>
            <a:endParaRPr b="1" u="sng" dirty="0"/>
          </a:p>
          <a:p>
            <a:pPr marL="171450" indent="-171450"/>
            <a:r>
              <a:rPr lang="en" sz="1200" dirty="0"/>
              <a:t>Classify job postings based on key words using natural language processing</a:t>
            </a:r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endParaRPr sz="1200" dirty="0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9" name="Google Shape;2059;p34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6</a:t>
            </a:fld>
            <a:endParaRPr/>
          </a:p>
        </p:txBody>
      </p:sp>
      <p:sp>
        <p:nvSpPr>
          <p:cNvPr id="2206" name="Google Shape;2206;p34"/>
          <p:cNvSpPr txBox="1">
            <a:spLocks noGrp="1"/>
          </p:cNvSpPr>
          <p:nvPr>
            <p:ph type="ctrTitle" idx="4294967295"/>
          </p:nvPr>
        </p:nvSpPr>
        <p:spPr>
          <a:xfrm>
            <a:off x="685800" y="1202438"/>
            <a:ext cx="4343700" cy="832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7200"/>
              <a:t>THANKS!</a:t>
            </a:r>
            <a:endParaRPr sz="7200"/>
          </a:p>
        </p:txBody>
      </p:sp>
      <p:sp>
        <p:nvSpPr>
          <p:cNvPr id="2207" name="Google Shape;2207;p34"/>
          <p:cNvSpPr txBox="1">
            <a:spLocks noGrp="1"/>
          </p:cNvSpPr>
          <p:nvPr>
            <p:ph type="subTitle" idx="4294967295"/>
          </p:nvPr>
        </p:nvSpPr>
        <p:spPr>
          <a:xfrm>
            <a:off x="685800" y="2021059"/>
            <a:ext cx="4343700" cy="1920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accent1"/>
                </a:solidFill>
                <a:latin typeface="Barlow"/>
                <a:ea typeface="Barlow"/>
                <a:cs typeface="Barlow"/>
                <a:sym typeface="Barlow"/>
              </a:rPr>
              <a:t>Any questions?</a:t>
            </a:r>
            <a:endParaRPr sz="3600" b="1" dirty="0">
              <a:solidFill>
                <a:schemeClr val="accen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672" name="Google Shape;2749;p37">
            <a:extLst>
              <a:ext uri="{FF2B5EF4-FFF2-40B4-BE49-F238E27FC236}">
                <a16:creationId xmlns:a16="http://schemas.microsoft.com/office/drawing/2014/main" id="{6939F345-3B31-4603-A3C7-CD732804A701}"/>
              </a:ext>
            </a:extLst>
          </p:cNvPr>
          <p:cNvGrpSpPr/>
          <p:nvPr/>
        </p:nvGrpSpPr>
        <p:grpSpPr>
          <a:xfrm>
            <a:off x="5116617" y="899989"/>
            <a:ext cx="3095007" cy="3343521"/>
            <a:chOff x="2152750" y="190500"/>
            <a:chExt cx="4293756" cy="4762499"/>
          </a:xfrm>
        </p:grpSpPr>
        <p:sp>
          <p:nvSpPr>
            <p:cNvPr id="673" name="Google Shape;2750;p37">
              <a:extLst>
                <a:ext uri="{FF2B5EF4-FFF2-40B4-BE49-F238E27FC236}">
                  <a16:creationId xmlns:a16="http://schemas.microsoft.com/office/drawing/2014/main" id="{3926E810-D4F3-4145-B248-EB0AFB0EFAEE}"/>
                </a:ext>
              </a:extLst>
            </p:cNvPr>
            <p:cNvSpPr/>
            <p:nvPr/>
          </p:nvSpPr>
          <p:spPr>
            <a:xfrm>
              <a:off x="2152750" y="2957607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2" y="218980"/>
                  </a:moveTo>
                  <a:cubicBezTo>
                    <a:pt x="756692" y="339919"/>
                    <a:pt x="587300" y="437959"/>
                    <a:pt x="378346" y="437959"/>
                  </a:cubicBezTo>
                  <a:cubicBezTo>
                    <a:pt x="169391" y="437959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2" y="98041"/>
                    <a:pt x="756692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4" name="Google Shape;2751;p37">
              <a:extLst>
                <a:ext uri="{FF2B5EF4-FFF2-40B4-BE49-F238E27FC236}">
                  <a16:creationId xmlns:a16="http://schemas.microsoft.com/office/drawing/2014/main" id="{7A6F6E0F-46B6-4E45-BB63-7E4BCF2894A2}"/>
                </a:ext>
              </a:extLst>
            </p:cNvPr>
            <p:cNvSpPr/>
            <p:nvPr/>
          </p:nvSpPr>
          <p:spPr>
            <a:xfrm>
              <a:off x="2318956" y="3109336"/>
              <a:ext cx="225716" cy="175248"/>
            </a:xfrm>
            <a:custGeom>
              <a:avLst/>
              <a:gdLst/>
              <a:ahLst/>
              <a:cxnLst/>
              <a:rect l="l" t="t" r="r" b="b"/>
              <a:pathLst>
                <a:path w="225716" h="175248" extrusionOk="0">
                  <a:moveTo>
                    <a:pt x="18072" y="5"/>
                  </a:moveTo>
                  <a:cubicBezTo>
                    <a:pt x="45158" y="22103"/>
                    <a:pt x="85074" y="1910"/>
                    <a:pt x="87070" y="3910"/>
                  </a:cubicBezTo>
                  <a:cubicBezTo>
                    <a:pt x="118886" y="33494"/>
                    <a:pt x="152260" y="61346"/>
                    <a:pt x="187050" y="87349"/>
                  </a:cubicBezTo>
                  <a:cubicBezTo>
                    <a:pt x="203871" y="100684"/>
                    <a:pt x="230197" y="118400"/>
                    <a:pt x="225065" y="144023"/>
                  </a:cubicBezTo>
                  <a:cubicBezTo>
                    <a:pt x="216511" y="189742"/>
                    <a:pt x="143522" y="175646"/>
                    <a:pt x="115961" y="161644"/>
                  </a:cubicBezTo>
                  <a:cubicBezTo>
                    <a:pt x="88400" y="147642"/>
                    <a:pt x="65876" y="124496"/>
                    <a:pt x="39931" y="108304"/>
                  </a:cubicBezTo>
                  <a:cubicBezTo>
                    <a:pt x="20924" y="96683"/>
                    <a:pt x="2961" y="90682"/>
                    <a:pt x="110" y="67156"/>
                  </a:cubicBezTo>
                  <a:cubicBezTo>
                    <a:pt x="-1410" y="52964"/>
                    <a:pt x="13225" y="-567"/>
                    <a:pt x="1807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5" name="Google Shape;2752;p37">
              <a:extLst>
                <a:ext uri="{FF2B5EF4-FFF2-40B4-BE49-F238E27FC236}">
                  <a16:creationId xmlns:a16="http://schemas.microsoft.com/office/drawing/2014/main" id="{E19D8322-0136-43CF-94A6-6EF69896423D}"/>
                </a:ext>
              </a:extLst>
            </p:cNvPr>
            <p:cNvSpPr/>
            <p:nvPr/>
          </p:nvSpPr>
          <p:spPr>
            <a:xfrm>
              <a:off x="2319304" y="3166967"/>
              <a:ext cx="224715" cy="117585"/>
            </a:xfrm>
            <a:custGeom>
              <a:avLst/>
              <a:gdLst/>
              <a:ahLst/>
              <a:cxnLst/>
              <a:rect l="l" t="t" r="r" b="b"/>
              <a:pathLst>
                <a:path w="224715" h="117585" extrusionOk="0">
                  <a:moveTo>
                    <a:pt x="427" y="0"/>
                  </a:moveTo>
                  <a:cubicBezTo>
                    <a:pt x="3943" y="22574"/>
                    <a:pt x="22000" y="28575"/>
                    <a:pt x="40533" y="40291"/>
                  </a:cubicBezTo>
                  <a:cubicBezTo>
                    <a:pt x="66953" y="56769"/>
                    <a:pt x="90332" y="80582"/>
                    <a:pt x="117893" y="94583"/>
                  </a:cubicBezTo>
                  <a:cubicBezTo>
                    <a:pt x="143364" y="107442"/>
                    <a:pt x="206849" y="120301"/>
                    <a:pt x="224716" y="87630"/>
                  </a:cubicBezTo>
                  <a:cubicBezTo>
                    <a:pt x="215212" y="131731"/>
                    <a:pt x="143269" y="117920"/>
                    <a:pt x="115993" y="104013"/>
                  </a:cubicBezTo>
                  <a:cubicBezTo>
                    <a:pt x="88717" y="90107"/>
                    <a:pt x="65908" y="66866"/>
                    <a:pt x="39962" y="50673"/>
                  </a:cubicBezTo>
                  <a:cubicBezTo>
                    <a:pt x="20955" y="39053"/>
                    <a:pt x="2993" y="33052"/>
                    <a:pt x="142" y="9525"/>
                  </a:cubicBezTo>
                  <a:cubicBezTo>
                    <a:pt x="-117" y="6353"/>
                    <a:pt x="-21" y="3153"/>
                    <a:pt x="42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6" name="Google Shape;2753;p37">
              <a:extLst>
                <a:ext uri="{FF2B5EF4-FFF2-40B4-BE49-F238E27FC236}">
                  <a16:creationId xmlns:a16="http://schemas.microsoft.com/office/drawing/2014/main" id="{9C79DFEC-3DA3-485E-913C-A3C882EEBD27}"/>
                </a:ext>
              </a:extLst>
            </p:cNvPr>
            <p:cNvSpPr/>
            <p:nvPr/>
          </p:nvSpPr>
          <p:spPr>
            <a:xfrm>
              <a:off x="2550431" y="3021675"/>
              <a:ext cx="225586" cy="168802"/>
            </a:xfrm>
            <a:custGeom>
              <a:avLst/>
              <a:gdLst/>
              <a:ahLst/>
              <a:cxnLst/>
              <a:rect l="l" t="t" r="r" b="b"/>
              <a:pathLst>
                <a:path w="225586" h="168802" extrusionOk="0">
                  <a:moveTo>
                    <a:pt x="21626" y="130"/>
                  </a:moveTo>
                  <a:cubicBezTo>
                    <a:pt x="48617" y="22228"/>
                    <a:pt x="96040" y="-1965"/>
                    <a:pt x="97656" y="130"/>
                  </a:cubicBezTo>
                  <a:cubicBezTo>
                    <a:pt x="125867" y="28715"/>
                    <a:pt x="155661" y="55680"/>
                    <a:pt x="186897" y="80902"/>
                  </a:cubicBezTo>
                  <a:cubicBezTo>
                    <a:pt x="203813" y="94237"/>
                    <a:pt x="230139" y="111954"/>
                    <a:pt x="224912" y="137576"/>
                  </a:cubicBezTo>
                  <a:cubicBezTo>
                    <a:pt x="216358" y="183296"/>
                    <a:pt x="143369" y="169199"/>
                    <a:pt x="115808" y="155197"/>
                  </a:cubicBezTo>
                  <a:cubicBezTo>
                    <a:pt x="88247" y="141196"/>
                    <a:pt x="65723" y="118050"/>
                    <a:pt x="39778" y="101857"/>
                  </a:cubicBezTo>
                  <a:cubicBezTo>
                    <a:pt x="20770" y="90237"/>
                    <a:pt x="2903" y="84236"/>
                    <a:pt x="52" y="60709"/>
                  </a:cubicBezTo>
                  <a:cubicBezTo>
                    <a:pt x="-1088" y="46517"/>
                    <a:pt x="16779" y="-441"/>
                    <a:pt x="21626" y="13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7" name="Google Shape;2754;p37">
              <a:extLst>
                <a:ext uri="{FF2B5EF4-FFF2-40B4-BE49-F238E27FC236}">
                  <a16:creationId xmlns:a16="http://schemas.microsoft.com/office/drawing/2014/main" id="{9DC188DE-BC41-43B1-A9BF-C9D66BD7623B}"/>
                </a:ext>
              </a:extLst>
            </p:cNvPr>
            <p:cNvSpPr/>
            <p:nvPr/>
          </p:nvSpPr>
          <p:spPr>
            <a:xfrm>
              <a:off x="2551534" y="3076575"/>
              <a:ext cx="224758" cy="117584"/>
            </a:xfrm>
            <a:custGeom>
              <a:avLst/>
              <a:gdLst/>
              <a:ahLst/>
              <a:cxnLst/>
              <a:rect l="l" t="t" r="r" b="b"/>
              <a:pathLst>
                <a:path w="224758" h="117584" extrusionOk="0">
                  <a:moveTo>
                    <a:pt x="375" y="0"/>
                  </a:moveTo>
                  <a:cubicBezTo>
                    <a:pt x="3986" y="22574"/>
                    <a:pt x="22043" y="28575"/>
                    <a:pt x="40481" y="40291"/>
                  </a:cubicBezTo>
                  <a:cubicBezTo>
                    <a:pt x="66996" y="56769"/>
                    <a:pt x="90375" y="80581"/>
                    <a:pt x="117841" y="94583"/>
                  </a:cubicBezTo>
                  <a:cubicBezTo>
                    <a:pt x="143312" y="107442"/>
                    <a:pt x="206892" y="120301"/>
                    <a:pt x="224759" y="87630"/>
                  </a:cubicBezTo>
                  <a:cubicBezTo>
                    <a:pt x="215255" y="131731"/>
                    <a:pt x="143217" y="117920"/>
                    <a:pt x="115941" y="104013"/>
                  </a:cubicBezTo>
                  <a:cubicBezTo>
                    <a:pt x="88665" y="90106"/>
                    <a:pt x="65951" y="66865"/>
                    <a:pt x="39910" y="50673"/>
                  </a:cubicBezTo>
                  <a:cubicBezTo>
                    <a:pt x="21378" y="39053"/>
                    <a:pt x="3036" y="33052"/>
                    <a:pt x="185" y="9525"/>
                  </a:cubicBezTo>
                  <a:cubicBezTo>
                    <a:pt x="-114" y="6353"/>
                    <a:pt x="-50" y="3153"/>
                    <a:pt x="37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8" name="Google Shape;2755;p37">
              <a:extLst>
                <a:ext uri="{FF2B5EF4-FFF2-40B4-BE49-F238E27FC236}">
                  <a16:creationId xmlns:a16="http://schemas.microsoft.com/office/drawing/2014/main" id="{50AB5BA7-B225-4E38-9209-9FE520308C64}"/>
                </a:ext>
              </a:extLst>
            </p:cNvPr>
            <p:cNvSpPr/>
            <p:nvPr/>
          </p:nvSpPr>
          <p:spPr>
            <a:xfrm>
              <a:off x="2330724" y="2010537"/>
              <a:ext cx="387976" cy="1115665"/>
            </a:xfrm>
            <a:custGeom>
              <a:avLst/>
              <a:gdLst/>
              <a:ahLst/>
              <a:cxnLst/>
              <a:rect l="l" t="t" r="r" b="b"/>
              <a:pathLst>
                <a:path w="387976" h="1115665" extrusionOk="0">
                  <a:moveTo>
                    <a:pt x="4689" y="96964"/>
                  </a:moveTo>
                  <a:cubicBezTo>
                    <a:pt x="6019" y="138017"/>
                    <a:pt x="18754" y="316039"/>
                    <a:pt x="24456" y="410623"/>
                  </a:cubicBezTo>
                  <a:cubicBezTo>
                    <a:pt x="30159" y="505206"/>
                    <a:pt x="31489" y="620173"/>
                    <a:pt x="31489" y="620173"/>
                  </a:cubicBezTo>
                  <a:cubicBezTo>
                    <a:pt x="31489" y="620173"/>
                    <a:pt x="15238" y="688943"/>
                    <a:pt x="4689" y="769715"/>
                  </a:cubicBezTo>
                  <a:cubicBezTo>
                    <a:pt x="-5861" y="850487"/>
                    <a:pt x="4689" y="1105472"/>
                    <a:pt x="4689" y="1105472"/>
                  </a:cubicBezTo>
                  <a:cubicBezTo>
                    <a:pt x="25827" y="1119064"/>
                    <a:pt x="52928" y="1119064"/>
                    <a:pt x="74066" y="1105472"/>
                  </a:cubicBezTo>
                  <a:cubicBezTo>
                    <a:pt x="74066" y="1105472"/>
                    <a:pt x="117403" y="901446"/>
                    <a:pt x="137456" y="809530"/>
                  </a:cubicBezTo>
                  <a:cubicBezTo>
                    <a:pt x="157509" y="717614"/>
                    <a:pt x="161026" y="664559"/>
                    <a:pt x="171480" y="607600"/>
                  </a:cubicBezTo>
                  <a:cubicBezTo>
                    <a:pt x="184025" y="538639"/>
                    <a:pt x="211206" y="217075"/>
                    <a:pt x="211206" y="217075"/>
                  </a:cubicBezTo>
                  <a:lnTo>
                    <a:pt x="222040" y="217742"/>
                  </a:lnTo>
                  <a:lnTo>
                    <a:pt x="250551" y="580930"/>
                  </a:lnTo>
                  <a:cubicBezTo>
                    <a:pt x="241642" y="607685"/>
                    <a:pt x="235526" y="635299"/>
                    <a:pt x="232304" y="663321"/>
                  </a:cubicBezTo>
                  <a:cubicBezTo>
                    <a:pt x="224416" y="722471"/>
                    <a:pt x="240573" y="1020127"/>
                    <a:pt x="240573" y="1020127"/>
                  </a:cubicBezTo>
                  <a:cubicBezTo>
                    <a:pt x="264164" y="1033272"/>
                    <a:pt x="293106" y="1032091"/>
                    <a:pt x="315557" y="1017079"/>
                  </a:cubicBezTo>
                  <a:cubicBezTo>
                    <a:pt x="315557" y="1017079"/>
                    <a:pt x="387976" y="622840"/>
                    <a:pt x="387976" y="562832"/>
                  </a:cubicBezTo>
                  <a:cubicBezTo>
                    <a:pt x="387976" y="523208"/>
                    <a:pt x="381229" y="0"/>
                    <a:pt x="3812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9" name="Google Shape;2756;p37">
              <a:extLst>
                <a:ext uri="{FF2B5EF4-FFF2-40B4-BE49-F238E27FC236}">
                  <a16:creationId xmlns:a16="http://schemas.microsoft.com/office/drawing/2014/main" id="{7EF1BED4-9D7D-42AB-8A5B-91D1959FFFC4}"/>
                </a:ext>
              </a:extLst>
            </p:cNvPr>
            <p:cNvSpPr/>
            <p:nvPr/>
          </p:nvSpPr>
          <p:spPr>
            <a:xfrm>
              <a:off x="2382705" y="1314450"/>
              <a:ext cx="248692" cy="242377"/>
            </a:xfrm>
            <a:custGeom>
              <a:avLst/>
              <a:gdLst/>
              <a:ahLst/>
              <a:cxnLst/>
              <a:rect l="l" t="t" r="r" b="b"/>
              <a:pathLst>
                <a:path w="248692" h="242377" extrusionOk="0">
                  <a:moveTo>
                    <a:pt x="50881" y="0"/>
                  </a:moveTo>
                  <a:cubicBezTo>
                    <a:pt x="50881" y="0"/>
                    <a:pt x="55538" y="89440"/>
                    <a:pt x="53542" y="97346"/>
                  </a:cubicBezTo>
                  <a:cubicBezTo>
                    <a:pt x="51546" y="105251"/>
                    <a:pt x="12486" y="131540"/>
                    <a:pt x="1176" y="140970"/>
                  </a:cubicBezTo>
                  <a:cubicBezTo>
                    <a:pt x="-10133" y="150400"/>
                    <a:pt x="62951" y="222599"/>
                    <a:pt x="98400" y="238887"/>
                  </a:cubicBezTo>
                  <a:cubicBezTo>
                    <a:pt x="133849" y="255175"/>
                    <a:pt x="246564" y="212217"/>
                    <a:pt x="248560" y="156782"/>
                  </a:cubicBezTo>
                  <a:cubicBezTo>
                    <a:pt x="250556" y="101346"/>
                    <a:pt x="229552" y="54769"/>
                    <a:pt x="211970" y="52006"/>
                  </a:cubicBezTo>
                  <a:cubicBezTo>
                    <a:pt x="194388" y="49244"/>
                    <a:pt x="50881" y="0"/>
                    <a:pt x="50881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0" name="Google Shape;2757;p37">
              <a:extLst>
                <a:ext uri="{FF2B5EF4-FFF2-40B4-BE49-F238E27FC236}">
                  <a16:creationId xmlns:a16="http://schemas.microsoft.com/office/drawing/2014/main" id="{E059486A-4B5E-4090-B1F9-0182030510FD}"/>
                </a:ext>
              </a:extLst>
            </p:cNvPr>
            <p:cNvSpPr/>
            <p:nvPr/>
          </p:nvSpPr>
          <p:spPr>
            <a:xfrm>
              <a:off x="2671394" y="1371981"/>
              <a:ext cx="353519" cy="695039"/>
            </a:xfrm>
            <a:custGeom>
              <a:avLst/>
              <a:gdLst/>
              <a:ahLst/>
              <a:cxnLst/>
              <a:rect l="l" t="t" r="r" b="b"/>
              <a:pathLst>
                <a:path w="353519" h="695039" extrusionOk="0">
                  <a:moveTo>
                    <a:pt x="6725" y="108394"/>
                  </a:moveTo>
                  <a:cubicBezTo>
                    <a:pt x="11952" y="68961"/>
                    <a:pt x="-13993" y="31432"/>
                    <a:pt x="11192" y="0"/>
                  </a:cubicBezTo>
                  <a:cubicBezTo>
                    <a:pt x="99292" y="86582"/>
                    <a:pt x="88077" y="315754"/>
                    <a:pt x="108130" y="462344"/>
                  </a:cubicBezTo>
                  <a:cubicBezTo>
                    <a:pt x="173516" y="530924"/>
                    <a:pt x="305049" y="598456"/>
                    <a:pt x="342114" y="614744"/>
                  </a:cubicBezTo>
                  <a:cubicBezTo>
                    <a:pt x="348861" y="617791"/>
                    <a:pt x="354659" y="621030"/>
                    <a:pt x="353328" y="628364"/>
                  </a:cubicBezTo>
                  <a:cubicBezTo>
                    <a:pt x="348006" y="656939"/>
                    <a:pt x="339738" y="667798"/>
                    <a:pt x="322726" y="695039"/>
                  </a:cubicBezTo>
                  <a:cubicBezTo>
                    <a:pt x="235671" y="657415"/>
                    <a:pt x="172946" y="635794"/>
                    <a:pt x="64223" y="532257"/>
                  </a:cubicBezTo>
                  <a:cubicBezTo>
                    <a:pt x="53909" y="521094"/>
                    <a:pt x="44680" y="508978"/>
                    <a:pt x="36662" y="496062"/>
                  </a:cubicBezTo>
                  <a:cubicBezTo>
                    <a:pt x="5584" y="403479"/>
                    <a:pt x="-2209" y="176498"/>
                    <a:pt x="6725" y="1083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1" name="Google Shape;2758;p37">
              <a:extLst>
                <a:ext uri="{FF2B5EF4-FFF2-40B4-BE49-F238E27FC236}">
                  <a16:creationId xmlns:a16="http://schemas.microsoft.com/office/drawing/2014/main" id="{B5EC4F0E-86BC-4541-8780-D5A8275C609D}"/>
                </a:ext>
              </a:extLst>
            </p:cNvPr>
            <p:cNvSpPr/>
            <p:nvPr/>
          </p:nvSpPr>
          <p:spPr>
            <a:xfrm>
              <a:off x="2315965" y="1348763"/>
              <a:ext cx="403432" cy="814679"/>
            </a:xfrm>
            <a:custGeom>
              <a:avLst/>
              <a:gdLst/>
              <a:ahLst/>
              <a:cxnLst/>
              <a:rect l="l" t="t" r="r" b="b"/>
              <a:pathLst>
                <a:path w="403432" h="814679" extrusionOk="0">
                  <a:moveTo>
                    <a:pt x="107642" y="78462"/>
                  </a:moveTo>
                  <a:cubicBezTo>
                    <a:pt x="107642" y="78462"/>
                    <a:pt x="172458" y="175236"/>
                    <a:pt x="262839" y="184761"/>
                  </a:cubicBezTo>
                  <a:cubicBezTo>
                    <a:pt x="291351" y="156186"/>
                    <a:pt x="293917" y="56364"/>
                    <a:pt x="254476" y="24360"/>
                  </a:cubicBezTo>
                  <a:cubicBezTo>
                    <a:pt x="254476" y="24360"/>
                    <a:pt x="290780" y="-4977"/>
                    <a:pt x="315585" y="738"/>
                  </a:cubicBezTo>
                  <a:cubicBezTo>
                    <a:pt x="342222" y="16921"/>
                    <a:pt x="362057" y="42286"/>
                    <a:pt x="371373" y="72081"/>
                  </a:cubicBezTo>
                  <a:cubicBezTo>
                    <a:pt x="394367" y="138651"/>
                    <a:pt x="405154" y="208831"/>
                    <a:pt x="403210" y="279249"/>
                  </a:cubicBezTo>
                  <a:cubicBezTo>
                    <a:pt x="401690" y="374499"/>
                    <a:pt x="403210" y="664250"/>
                    <a:pt x="403210" y="664250"/>
                  </a:cubicBezTo>
                  <a:cubicBezTo>
                    <a:pt x="403210" y="664250"/>
                    <a:pt x="390570" y="725591"/>
                    <a:pt x="308838" y="771216"/>
                  </a:cubicBezTo>
                  <a:cubicBezTo>
                    <a:pt x="227105" y="816840"/>
                    <a:pt x="166281" y="821317"/>
                    <a:pt x="110874" y="808363"/>
                  </a:cubicBezTo>
                  <a:cubicBezTo>
                    <a:pt x="65065" y="797695"/>
                    <a:pt x="27240" y="781503"/>
                    <a:pt x="11559" y="748260"/>
                  </a:cubicBezTo>
                  <a:cubicBezTo>
                    <a:pt x="15646" y="681585"/>
                    <a:pt x="45298" y="508040"/>
                    <a:pt x="34178" y="424410"/>
                  </a:cubicBezTo>
                  <a:cubicBezTo>
                    <a:pt x="23059" y="340781"/>
                    <a:pt x="5667" y="278202"/>
                    <a:pt x="915" y="210574"/>
                  </a:cubicBezTo>
                  <a:cubicBezTo>
                    <a:pt x="-3837" y="142947"/>
                    <a:pt x="9848" y="143899"/>
                    <a:pt x="43682" y="120182"/>
                  </a:cubicBezTo>
                  <a:cubicBezTo>
                    <a:pt x="63986" y="104770"/>
                    <a:pt x="85361" y="90826"/>
                    <a:pt x="107642" y="7846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2" name="Google Shape;2759;p37">
              <a:extLst>
                <a:ext uri="{FF2B5EF4-FFF2-40B4-BE49-F238E27FC236}">
                  <a16:creationId xmlns:a16="http://schemas.microsoft.com/office/drawing/2014/main" id="{D653763F-00B5-4E52-AE43-A862B9A1B9DB}"/>
                </a:ext>
              </a:extLst>
            </p:cNvPr>
            <p:cNvSpPr/>
            <p:nvPr/>
          </p:nvSpPr>
          <p:spPr>
            <a:xfrm>
              <a:off x="2373403" y="1062776"/>
              <a:ext cx="268166" cy="327122"/>
            </a:xfrm>
            <a:custGeom>
              <a:avLst/>
              <a:gdLst/>
              <a:ahLst/>
              <a:cxnLst/>
              <a:rect l="l" t="t" r="r" b="b"/>
              <a:pathLst>
                <a:path w="268166" h="327122" extrusionOk="0">
                  <a:moveTo>
                    <a:pt x="262234" y="118324"/>
                  </a:moveTo>
                  <a:lnTo>
                    <a:pt x="262234" y="118324"/>
                  </a:lnTo>
                  <a:cubicBezTo>
                    <a:pt x="251590" y="48886"/>
                    <a:pt x="201695" y="-3787"/>
                    <a:pt x="130227" y="214"/>
                  </a:cubicBezTo>
                  <a:cubicBezTo>
                    <a:pt x="54204" y="4462"/>
                    <a:pt x="-3996" y="69658"/>
                    <a:pt x="215" y="145851"/>
                  </a:cubicBezTo>
                  <a:cubicBezTo>
                    <a:pt x="2583" y="188590"/>
                    <a:pt x="24775" y="227747"/>
                    <a:pt x="60184" y="251674"/>
                  </a:cubicBezTo>
                  <a:cubicBezTo>
                    <a:pt x="62685" y="262208"/>
                    <a:pt x="66417" y="272400"/>
                    <a:pt x="71303" y="282058"/>
                  </a:cubicBezTo>
                  <a:cubicBezTo>
                    <a:pt x="96488" y="311681"/>
                    <a:pt x="172994" y="329683"/>
                    <a:pt x="194852" y="326826"/>
                  </a:cubicBezTo>
                  <a:cubicBezTo>
                    <a:pt x="223364" y="322825"/>
                    <a:pt x="238380" y="311014"/>
                    <a:pt x="251875" y="280153"/>
                  </a:cubicBezTo>
                  <a:cubicBezTo>
                    <a:pt x="275540" y="225385"/>
                    <a:pt x="268127" y="152518"/>
                    <a:pt x="262234" y="11832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3" name="Google Shape;2760;p37">
              <a:extLst>
                <a:ext uri="{FF2B5EF4-FFF2-40B4-BE49-F238E27FC236}">
                  <a16:creationId xmlns:a16="http://schemas.microsoft.com/office/drawing/2014/main" id="{8273BF45-900C-49D2-B31F-AA66E8D3920D}"/>
                </a:ext>
              </a:extLst>
            </p:cNvPr>
            <p:cNvSpPr/>
            <p:nvPr/>
          </p:nvSpPr>
          <p:spPr>
            <a:xfrm>
              <a:off x="2348404" y="1033740"/>
              <a:ext cx="282986" cy="280709"/>
            </a:xfrm>
            <a:custGeom>
              <a:avLst/>
              <a:gdLst/>
              <a:ahLst/>
              <a:cxnLst/>
              <a:rect l="l" t="t" r="r" b="b"/>
              <a:pathLst>
                <a:path w="282986" h="280709" extrusionOk="0">
                  <a:moveTo>
                    <a:pt x="85182" y="280709"/>
                  </a:moveTo>
                  <a:lnTo>
                    <a:pt x="85182" y="280709"/>
                  </a:lnTo>
                  <a:lnTo>
                    <a:pt x="91740" y="220130"/>
                  </a:lnTo>
                  <a:cubicBezTo>
                    <a:pt x="91740" y="220130"/>
                    <a:pt x="41940" y="91733"/>
                    <a:pt x="159122" y="116403"/>
                  </a:cubicBezTo>
                  <a:cubicBezTo>
                    <a:pt x="236102" y="132595"/>
                    <a:pt x="255490" y="139644"/>
                    <a:pt x="278964" y="87828"/>
                  </a:cubicBezTo>
                  <a:cubicBezTo>
                    <a:pt x="302439" y="36012"/>
                    <a:pt x="219661" y="-10565"/>
                    <a:pt x="121487" y="2103"/>
                  </a:cubicBezTo>
                  <a:cubicBezTo>
                    <a:pt x="51379" y="9511"/>
                    <a:pt x="-1397" y="69481"/>
                    <a:pt x="28" y="140120"/>
                  </a:cubicBezTo>
                  <a:cubicBezTo>
                    <a:pt x="2594" y="178506"/>
                    <a:pt x="12763" y="255658"/>
                    <a:pt x="85182" y="280709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4" name="Google Shape;2761;p37">
              <a:extLst>
                <a:ext uri="{FF2B5EF4-FFF2-40B4-BE49-F238E27FC236}">
                  <a16:creationId xmlns:a16="http://schemas.microsoft.com/office/drawing/2014/main" id="{478D45B0-2E45-4785-A9C1-4144E4C459ED}"/>
                </a:ext>
              </a:extLst>
            </p:cNvPr>
            <p:cNvSpPr/>
            <p:nvPr/>
          </p:nvSpPr>
          <p:spPr>
            <a:xfrm>
              <a:off x="2295460" y="1509426"/>
              <a:ext cx="362138" cy="623316"/>
            </a:xfrm>
            <a:custGeom>
              <a:avLst/>
              <a:gdLst/>
              <a:ahLst/>
              <a:cxnLst/>
              <a:rect l="l" t="t" r="r" b="b"/>
              <a:pathLst>
                <a:path w="362138" h="623316" extrusionOk="0">
                  <a:moveTo>
                    <a:pt x="1462" y="9525"/>
                  </a:moveTo>
                  <a:cubicBezTo>
                    <a:pt x="35295" y="0"/>
                    <a:pt x="9540" y="7906"/>
                    <a:pt x="35295" y="0"/>
                  </a:cubicBezTo>
                  <a:cubicBezTo>
                    <a:pt x="123395" y="86678"/>
                    <a:pt x="112466" y="235077"/>
                    <a:pt x="132424" y="381762"/>
                  </a:cubicBezTo>
                  <a:cubicBezTo>
                    <a:pt x="181083" y="462343"/>
                    <a:pt x="361655" y="571595"/>
                    <a:pt x="361655" y="571595"/>
                  </a:cubicBezTo>
                  <a:cubicBezTo>
                    <a:pt x="363936" y="587216"/>
                    <a:pt x="358424" y="591788"/>
                    <a:pt x="338941" y="623316"/>
                  </a:cubicBezTo>
                  <a:cubicBezTo>
                    <a:pt x="251982" y="585692"/>
                    <a:pt x="179088" y="553212"/>
                    <a:pt x="70364" y="449771"/>
                  </a:cubicBezTo>
                  <a:cubicBezTo>
                    <a:pt x="66088" y="445675"/>
                    <a:pt x="59815" y="444627"/>
                    <a:pt x="58009" y="439007"/>
                  </a:cubicBezTo>
                  <a:cubicBezTo>
                    <a:pt x="26932" y="345376"/>
                    <a:pt x="-7567" y="77724"/>
                    <a:pt x="1462" y="9525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5" name="Google Shape;2762;p37">
              <a:extLst>
                <a:ext uri="{FF2B5EF4-FFF2-40B4-BE49-F238E27FC236}">
                  <a16:creationId xmlns:a16="http://schemas.microsoft.com/office/drawing/2014/main" id="{EEE6755B-B2DC-48E2-A318-3A5AC7C1CAA5}"/>
                </a:ext>
              </a:extLst>
            </p:cNvPr>
            <p:cNvSpPr/>
            <p:nvPr/>
          </p:nvSpPr>
          <p:spPr>
            <a:xfrm>
              <a:off x="2681160" y="1699641"/>
              <a:ext cx="419212" cy="565118"/>
            </a:xfrm>
            <a:custGeom>
              <a:avLst/>
              <a:gdLst/>
              <a:ahLst/>
              <a:cxnLst/>
              <a:rect l="l" t="t" r="r" b="b"/>
              <a:pathLst>
                <a:path w="419212" h="565118" extrusionOk="0">
                  <a:moveTo>
                    <a:pt x="419212" y="0"/>
                  </a:moveTo>
                  <a:lnTo>
                    <a:pt x="287965" y="449771"/>
                  </a:lnTo>
                  <a:lnTo>
                    <a:pt x="0" y="565118"/>
                  </a:lnTo>
                  <a:lnTo>
                    <a:pt x="105017" y="126968"/>
                  </a:lnTo>
                  <a:lnTo>
                    <a:pt x="419212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6" name="Google Shape;2763;p37">
              <a:extLst>
                <a:ext uri="{FF2B5EF4-FFF2-40B4-BE49-F238E27FC236}">
                  <a16:creationId xmlns:a16="http://schemas.microsoft.com/office/drawing/2014/main" id="{2CC3A3F9-6BCC-44EA-9E99-CBE1ACA69DE1}"/>
                </a:ext>
              </a:extLst>
            </p:cNvPr>
            <p:cNvSpPr/>
            <p:nvPr/>
          </p:nvSpPr>
          <p:spPr>
            <a:xfrm>
              <a:off x="2608827" y="2053875"/>
              <a:ext cx="212446" cy="104783"/>
            </a:xfrm>
            <a:custGeom>
              <a:avLst/>
              <a:gdLst/>
              <a:ahLst/>
              <a:cxnLst/>
              <a:rect l="l" t="t" r="r" b="b"/>
              <a:pathLst>
                <a:path w="212446" h="104783" extrusionOk="0">
                  <a:moveTo>
                    <a:pt x="2861" y="30194"/>
                  </a:moveTo>
                  <a:cubicBezTo>
                    <a:pt x="7137" y="14859"/>
                    <a:pt x="18257" y="18669"/>
                    <a:pt x="30707" y="22479"/>
                  </a:cubicBezTo>
                  <a:cubicBezTo>
                    <a:pt x="44209" y="27956"/>
                    <a:pt x="59041" y="29251"/>
                    <a:pt x="73284" y="26194"/>
                  </a:cubicBezTo>
                  <a:cubicBezTo>
                    <a:pt x="85164" y="22479"/>
                    <a:pt x="93717" y="12287"/>
                    <a:pt x="103791" y="5525"/>
                  </a:cubicBezTo>
                  <a:cubicBezTo>
                    <a:pt x="109552" y="2086"/>
                    <a:pt x="116096" y="181"/>
                    <a:pt x="122799" y="0"/>
                  </a:cubicBezTo>
                  <a:cubicBezTo>
                    <a:pt x="122228" y="3905"/>
                    <a:pt x="116241" y="26765"/>
                    <a:pt x="116241" y="26765"/>
                  </a:cubicBezTo>
                  <a:cubicBezTo>
                    <a:pt x="116241" y="26765"/>
                    <a:pt x="179346" y="27432"/>
                    <a:pt x="185809" y="26098"/>
                  </a:cubicBezTo>
                  <a:cubicBezTo>
                    <a:pt x="191634" y="25308"/>
                    <a:pt x="196997" y="29394"/>
                    <a:pt x="197789" y="35233"/>
                  </a:cubicBezTo>
                  <a:cubicBezTo>
                    <a:pt x="198199" y="38252"/>
                    <a:pt x="197297" y="41310"/>
                    <a:pt x="195312" y="43625"/>
                  </a:cubicBezTo>
                  <a:lnTo>
                    <a:pt x="199589" y="42958"/>
                  </a:lnTo>
                  <a:cubicBezTo>
                    <a:pt x="212514" y="40100"/>
                    <a:pt x="218027" y="59912"/>
                    <a:pt x="205006" y="62865"/>
                  </a:cubicBezTo>
                  <a:cubicBezTo>
                    <a:pt x="201585" y="63627"/>
                    <a:pt x="198069" y="64008"/>
                    <a:pt x="194457" y="64484"/>
                  </a:cubicBezTo>
                  <a:cubicBezTo>
                    <a:pt x="202915" y="67723"/>
                    <a:pt x="205006" y="81725"/>
                    <a:pt x="194457" y="83534"/>
                  </a:cubicBezTo>
                  <a:lnTo>
                    <a:pt x="191226" y="84106"/>
                  </a:lnTo>
                  <a:cubicBezTo>
                    <a:pt x="189741" y="84668"/>
                    <a:pt x="188151" y="84896"/>
                    <a:pt x="186569" y="84772"/>
                  </a:cubicBezTo>
                  <a:lnTo>
                    <a:pt x="184573" y="84772"/>
                  </a:lnTo>
                  <a:cubicBezTo>
                    <a:pt x="185790" y="90916"/>
                    <a:pt x="181809" y="96879"/>
                    <a:pt x="175683" y="98098"/>
                  </a:cubicBezTo>
                  <a:cubicBezTo>
                    <a:pt x="175480" y="98136"/>
                    <a:pt x="175275" y="98174"/>
                    <a:pt x="175069" y="98203"/>
                  </a:cubicBezTo>
                  <a:cubicBezTo>
                    <a:pt x="144277" y="102298"/>
                    <a:pt x="99039" y="114586"/>
                    <a:pt x="71098" y="89154"/>
                  </a:cubicBezTo>
                  <a:cubicBezTo>
                    <a:pt x="51763" y="87239"/>
                    <a:pt x="32878" y="82124"/>
                    <a:pt x="15216" y="74009"/>
                  </a:cubicBezTo>
                  <a:cubicBezTo>
                    <a:pt x="-1796" y="65913"/>
                    <a:pt x="-2271" y="48577"/>
                    <a:pt x="2861" y="301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7" name="Google Shape;2764;p37">
              <a:extLst>
                <a:ext uri="{FF2B5EF4-FFF2-40B4-BE49-F238E27FC236}">
                  <a16:creationId xmlns:a16="http://schemas.microsoft.com/office/drawing/2014/main" id="{F95D7D8E-DC95-47F8-ABC5-0D4EE4F291DD}"/>
                </a:ext>
              </a:extLst>
            </p:cNvPr>
            <p:cNvSpPr/>
            <p:nvPr/>
          </p:nvSpPr>
          <p:spPr>
            <a:xfrm>
              <a:off x="2916099" y="1987646"/>
              <a:ext cx="131568" cy="109091"/>
            </a:xfrm>
            <a:custGeom>
              <a:avLst/>
              <a:gdLst/>
              <a:ahLst/>
              <a:cxnLst/>
              <a:rect l="l" t="t" r="r" b="b"/>
              <a:pathLst>
                <a:path w="131568" h="109091" extrusionOk="0">
                  <a:moveTo>
                    <a:pt x="10639" y="59657"/>
                  </a:moveTo>
                  <a:lnTo>
                    <a:pt x="14916" y="59657"/>
                  </a:lnTo>
                  <a:cubicBezTo>
                    <a:pt x="10289" y="56028"/>
                    <a:pt x="9476" y="49322"/>
                    <a:pt x="13102" y="44683"/>
                  </a:cubicBezTo>
                  <a:cubicBezTo>
                    <a:pt x="14995" y="42255"/>
                    <a:pt x="17838" y="40778"/>
                    <a:pt x="20903" y="40607"/>
                  </a:cubicBezTo>
                  <a:cubicBezTo>
                    <a:pt x="27556" y="40607"/>
                    <a:pt x="92467" y="26986"/>
                    <a:pt x="92467" y="26986"/>
                  </a:cubicBezTo>
                  <a:lnTo>
                    <a:pt x="100260" y="221"/>
                  </a:lnTo>
                  <a:cubicBezTo>
                    <a:pt x="100260" y="-1303"/>
                    <a:pt x="111569" y="5555"/>
                    <a:pt x="111950" y="5840"/>
                  </a:cubicBezTo>
                  <a:cubicBezTo>
                    <a:pt x="123082" y="13146"/>
                    <a:pt x="130288" y="25138"/>
                    <a:pt x="131527" y="38416"/>
                  </a:cubicBezTo>
                  <a:cubicBezTo>
                    <a:pt x="132163" y="57028"/>
                    <a:pt x="125315" y="75116"/>
                    <a:pt x="112520" y="88613"/>
                  </a:cubicBezTo>
                  <a:cubicBezTo>
                    <a:pt x="100854" y="100414"/>
                    <a:pt x="85087" y="107244"/>
                    <a:pt x="68517" y="107663"/>
                  </a:cubicBezTo>
                  <a:cubicBezTo>
                    <a:pt x="60629" y="108139"/>
                    <a:pt x="53026" y="108520"/>
                    <a:pt x="46279" y="109092"/>
                  </a:cubicBezTo>
                  <a:cubicBezTo>
                    <a:pt x="40033" y="109092"/>
                    <a:pt x="34969" y="104015"/>
                    <a:pt x="34969" y="97757"/>
                  </a:cubicBezTo>
                  <a:cubicBezTo>
                    <a:pt x="34969" y="97728"/>
                    <a:pt x="34969" y="97690"/>
                    <a:pt x="34969" y="97661"/>
                  </a:cubicBezTo>
                  <a:lnTo>
                    <a:pt x="32973" y="97661"/>
                  </a:lnTo>
                  <a:cubicBezTo>
                    <a:pt x="31442" y="98023"/>
                    <a:pt x="29847" y="98023"/>
                    <a:pt x="28316" y="97661"/>
                  </a:cubicBezTo>
                  <a:lnTo>
                    <a:pt x="24990" y="97661"/>
                  </a:lnTo>
                  <a:cubicBezTo>
                    <a:pt x="13966" y="97661"/>
                    <a:pt x="13110" y="83946"/>
                    <a:pt x="20618" y="78611"/>
                  </a:cubicBezTo>
                  <a:cubicBezTo>
                    <a:pt x="17102" y="78611"/>
                    <a:pt x="13490" y="79278"/>
                    <a:pt x="9974" y="79278"/>
                  </a:cubicBezTo>
                  <a:cubicBezTo>
                    <a:pt x="-3806" y="80135"/>
                    <a:pt x="-3046" y="59561"/>
                    <a:pt x="10639" y="5965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8" name="Google Shape;2765;p37">
              <a:extLst>
                <a:ext uri="{FF2B5EF4-FFF2-40B4-BE49-F238E27FC236}">
                  <a16:creationId xmlns:a16="http://schemas.microsoft.com/office/drawing/2014/main" id="{78150163-2C1B-4FC3-9C33-61BC46C2AC21}"/>
                </a:ext>
              </a:extLst>
            </p:cNvPr>
            <p:cNvSpPr/>
            <p:nvPr/>
          </p:nvSpPr>
          <p:spPr>
            <a:xfrm>
              <a:off x="2631550" y="1349025"/>
              <a:ext cx="130391" cy="190023"/>
            </a:xfrm>
            <a:custGeom>
              <a:avLst/>
              <a:gdLst/>
              <a:ahLst/>
              <a:cxnLst/>
              <a:rect l="l" t="t" r="r" b="b"/>
              <a:pathLst>
                <a:path w="130391" h="190023" extrusionOk="0">
                  <a:moveTo>
                    <a:pt x="83348" y="190024"/>
                  </a:moveTo>
                  <a:cubicBezTo>
                    <a:pt x="83348" y="190024"/>
                    <a:pt x="116611" y="188309"/>
                    <a:pt x="130392" y="168878"/>
                  </a:cubicBezTo>
                  <a:cubicBezTo>
                    <a:pt x="127826" y="135636"/>
                    <a:pt x="85344" y="9430"/>
                    <a:pt x="0" y="0"/>
                  </a:cubicBezTo>
                  <a:cubicBezTo>
                    <a:pt x="23264" y="16335"/>
                    <a:pt x="41713" y="38643"/>
                    <a:pt x="53411" y="64580"/>
                  </a:cubicBezTo>
                  <a:cubicBezTo>
                    <a:pt x="68902" y="102584"/>
                    <a:pt x="83348" y="190024"/>
                    <a:pt x="83348" y="1900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9" name="Google Shape;2766;p37">
              <a:extLst>
                <a:ext uri="{FF2B5EF4-FFF2-40B4-BE49-F238E27FC236}">
                  <a16:creationId xmlns:a16="http://schemas.microsoft.com/office/drawing/2014/main" id="{00E81EE3-448A-424B-B199-90DEA7B2F662}"/>
                </a:ext>
              </a:extLst>
            </p:cNvPr>
            <p:cNvSpPr/>
            <p:nvPr/>
          </p:nvSpPr>
          <p:spPr>
            <a:xfrm>
              <a:off x="2269458" y="1478036"/>
              <a:ext cx="157611" cy="236452"/>
            </a:xfrm>
            <a:custGeom>
              <a:avLst/>
              <a:gdLst/>
              <a:ahLst/>
              <a:cxnLst/>
              <a:rect l="l" t="t" r="r" b="b"/>
              <a:pathLst>
                <a:path w="157611" h="236452" extrusionOk="0">
                  <a:moveTo>
                    <a:pt x="12067" y="227795"/>
                  </a:moveTo>
                  <a:cubicBezTo>
                    <a:pt x="12067" y="227795"/>
                    <a:pt x="97031" y="257132"/>
                    <a:pt x="156905" y="207793"/>
                  </a:cubicBezTo>
                  <a:cubicBezTo>
                    <a:pt x="163463" y="196458"/>
                    <a:pt x="122216" y="51583"/>
                    <a:pt x="122216" y="51583"/>
                  </a:cubicBezTo>
                  <a:cubicBezTo>
                    <a:pt x="122216" y="51583"/>
                    <a:pt x="86577" y="-22522"/>
                    <a:pt x="30790" y="6911"/>
                  </a:cubicBezTo>
                  <a:cubicBezTo>
                    <a:pt x="-24997" y="36343"/>
                    <a:pt x="12067" y="227795"/>
                    <a:pt x="12067" y="22779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0" name="Google Shape;2767;p37">
              <a:extLst>
                <a:ext uri="{FF2B5EF4-FFF2-40B4-BE49-F238E27FC236}">
                  <a16:creationId xmlns:a16="http://schemas.microsoft.com/office/drawing/2014/main" id="{41643C51-6B1C-450A-9706-8881E9E5D12A}"/>
                </a:ext>
              </a:extLst>
            </p:cNvPr>
            <p:cNvSpPr/>
            <p:nvPr/>
          </p:nvSpPr>
          <p:spPr>
            <a:xfrm>
              <a:off x="3098756" y="3983831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5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5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1" name="Google Shape;2768;p37">
              <a:extLst>
                <a:ext uri="{FF2B5EF4-FFF2-40B4-BE49-F238E27FC236}">
                  <a16:creationId xmlns:a16="http://schemas.microsoft.com/office/drawing/2014/main" id="{2A4552AB-AB86-4863-A9E7-75438D96DDBA}"/>
                </a:ext>
              </a:extLst>
            </p:cNvPr>
            <p:cNvSpPr/>
            <p:nvPr/>
          </p:nvSpPr>
          <p:spPr>
            <a:xfrm>
              <a:off x="4017202" y="4508754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2" name="Google Shape;2769;p37">
              <a:extLst>
                <a:ext uri="{FF2B5EF4-FFF2-40B4-BE49-F238E27FC236}">
                  <a16:creationId xmlns:a16="http://schemas.microsoft.com/office/drawing/2014/main" id="{0B48DBDD-85BE-4C37-B05F-BF9F59E28BC8}"/>
                </a:ext>
              </a:extLst>
            </p:cNvPr>
            <p:cNvSpPr/>
            <p:nvPr/>
          </p:nvSpPr>
          <p:spPr>
            <a:xfrm>
              <a:off x="5609182" y="3535680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3" name="Google Shape;2770;p37">
              <a:extLst>
                <a:ext uri="{FF2B5EF4-FFF2-40B4-BE49-F238E27FC236}">
                  <a16:creationId xmlns:a16="http://schemas.microsoft.com/office/drawing/2014/main" id="{C40614DE-6475-46FA-877A-2640FCEAADAD}"/>
                </a:ext>
              </a:extLst>
            </p:cNvPr>
            <p:cNvSpPr/>
            <p:nvPr/>
          </p:nvSpPr>
          <p:spPr>
            <a:xfrm>
              <a:off x="3115863" y="3050952"/>
              <a:ext cx="67191" cy="975240"/>
            </a:xfrm>
            <a:custGeom>
              <a:avLst/>
              <a:gdLst/>
              <a:ahLst/>
              <a:cxnLst/>
              <a:rect l="l" t="t" r="r" b="b"/>
              <a:pathLst>
                <a:path w="67191" h="975240" extrusionOk="0">
                  <a:moveTo>
                    <a:pt x="0" y="0"/>
                  </a:moveTo>
                  <a:lnTo>
                    <a:pt x="0" y="955548"/>
                  </a:lnTo>
                  <a:cubicBezTo>
                    <a:pt x="447" y="961558"/>
                    <a:pt x="4068" y="966864"/>
                    <a:pt x="9504" y="969455"/>
                  </a:cubicBezTo>
                  <a:cubicBezTo>
                    <a:pt x="24643" y="977170"/>
                    <a:pt x="42549" y="977170"/>
                    <a:pt x="57688" y="969455"/>
                  </a:cubicBezTo>
                  <a:cubicBezTo>
                    <a:pt x="63105" y="966854"/>
                    <a:pt x="66726" y="961549"/>
                    <a:pt x="67192" y="955548"/>
                  </a:cubicBezTo>
                  <a:lnTo>
                    <a:pt x="67192" y="955548"/>
                  </a:lnTo>
                  <a:lnTo>
                    <a:pt x="67192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4" name="Google Shape;2771;p37">
              <a:extLst>
                <a:ext uri="{FF2B5EF4-FFF2-40B4-BE49-F238E27FC236}">
                  <a16:creationId xmlns:a16="http://schemas.microsoft.com/office/drawing/2014/main" id="{70331ED2-EE35-4DE3-BDD6-E8C51703E0AE}"/>
                </a:ext>
              </a:extLst>
            </p:cNvPr>
            <p:cNvSpPr/>
            <p:nvPr/>
          </p:nvSpPr>
          <p:spPr>
            <a:xfrm>
              <a:off x="4036495" y="3422808"/>
              <a:ext cx="59588" cy="1128783"/>
            </a:xfrm>
            <a:custGeom>
              <a:avLst/>
              <a:gdLst/>
              <a:ahLst/>
              <a:cxnLst/>
              <a:rect l="l" t="t" r="r" b="b"/>
              <a:pathLst>
                <a:path w="59588" h="1128783" extrusionOk="0">
                  <a:moveTo>
                    <a:pt x="0" y="0"/>
                  </a:moveTo>
                  <a:lnTo>
                    <a:pt x="0" y="1108996"/>
                  </a:lnTo>
                  <a:cubicBezTo>
                    <a:pt x="333" y="1114835"/>
                    <a:pt x="3583" y="1120102"/>
                    <a:pt x="8648" y="1122998"/>
                  </a:cubicBezTo>
                  <a:cubicBezTo>
                    <a:pt x="21659" y="1130713"/>
                    <a:pt x="37834" y="1130713"/>
                    <a:pt x="50845" y="1122998"/>
                  </a:cubicBezTo>
                  <a:cubicBezTo>
                    <a:pt x="55930" y="1120111"/>
                    <a:pt x="59218" y="1114844"/>
                    <a:pt x="59589" y="1108996"/>
                  </a:cubicBezTo>
                  <a:lnTo>
                    <a:pt x="59589" y="1108996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5" name="Google Shape;2772;p37">
              <a:extLst>
                <a:ext uri="{FF2B5EF4-FFF2-40B4-BE49-F238E27FC236}">
                  <a16:creationId xmlns:a16="http://schemas.microsoft.com/office/drawing/2014/main" id="{169C385E-B70E-498F-AE55-EC62A5064894}"/>
                </a:ext>
              </a:extLst>
            </p:cNvPr>
            <p:cNvSpPr/>
            <p:nvPr/>
          </p:nvSpPr>
          <p:spPr>
            <a:xfrm>
              <a:off x="5628379" y="2652522"/>
              <a:ext cx="59588" cy="923996"/>
            </a:xfrm>
            <a:custGeom>
              <a:avLst/>
              <a:gdLst/>
              <a:ahLst/>
              <a:cxnLst/>
              <a:rect l="l" t="t" r="r" b="b"/>
              <a:pathLst>
                <a:path w="59588" h="923996" extrusionOk="0">
                  <a:moveTo>
                    <a:pt x="0" y="0"/>
                  </a:moveTo>
                  <a:lnTo>
                    <a:pt x="0" y="904304"/>
                  </a:lnTo>
                  <a:cubicBezTo>
                    <a:pt x="342" y="910133"/>
                    <a:pt x="3649" y="915381"/>
                    <a:pt x="8744" y="918210"/>
                  </a:cubicBezTo>
                  <a:cubicBezTo>
                    <a:pt x="21716" y="925925"/>
                    <a:pt x="37873" y="925925"/>
                    <a:pt x="50845" y="918210"/>
                  </a:cubicBezTo>
                  <a:cubicBezTo>
                    <a:pt x="55939" y="915381"/>
                    <a:pt x="59247" y="910133"/>
                    <a:pt x="59589" y="904304"/>
                  </a:cubicBezTo>
                  <a:lnTo>
                    <a:pt x="59589" y="904304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6" name="Google Shape;2773;p37">
              <a:extLst>
                <a:ext uri="{FF2B5EF4-FFF2-40B4-BE49-F238E27FC236}">
                  <a16:creationId xmlns:a16="http://schemas.microsoft.com/office/drawing/2014/main" id="{ABF2D631-423B-425E-B2E4-F0B21F2EA337}"/>
                </a:ext>
              </a:extLst>
            </p:cNvPr>
            <p:cNvSpPr/>
            <p:nvPr/>
          </p:nvSpPr>
          <p:spPr>
            <a:xfrm>
              <a:off x="3056370" y="3054762"/>
              <a:ext cx="1009872" cy="652653"/>
            </a:xfrm>
            <a:custGeom>
              <a:avLst/>
              <a:gdLst/>
              <a:ahLst/>
              <a:cxnLst/>
              <a:rect l="l" t="t" r="r" b="b"/>
              <a:pathLst>
                <a:path w="1009872" h="652653" extrusionOk="0">
                  <a:moveTo>
                    <a:pt x="1009872" y="652653"/>
                  </a:moveTo>
                  <a:lnTo>
                    <a:pt x="0" y="68294"/>
                  </a:lnTo>
                  <a:lnTo>
                    <a:pt x="0" y="0"/>
                  </a:lnTo>
                  <a:lnTo>
                    <a:pt x="1009872" y="584454"/>
                  </a:lnTo>
                  <a:lnTo>
                    <a:pt x="1009872" y="652653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7" name="Google Shape;2774;p37">
              <a:extLst>
                <a:ext uri="{FF2B5EF4-FFF2-40B4-BE49-F238E27FC236}">
                  <a16:creationId xmlns:a16="http://schemas.microsoft.com/office/drawing/2014/main" id="{7468C3C4-A338-438B-B190-7D01EC3CB034}"/>
                </a:ext>
              </a:extLst>
            </p:cNvPr>
            <p:cNvSpPr/>
            <p:nvPr/>
          </p:nvSpPr>
          <p:spPr>
            <a:xfrm>
              <a:off x="3056084" y="2071592"/>
              <a:ext cx="2712855" cy="1569720"/>
            </a:xfrm>
            <a:custGeom>
              <a:avLst/>
              <a:gdLst/>
              <a:ahLst/>
              <a:cxnLst/>
              <a:rect l="l" t="t" r="r" b="b"/>
              <a:pathLst>
                <a:path w="2712855" h="1569720" extrusionOk="0">
                  <a:moveTo>
                    <a:pt x="2712856" y="584359"/>
                  </a:moveTo>
                  <a:lnTo>
                    <a:pt x="1009967" y="1569720"/>
                  </a:lnTo>
                  <a:lnTo>
                    <a:pt x="0" y="985361"/>
                  </a:lnTo>
                  <a:lnTo>
                    <a:pt x="1702889" y="0"/>
                  </a:lnTo>
                  <a:lnTo>
                    <a:pt x="2712856" y="58435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8" name="Google Shape;2775;p37">
              <a:extLst>
                <a:ext uri="{FF2B5EF4-FFF2-40B4-BE49-F238E27FC236}">
                  <a16:creationId xmlns:a16="http://schemas.microsoft.com/office/drawing/2014/main" id="{703F3685-5D77-45FA-BBCF-F199F08CBE66}"/>
                </a:ext>
              </a:extLst>
            </p:cNvPr>
            <p:cNvSpPr/>
            <p:nvPr/>
          </p:nvSpPr>
          <p:spPr>
            <a:xfrm>
              <a:off x="4066242" y="2653855"/>
              <a:ext cx="1702888" cy="1053560"/>
            </a:xfrm>
            <a:custGeom>
              <a:avLst/>
              <a:gdLst/>
              <a:ahLst/>
              <a:cxnLst/>
              <a:rect l="l" t="t" r="r" b="b"/>
              <a:pathLst>
                <a:path w="1702888" h="1053560" extrusionOk="0">
                  <a:moveTo>
                    <a:pt x="1702888" y="68199"/>
                  </a:moveTo>
                  <a:lnTo>
                    <a:pt x="0" y="1053560"/>
                  </a:lnTo>
                  <a:lnTo>
                    <a:pt x="0" y="985361"/>
                  </a:lnTo>
                  <a:lnTo>
                    <a:pt x="1702888" y="0"/>
                  </a:lnTo>
                  <a:lnTo>
                    <a:pt x="1702888" y="68199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9" name="Google Shape;2776;p37">
              <a:extLst>
                <a:ext uri="{FF2B5EF4-FFF2-40B4-BE49-F238E27FC236}">
                  <a16:creationId xmlns:a16="http://schemas.microsoft.com/office/drawing/2014/main" id="{7909A53D-5E3C-4932-B500-94CB190FFA54}"/>
                </a:ext>
              </a:extLst>
            </p:cNvPr>
            <p:cNvSpPr/>
            <p:nvPr/>
          </p:nvSpPr>
          <p:spPr>
            <a:xfrm>
              <a:off x="4763535" y="2360390"/>
              <a:ext cx="519572" cy="326898"/>
            </a:xfrm>
            <a:custGeom>
              <a:avLst/>
              <a:gdLst/>
              <a:ahLst/>
              <a:cxnLst/>
              <a:rect l="l" t="t" r="r" b="b"/>
              <a:pathLst>
                <a:path w="519572" h="326898" extrusionOk="0">
                  <a:moveTo>
                    <a:pt x="519572" y="98965"/>
                  </a:moveTo>
                  <a:lnTo>
                    <a:pt x="248049" y="326898"/>
                  </a:lnTo>
                  <a:lnTo>
                    <a:pt x="0" y="227933"/>
                  </a:lnTo>
                  <a:lnTo>
                    <a:pt x="271523" y="0"/>
                  </a:lnTo>
                  <a:lnTo>
                    <a:pt x="519572" y="98965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0" name="Google Shape;2777;p37">
              <a:extLst>
                <a:ext uri="{FF2B5EF4-FFF2-40B4-BE49-F238E27FC236}">
                  <a16:creationId xmlns:a16="http://schemas.microsoft.com/office/drawing/2014/main" id="{803B7F15-BEEE-44B1-903C-FF2347EE644F}"/>
                </a:ext>
              </a:extLst>
            </p:cNvPr>
            <p:cNvSpPr/>
            <p:nvPr/>
          </p:nvSpPr>
          <p:spPr>
            <a:xfrm>
              <a:off x="4668877" y="2346674"/>
              <a:ext cx="551219" cy="318992"/>
            </a:xfrm>
            <a:custGeom>
              <a:avLst/>
              <a:gdLst/>
              <a:ahLst/>
              <a:cxnLst/>
              <a:rect l="l" t="t" r="r" b="b"/>
              <a:pathLst>
                <a:path w="551219" h="318992" extrusionOk="0">
                  <a:moveTo>
                    <a:pt x="551220" y="123254"/>
                  </a:moveTo>
                  <a:lnTo>
                    <a:pt x="212980" y="318992"/>
                  </a:lnTo>
                  <a:lnTo>
                    <a:pt x="0" y="195739"/>
                  </a:lnTo>
                  <a:lnTo>
                    <a:pt x="338240" y="0"/>
                  </a:lnTo>
                  <a:lnTo>
                    <a:pt x="551220" y="123254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1" name="Google Shape;2778;p37">
              <a:extLst>
                <a:ext uri="{FF2B5EF4-FFF2-40B4-BE49-F238E27FC236}">
                  <a16:creationId xmlns:a16="http://schemas.microsoft.com/office/drawing/2014/main" id="{D66A5E7F-D4B3-4D2A-98FE-7C88378675DF}"/>
                </a:ext>
              </a:extLst>
            </p:cNvPr>
            <p:cNvSpPr/>
            <p:nvPr/>
          </p:nvSpPr>
          <p:spPr>
            <a:xfrm>
              <a:off x="4743291" y="2531554"/>
              <a:ext cx="161184" cy="93249"/>
            </a:xfrm>
            <a:custGeom>
              <a:avLst/>
              <a:gdLst/>
              <a:ahLst/>
              <a:cxnLst/>
              <a:rect l="l" t="t" r="r" b="b"/>
              <a:pathLst>
                <a:path w="161184" h="93249" extrusionOk="0">
                  <a:moveTo>
                    <a:pt x="161184" y="81248"/>
                  </a:moveTo>
                  <a:lnTo>
                    <a:pt x="140466" y="93250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61184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2" name="Google Shape;2779;p37">
              <a:extLst>
                <a:ext uri="{FF2B5EF4-FFF2-40B4-BE49-F238E27FC236}">
                  <a16:creationId xmlns:a16="http://schemas.microsoft.com/office/drawing/2014/main" id="{C41FE514-8D9E-4CA8-9730-D1FAEF171378}"/>
                </a:ext>
              </a:extLst>
            </p:cNvPr>
            <p:cNvSpPr/>
            <p:nvPr/>
          </p:nvSpPr>
          <p:spPr>
            <a:xfrm>
              <a:off x="4789955" y="2504598"/>
              <a:ext cx="161089" cy="93249"/>
            </a:xfrm>
            <a:custGeom>
              <a:avLst/>
              <a:gdLst/>
              <a:ahLst/>
              <a:cxnLst/>
              <a:rect l="l" t="t" r="r" b="b"/>
              <a:pathLst>
                <a:path w="161089" h="93249" extrusionOk="0">
                  <a:moveTo>
                    <a:pt x="161089" y="81248"/>
                  </a:moveTo>
                  <a:lnTo>
                    <a:pt x="140371" y="93250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3" name="Google Shape;2780;p37">
              <a:extLst>
                <a:ext uri="{FF2B5EF4-FFF2-40B4-BE49-F238E27FC236}">
                  <a16:creationId xmlns:a16="http://schemas.microsoft.com/office/drawing/2014/main" id="{CE5EFD11-EE18-4738-A82B-1C9B75841152}"/>
                </a:ext>
              </a:extLst>
            </p:cNvPr>
            <p:cNvSpPr/>
            <p:nvPr/>
          </p:nvSpPr>
          <p:spPr>
            <a:xfrm>
              <a:off x="4834813" y="2478690"/>
              <a:ext cx="161089" cy="93154"/>
            </a:xfrm>
            <a:custGeom>
              <a:avLst/>
              <a:gdLst/>
              <a:ahLst/>
              <a:cxnLst/>
              <a:rect l="l" t="t" r="r" b="b"/>
              <a:pathLst>
                <a:path w="161089" h="93154" extrusionOk="0">
                  <a:moveTo>
                    <a:pt x="161089" y="81248"/>
                  </a:moveTo>
                  <a:lnTo>
                    <a:pt x="140371" y="93154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4" name="Google Shape;2781;p37">
              <a:extLst>
                <a:ext uri="{FF2B5EF4-FFF2-40B4-BE49-F238E27FC236}">
                  <a16:creationId xmlns:a16="http://schemas.microsoft.com/office/drawing/2014/main" id="{7696250B-8355-4F85-A4D2-0DFE02A2BD2F}"/>
                </a:ext>
              </a:extLst>
            </p:cNvPr>
            <p:cNvSpPr/>
            <p:nvPr/>
          </p:nvSpPr>
          <p:spPr>
            <a:xfrm>
              <a:off x="4998753" y="2451734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244"/>
                  </a:moveTo>
                  <a:lnTo>
                    <a:pt x="81733" y="59246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02451" y="4724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5" name="Google Shape;2782;p37">
              <a:extLst>
                <a:ext uri="{FF2B5EF4-FFF2-40B4-BE49-F238E27FC236}">
                  <a16:creationId xmlns:a16="http://schemas.microsoft.com/office/drawing/2014/main" id="{02F74362-EFB7-4296-88D4-C41BC21C33DB}"/>
                </a:ext>
              </a:extLst>
            </p:cNvPr>
            <p:cNvSpPr/>
            <p:nvPr/>
          </p:nvSpPr>
          <p:spPr>
            <a:xfrm>
              <a:off x="5043611" y="2425731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339"/>
                  </a:moveTo>
                  <a:lnTo>
                    <a:pt x="81733" y="59246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02451" y="473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6" name="Google Shape;2783;p37">
              <a:extLst>
                <a:ext uri="{FF2B5EF4-FFF2-40B4-BE49-F238E27FC236}">
                  <a16:creationId xmlns:a16="http://schemas.microsoft.com/office/drawing/2014/main" id="{6BE57222-CBE2-4D3B-9461-FBE9347C8A72}"/>
                </a:ext>
              </a:extLst>
            </p:cNvPr>
            <p:cNvSpPr/>
            <p:nvPr/>
          </p:nvSpPr>
          <p:spPr>
            <a:xfrm>
              <a:off x="4912649" y="2469832"/>
              <a:ext cx="307447" cy="180974"/>
            </a:xfrm>
            <a:custGeom>
              <a:avLst/>
              <a:gdLst/>
              <a:ahLst/>
              <a:cxnLst/>
              <a:rect l="l" t="t" r="r" b="b"/>
              <a:pathLst>
                <a:path w="307447" h="180974" extrusionOk="0">
                  <a:moveTo>
                    <a:pt x="7508" y="180975"/>
                  </a:moveTo>
                  <a:cubicBezTo>
                    <a:pt x="13115" y="178594"/>
                    <a:pt x="307448" y="0"/>
                    <a:pt x="307448" y="0"/>
                  </a:cubicBezTo>
                  <a:lnTo>
                    <a:pt x="0" y="178117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7" name="Google Shape;2784;p37">
              <a:extLst>
                <a:ext uri="{FF2B5EF4-FFF2-40B4-BE49-F238E27FC236}">
                  <a16:creationId xmlns:a16="http://schemas.microsoft.com/office/drawing/2014/main" id="{FD6BE3C4-D0C4-41DD-8CF3-BC112B22CF87}"/>
                </a:ext>
              </a:extLst>
            </p:cNvPr>
            <p:cNvSpPr/>
            <p:nvPr/>
          </p:nvSpPr>
          <p:spPr>
            <a:xfrm>
              <a:off x="4894497" y="284121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8" name="Google Shape;2785;p37">
              <a:extLst>
                <a:ext uri="{FF2B5EF4-FFF2-40B4-BE49-F238E27FC236}">
                  <a16:creationId xmlns:a16="http://schemas.microsoft.com/office/drawing/2014/main" id="{87530665-041F-4B12-95BE-4EBFA96B01DC}"/>
                </a:ext>
              </a:extLst>
            </p:cNvPr>
            <p:cNvSpPr/>
            <p:nvPr/>
          </p:nvSpPr>
          <p:spPr>
            <a:xfrm>
              <a:off x="4901418" y="2763964"/>
              <a:ext cx="147800" cy="156591"/>
            </a:xfrm>
            <a:custGeom>
              <a:avLst/>
              <a:gdLst/>
              <a:ahLst/>
              <a:cxnLst/>
              <a:rect l="l" t="t" r="r" b="b"/>
              <a:pathLst>
                <a:path w="147800" h="156591" extrusionOk="0">
                  <a:moveTo>
                    <a:pt x="147801" y="113824"/>
                  </a:moveTo>
                  <a:lnTo>
                    <a:pt x="147801" y="0"/>
                  </a:lnTo>
                  <a:lnTo>
                    <a:pt x="587" y="3715"/>
                  </a:lnTo>
                  <a:lnTo>
                    <a:pt x="587" y="108490"/>
                  </a:lnTo>
                  <a:cubicBezTo>
                    <a:pt x="-2169" y="121063"/>
                    <a:pt x="4769" y="134303"/>
                    <a:pt x="21590" y="144018"/>
                  </a:cubicBezTo>
                  <a:cubicBezTo>
                    <a:pt x="54436" y="160782"/>
                    <a:pt x="93287" y="160782"/>
                    <a:pt x="126132" y="144018"/>
                  </a:cubicBezTo>
                  <a:cubicBezTo>
                    <a:pt x="138288" y="138646"/>
                    <a:pt x="146584" y="127083"/>
                    <a:pt x="147801" y="113824"/>
                  </a:cubicBez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9" name="Google Shape;2786;p37">
              <a:extLst>
                <a:ext uri="{FF2B5EF4-FFF2-40B4-BE49-F238E27FC236}">
                  <a16:creationId xmlns:a16="http://schemas.microsoft.com/office/drawing/2014/main" id="{7A8B624D-95FC-4167-AD4D-75EB4C78EC61}"/>
                </a:ext>
              </a:extLst>
            </p:cNvPr>
            <p:cNvSpPr/>
            <p:nvPr/>
          </p:nvSpPr>
          <p:spPr>
            <a:xfrm>
              <a:off x="4901720" y="272129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8" y="85344"/>
                    <a:pt x="0" y="66239"/>
                    <a:pt x="0" y="42672"/>
                  </a:cubicBezTo>
                  <a:cubicBezTo>
                    <a:pt x="0" y="19105"/>
                    <a:pt x="33018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BCD6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0" name="Google Shape;2787;p37">
              <a:extLst>
                <a:ext uri="{FF2B5EF4-FFF2-40B4-BE49-F238E27FC236}">
                  <a16:creationId xmlns:a16="http://schemas.microsoft.com/office/drawing/2014/main" id="{B906AB69-9824-468A-AB72-D0C6EEC2F7AA}"/>
                </a:ext>
              </a:extLst>
            </p:cNvPr>
            <p:cNvSpPr/>
            <p:nvPr/>
          </p:nvSpPr>
          <p:spPr>
            <a:xfrm>
              <a:off x="4913314" y="2732891"/>
              <a:ext cx="124214" cy="61955"/>
            </a:xfrm>
            <a:custGeom>
              <a:avLst/>
              <a:gdLst/>
              <a:ahLst/>
              <a:cxnLst/>
              <a:rect l="l" t="t" r="r" b="b"/>
              <a:pathLst>
                <a:path w="124214" h="61955" extrusionOk="0">
                  <a:moveTo>
                    <a:pt x="124215" y="31073"/>
                  </a:moveTo>
                  <a:cubicBezTo>
                    <a:pt x="124215" y="38026"/>
                    <a:pt x="118512" y="45360"/>
                    <a:pt x="108438" y="51075"/>
                  </a:cubicBezTo>
                  <a:cubicBezTo>
                    <a:pt x="95636" y="57924"/>
                    <a:pt x="81410" y="61639"/>
                    <a:pt x="66907" y="61934"/>
                  </a:cubicBezTo>
                  <a:lnTo>
                    <a:pt x="62060" y="61934"/>
                  </a:lnTo>
                  <a:cubicBezTo>
                    <a:pt x="45951" y="62277"/>
                    <a:pt x="30032" y="58505"/>
                    <a:pt x="15776" y="50980"/>
                  </a:cubicBezTo>
                  <a:cubicBezTo>
                    <a:pt x="5797" y="45265"/>
                    <a:pt x="0" y="37931"/>
                    <a:pt x="0" y="30978"/>
                  </a:cubicBezTo>
                  <a:cubicBezTo>
                    <a:pt x="0" y="24024"/>
                    <a:pt x="5797" y="16785"/>
                    <a:pt x="15776" y="10975"/>
                  </a:cubicBezTo>
                  <a:cubicBezTo>
                    <a:pt x="30032" y="3450"/>
                    <a:pt x="45951" y="-322"/>
                    <a:pt x="62060" y="21"/>
                  </a:cubicBezTo>
                  <a:lnTo>
                    <a:pt x="66812" y="21"/>
                  </a:lnTo>
                  <a:cubicBezTo>
                    <a:pt x="81314" y="317"/>
                    <a:pt x="95542" y="4031"/>
                    <a:pt x="108343" y="10880"/>
                  </a:cubicBezTo>
                  <a:cubicBezTo>
                    <a:pt x="118512" y="16881"/>
                    <a:pt x="124215" y="24120"/>
                    <a:pt x="124215" y="31073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1" name="Google Shape;2788;p37">
              <a:extLst>
                <a:ext uri="{FF2B5EF4-FFF2-40B4-BE49-F238E27FC236}">
                  <a16:creationId xmlns:a16="http://schemas.microsoft.com/office/drawing/2014/main" id="{4D4DFA60-446D-463C-91E3-BBA578972CDF}"/>
                </a:ext>
              </a:extLst>
            </p:cNvPr>
            <p:cNvSpPr/>
            <p:nvPr/>
          </p:nvSpPr>
          <p:spPr>
            <a:xfrm>
              <a:off x="4922818" y="2733153"/>
              <a:ext cx="114710" cy="61622"/>
            </a:xfrm>
            <a:custGeom>
              <a:avLst/>
              <a:gdLst/>
              <a:ahLst/>
              <a:cxnLst/>
              <a:rect l="l" t="t" r="r" b="b"/>
              <a:pathLst>
                <a:path w="114710" h="61622" extrusionOk="0">
                  <a:moveTo>
                    <a:pt x="114711" y="30811"/>
                  </a:moveTo>
                  <a:cubicBezTo>
                    <a:pt x="114711" y="37764"/>
                    <a:pt x="109008" y="45099"/>
                    <a:pt x="98934" y="50814"/>
                  </a:cubicBezTo>
                  <a:cubicBezTo>
                    <a:pt x="73084" y="65225"/>
                    <a:pt x="41627" y="65225"/>
                    <a:pt x="15776" y="50814"/>
                  </a:cubicBezTo>
                  <a:cubicBezTo>
                    <a:pt x="5797" y="45099"/>
                    <a:pt x="0" y="37764"/>
                    <a:pt x="0" y="30811"/>
                  </a:cubicBezTo>
                  <a:cubicBezTo>
                    <a:pt x="0" y="23858"/>
                    <a:pt x="5797" y="16619"/>
                    <a:pt x="15776" y="10808"/>
                  </a:cubicBezTo>
                  <a:cubicBezTo>
                    <a:pt x="41627" y="-3603"/>
                    <a:pt x="73084" y="-3603"/>
                    <a:pt x="98934" y="10808"/>
                  </a:cubicBezTo>
                  <a:cubicBezTo>
                    <a:pt x="109008" y="16619"/>
                    <a:pt x="114711" y="23858"/>
                    <a:pt x="114711" y="30811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2" name="Google Shape;2789;p37">
              <a:extLst>
                <a:ext uri="{FF2B5EF4-FFF2-40B4-BE49-F238E27FC236}">
                  <a16:creationId xmlns:a16="http://schemas.microsoft.com/office/drawing/2014/main" id="{CE27C98D-ADD0-4511-85EE-454F0FD6E93F}"/>
                </a:ext>
              </a:extLst>
            </p:cNvPr>
            <p:cNvSpPr/>
            <p:nvPr/>
          </p:nvSpPr>
          <p:spPr>
            <a:xfrm>
              <a:off x="5015195" y="2807589"/>
              <a:ext cx="42215" cy="98678"/>
            </a:xfrm>
            <a:custGeom>
              <a:avLst/>
              <a:gdLst/>
              <a:ahLst/>
              <a:cxnLst/>
              <a:rect l="l" t="t" r="r" b="b"/>
              <a:pathLst>
                <a:path w="42215" h="98678" extrusionOk="0">
                  <a:moveTo>
                    <a:pt x="23284" y="9049"/>
                  </a:moveTo>
                  <a:lnTo>
                    <a:pt x="7603" y="0"/>
                  </a:lnTo>
                  <a:lnTo>
                    <a:pt x="0" y="4477"/>
                  </a:lnTo>
                  <a:lnTo>
                    <a:pt x="7603" y="8858"/>
                  </a:lnTo>
                  <a:lnTo>
                    <a:pt x="7603" y="11716"/>
                  </a:lnTo>
                  <a:lnTo>
                    <a:pt x="22239" y="20193"/>
                  </a:lnTo>
                  <a:lnTo>
                    <a:pt x="22239" y="22955"/>
                  </a:lnTo>
                  <a:cubicBezTo>
                    <a:pt x="25765" y="28004"/>
                    <a:pt x="28939" y="33290"/>
                    <a:pt x="31743" y="38767"/>
                  </a:cubicBezTo>
                  <a:lnTo>
                    <a:pt x="32313" y="38290"/>
                  </a:lnTo>
                  <a:lnTo>
                    <a:pt x="32313" y="74962"/>
                  </a:lnTo>
                  <a:cubicBezTo>
                    <a:pt x="32313" y="84487"/>
                    <a:pt x="26706" y="81343"/>
                    <a:pt x="24235" y="79915"/>
                  </a:cubicBezTo>
                  <a:lnTo>
                    <a:pt x="7793" y="70390"/>
                  </a:lnTo>
                  <a:lnTo>
                    <a:pt x="190" y="74866"/>
                  </a:lnTo>
                  <a:lnTo>
                    <a:pt x="7793" y="79248"/>
                  </a:lnTo>
                  <a:lnTo>
                    <a:pt x="7793" y="82105"/>
                  </a:lnTo>
                  <a:lnTo>
                    <a:pt x="24235" y="91630"/>
                  </a:lnTo>
                  <a:cubicBezTo>
                    <a:pt x="25945" y="92630"/>
                    <a:pt x="27760" y="93431"/>
                    <a:pt x="29652" y="94012"/>
                  </a:cubicBezTo>
                  <a:lnTo>
                    <a:pt x="28606" y="98679"/>
                  </a:lnTo>
                  <a:lnTo>
                    <a:pt x="37160" y="93821"/>
                  </a:lnTo>
                  <a:lnTo>
                    <a:pt x="37160" y="93821"/>
                  </a:lnTo>
                  <a:cubicBezTo>
                    <a:pt x="40847" y="90678"/>
                    <a:pt x="42710" y="85877"/>
                    <a:pt x="42102" y="81058"/>
                  </a:cubicBezTo>
                  <a:lnTo>
                    <a:pt x="42102" y="42958"/>
                  </a:lnTo>
                  <a:cubicBezTo>
                    <a:pt x="41370" y="29356"/>
                    <a:pt x="34423" y="16850"/>
                    <a:pt x="23284" y="9049"/>
                  </a:cubicBezTo>
                  <a:close/>
                </a:path>
              </a:pathLst>
            </a:custGeom>
            <a:solidFill>
              <a:srgbClr val="8DA01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3" name="Google Shape;2790;p37">
              <a:extLst>
                <a:ext uri="{FF2B5EF4-FFF2-40B4-BE49-F238E27FC236}">
                  <a16:creationId xmlns:a16="http://schemas.microsoft.com/office/drawing/2014/main" id="{D56A5604-8C20-4B46-AB2F-B78C1286C598}"/>
                </a:ext>
              </a:extLst>
            </p:cNvPr>
            <p:cNvSpPr/>
            <p:nvPr/>
          </p:nvSpPr>
          <p:spPr>
            <a:xfrm>
              <a:off x="5015195" y="2812256"/>
              <a:ext cx="34783" cy="94465"/>
            </a:xfrm>
            <a:custGeom>
              <a:avLst/>
              <a:gdLst/>
              <a:ahLst/>
              <a:cxnLst/>
              <a:rect l="l" t="t" r="r" b="b"/>
              <a:pathLst>
                <a:path w="34783" h="94465" extrusionOk="0">
                  <a:moveTo>
                    <a:pt x="16442" y="91440"/>
                  </a:moveTo>
                  <a:lnTo>
                    <a:pt x="0" y="81915"/>
                  </a:lnTo>
                  <a:lnTo>
                    <a:pt x="0" y="70199"/>
                  </a:lnTo>
                  <a:lnTo>
                    <a:pt x="16442" y="79724"/>
                  </a:lnTo>
                  <a:cubicBezTo>
                    <a:pt x="18818" y="81058"/>
                    <a:pt x="24520" y="84296"/>
                    <a:pt x="24520" y="74676"/>
                  </a:cubicBezTo>
                  <a:lnTo>
                    <a:pt x="24520" y="36576"/>
                  </a:lnTo>
                  <a:cubicBezTo>
                    <a:pt x="23949" y="30013"/>
                    <a:pt x="20462" y="24070"/>
                    <a:pt x="15016" y="20384"/>
                  </a:cubicBezTo>
                  <a:lnTo>
                    <a:pt x="95" y="11716"/>
                  </a:lnTo>
                  <a:lnTo>
                    <a:pt x="95" y="0"/>
                  </a:lnTo>
                  <a:lnTo>
                    <a:pt x="15776" y="9049"/>
                  </a:lnTo>
                  <a:cubicBezTo>
                    <a:pt x="26867" y="16707"/>
                    <a:pt x="33862" y="29013"/>
                    <a:pt x="34784" y="42481"/>
                  </a:cubicBezTo>
                  <a:lnTo>
                    <a:pt x="34784" y="80581"/>
                  </a:lnTo>
                  <a:cubicBezTo>
                    <a:pt x="34594" y="90869"/>
                    <a:pt x="29842" y="99155"/>
                    <a:pt x="16442" y="91440"/>
                  </a:cubicBezTo>
                  <a:close/>
                </a:path>
              </a:pathLst>
            </a:custGeom>
            <a:solidFill>
              <a:srgbClr val="99B5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4" name="Google Shape;2791;p37">
              <a:extLst>
                <a:ext uri="{FF2B5EF4-FFF2-40B4-BE49-F238E27FC236}">
                  <a16:creationId xmlns:a16="http://schemas.microsoft.com/office/drawing/2014/main" id="{BB4E17D7-8824-4D92-AEE4-03EB64750B30}"/>
                </a:ext>
              </a:extLst>
            </p:cNvPr>
            <p:cNvSpPr/>
            <p:nvPr/>
          </p:nvSpPr>
          <p:spPr>
            <a:xfrm>
              <a:off x="3439562" y="299475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5" name="Google Shape;2792;p37">
              <a:extLst>
                <a:ext uri="{FF2B5EF4-FFF2-40B4-BE49-F238E27FC236}">
                  <a16:creationId xmlns:a16="http://schemas.microsoft.com/office/drawing/2014/main" id="{1E181808-615A-44B9-A0A6-402CFE2E6889}"/>
                </a:ext>
              </a:extLst>
            </p:cNvPr>
            <p:cNvSpPr/>
            <p:nvPr/>
          </p:nvSpPr>
          <p:spPr>
            <a:xfrm>
              <a:off x="3446488" y="2917507"/>
              <a:ext cx="147795" cy="156591"/>
            </a:xfrm>
            <a:custGeom>
              <a:avLst/>
              <a:gdLst/>
              <a:ahLst/>
              <a:cxnLst/>
              <a:rect l="l" t="t" r="r" b="b"/>
              <a:pathLst>
                <a:path w="147795" h="156591" extrusionOk="0">
                  <a:moveTo>
                    <a:pt x="147796" y="113824"/>
                  </a:moveTo>
                  <a:lnTo>
                    <a:pt x="147796" y="0"/>
                  </a:lnTo>
                  <a:lnTo>
                    <a:pt x="582" y="3715"/>
                  </a:lnTo>
                  <a:lnTo>
                    <a:pt x="582" y="108490"/>
                  </a:lnTo>
                  <a:cubicBezTo>
                    <a:pt x="-2174" y="121158"/>
                    <a:pt x="4859" y="134398"/>
                    <a:pt x="21586" y="144018"/>
                  </a:cubicBezTo>
                  <a:cubicBezTo>
                    <a:pt x="54431" y="160782"/>
                    <a:pt x="93282" y="160782"/>
                    <a:pt x="126127" y="144018"/>
                  </a:cubicBezTo>
                  <a:cubicBezTo>
                    <a:pt x="138302" y="138655"/>
                    <a:pt x="146598" y="127092"/>
                    <a:pt x="147796" y="113824"/>
                  </a:cubicBezTo>
                  <a:close/>
                </a:path>
              </a:pathLst>
            </a:custGeom>
            <a:solidFill>
              <a:srgbClr val="F7B03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6" name="Google Shape;2793;p37">
              <a:extLst>
                <a:ext uri="{FF2B5EF4-FFF2-40B4-BE49-F238E27FC236}">
                  <a16:creationId xmlns:a16="http://schemas.microsoft.com/office/drawing/2014/main" id="{931AEE35-1423-4B3A-BF67-FAC9FF3C3BBB}"/>
                </a:ext>
              </a:extLst>
            </p:cNvPr>
            <p:cNvSpPr/>
            <p:nvPr/>
          </p:nvSpPr>
          <p:spPr>
            <a:xfrm>
              <a:off x="3446785" y="287483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FCC06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7" name="Google Shape;2794;p37">
              <a:extLst>
                <a:ext uri="{FF2B5EF4-FFF2-40B4-BE49-F238E27FC236}">
                  <a16:creationId xmlns:a16="http://schemas.microsoft.com/office/drawing/2014/main" id="{92ABA312-9E6C-4DCA-92EF-0641BAE64DC1}"/>
                </a:ext>
              </a:extLst>
            </p:cNvPr>
            <p:cNvSpPr/>
            <p:nvPr/>
          </p:nvSpPr>
          <p:spPr>
            <a:xfrm>
              <a:off x="3458475" y="2886430"/>
              <a:ext cx="124119" cy="61959"/>
            </a:xfrm>
            <a:custGeom>
              <a:avLst/>
              <a:gdLst/>
              <a:ahLst/>
              <a:cxnLst/>
              <a:rect l="l" t="t" r="r" b="b"/>
              <a:pathLst>
                <a:path w="124119" h="61959" extrusionOk="0">
                  <a:moveTo>
                    <a:pt x="124119" y="31076"/>
                  </a:moveTo>
                  <a:cubicBezTo>
                    <a:pt x="124119" y="38030"/>
                    <a:pt x="118322" y="45269"/>
                    <a:pt x="108343" y="51079"/>
                  </a:cubicBezTo>
                  <a:cubicBezTo>
                    <a:pt x="95523" y="57870"/>
                    <a:pt x="81305" y="61595"/>
                    <a:pt x="66812" y="61938"/>
                  </a:cubicBezTo>
                  <a:lnTo>
                    <a:pt x="62060" y="61938"/>
                  </a:lnTo>
                  <a:cubicBezTo>
                    <a:pt x="45951" y="62280"/>
                    <a:pt x="30032" y="58509"/>
                    <a:pt x="15776" y="50984"/>
                  </a:cubicBezTo>
                  <a:cubicBezTo>
                    <a:pt x="5702" y="45174"/>
                    <a:pt x="0" y="37935"/>
                    <a:pt x="0" y="30981"/>
                  </a:cubicBezTo>
                  <a:cubicBezTo>
                    <a:pt x="0" y="24028"/>
                    <a:pt x="5702" y="16694"/>
                    <a:pt x="15776" y="10884"/>
                  </a:cubicBezTo>
                  <a:cubicBezTo>
                    <a:pt x="30041" y="3397"/>
                    <a:pt x="45960" y="-346"/>
                    <a:pt x="62060" y="25"/>
                  </a:cubicBezTo>
                  <a:lnTo>
                    <a:pt x="66812" y="25"/>
                  </a:lnTo>
                  <a:cubicBezTo>
                    <a:pt x="81305" y="301"/>
                    <a:pt x="95532" y="3987"/>
                    <a:pt x="108343" y="10788"/>
                  </a:cubicBezTo>
                  <a:cubicBezTo>
                    <a:pt x="118322" y="16789"/>
                    <a:pt x="124119" y="24123"/>
                    <a:pt x="124119" y="31076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8" name="Google Shape;2795;p37">
              <a:extLst>
                <a:ext uri="{FF2B5EF4-FFF2-40B4-BE49-F238E27FC236}">
                  <a16:creationId xmlns:a16="http://schemas.microsoft.com/office/drawing/2014/main" id="{C99F9D07-8964-4A88-A249-6A57F53EFC52}"/>
                </a:ext>
              </a:extLst>
            </p:cNvPr>
            <p:cNvSpPr/>
            <p:nvPr/>
          </p:nvSpPr>
          <p:spPr>
            <a:xfrm>
              <a:off x="3467883" y="2886601"/>
              <a:ext cx="114710" cy="61717"/>
            </a:xfrm>
            <a:custGeom>
              <a:avLst/>
              <a:gdLst/>
              <a:ahLst/>
              <a:cxnLst/>
              <a:rect l="l" t="t" r="r" b="b"/>
              <a:pathLst>
                <a:path w="114710" h="61717" extrusionOk="0">
                  <a:moveTo>
                    <a:pt x="114711" y="30906"/>
                  </a:moveTo>
                  <a:cubicBezTo>
                    <a:pt x="114711" y="37859"/>
                    <a:pt x="108913" y="45099"/>
                    <a:pt x="98934" y="50909"/>
                  </a:cubicBezTo>
                  <a:cubicBezTo>
                    <a:pt x="73084" y="65320"/>
                    <a:pt x="41626" y="65320"/>
                    <a:pt x="15776" y="50909"/>
                  </a:cubicBezTo>
                  <a:cubicBezTo>
                    <a:pt x="6272" y="45099"/>
                    <a:pt x="0" y="37859"/>
                    <a:pt x="0" y="30906"/>
                  </a:cubicBezTo>
                  <a:cubicBezTo>
                    <a:pt x="0" y="23953"/>
                    <a:pt x="5797" y="16619"/>
                    <a:pt x="15776" y="10808"/>
                  </a:cubicBezTo>
                  <a:cubicBezTo>
                    <a:pt x="41626" y="-3603"/>
                    <a:pt x="73084" y="-3603"/>
                    <a:pt x="98934" y="10808"/>
                  </a:cubicBezTo>
                  <a:cubicBezTo>
                    <a:pt x="108913" y="16619"/>
                    <a:pt x="114711" y="23953"/>
                    <a:pt x="114711" y="30906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9" name="Google Shape;2796;p37">
              <a:extLst>
                <a:ext uri="{FF2B5EF4-FFF2-40B4-BE49-F238E27FC236}">
                  <a16:creationId xmlns:a16="http://schemas.microsoft.com/office/drawing/2014/main" id="{6E2A639E-126E-4B3F-95AE-46AB21DC4B36}"/>
                </a:ext>
              </a:extLst>
            </p:cNvPr>
            <p:cNvSpPr/>
            <p:nvPr/>
          </p:nvSpPr>
          <p:spPr>
            <a:xfrm>
              <a:off x="3559880" y="2961132"/>
              <a:ext cx="42223" cy="98678"/>
            </a:xfrm>
            <a:custGeom>
              <a:avLst/>
              <a:gdLst/>
              <a:ahLst/>
              <a:cxnLst/>
              <a:rect l="l" t="t" r="r" b="b"/>
              <a:pathLst>
                <a:path w="42223" h="98678" extrusionOk="0">
                  <a:moveTo>
                    <a:pt x="23569" y="9049"/>
                  </a:moveTo>
                  <a:lnTo>
                    <a:pt x="7983" y="0"/>
                  </a:lnTo>
                  <a:lnTo>
                    <a:pt x="285" y="4381"/>
                  </a:lnTo>
                  <a:lnTo>
                    <a:pt x="7983" y="8858"/>
                  </a:lnTo>
                  <a:lnTo>
                    <a:pt x="7983" y="11716"/>
                  </a:lnTo>
                  <a:lnTo>
                    <a:pt x="22619" y="20193"/>
                  </a:lnTo>
                  <a:lnTo>
                    <a:pt x="22144" y="22955"/>
                  </a:lnTo>
                  <a:cubicBezTo>
                    <a:pt x="25689" y="27984"/>
                    <a:pt x="28873" y="33271"/>
                    <a:pt x="31648" y="38767"/>
                  </a:cubicBezTo>
                  <a:lnTo>
                    <a:pt x="32123" y="38290"/>
                  </a:lnTo>
                  <a:lnTo>
                    <a:pt x="32123" y="74962"/>
                  </a:lnTo>
                  <a:cubicBezTo>
                    <a:pt x="32123" y="84487"/>
                    <a:pt x="26516" y="81344"/>
                    <a:pt x="24140" y="79915"/>
                  </a:cubicBezTo>
                  <a:lnTo>
                    <a:pt x="7698" y="70390"/>
                  </a:lnTo>
                  <a:lnTo>
                    <a:pt x="0" y="74771"/>
                  </a:lnTo>
                  <a:lnTo>
                    <a:pt x="7698" y="79248"/>
                  </a:lnTo>
                  <a:lnTo>
                    <a:pt x="7698" y="82105"/>
                  </a:lnTo>
                  <a:lnTo>
                    <a:pt x="24140" y="91630"/>
                  </a:lnTo>
                  <a:cubicBezTo>
                    <a:pt x="25812" y="92631"/>
                    <a:pt x="27599" y="93431"/>
                    <a:pt x="29462" y="94012"/>
                  </a:cubicBezTo>
                  <a:lnTo>
                    <a:pt x="28511" y="98679"/>
                  </a:lnTo>
                  <a:lnTo>
                    <a:pt x="37065" y="93821"/>
                  </a:lnTo>
                  <a:lnTo>
                    <a:pt x="37065" y="93821"/>
                  </a:lnTo>
                  <a:cubicBezTo>
                    <a:pt x="40838" y="90687"/>
                    <a:pt x="42739" y="85830"/>
                    <a:pt x="42102" y="80963"/>
                  </a:cubicBezTo>
                  <a:lnTo>
                    <a:pt x="42102" y="42863"/>
                  </a:lnTo>
                  <a:cubicBezTo>
                    <a:pt x="41408" y="29346"/>
                    <a:pt x="34575" y="16888"/>
                    <a:pt x="23569" y="9049"/>
                  </a:cubicBezTo>
                  <a:close/>
                </a:path>
              </a:pathLst>
            </a:custGeom>
            <a:solidFill>
              <a:srgbClr val="C9883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0" name="Google Shape;2797;p37">
              <a:extLst>
                <a:ext uri="{FF2B5EF4-FFF2-40B4-BE49-F238E27FC236}">
                  <a16:creationId xmlns:a16="http://schemas.microsoft.com/office/drawing/2014/main" id="{1B3BC21F-EB67-43F9-BBE7-0FA17782CE46}"/>
                </a:ext>
              </a:extLst>
            </p:cNvPr>
            <p:cNvSpPr/>
            <p:nvPr/>
          </p:nvSpPr>
          <p:spPr>
            <a:xfrm>
              <a:off x="3560165" y="2965989"/>
              <a:ext cx="34688" cy="94398"/>
            </a:xfrm>
            <a:custGeom>
              <a:avLst/>
              <a:gdLst/>
              <a:ahLst/>
              <a:cxnLst/>
              <a:rect l="l" t="t" r="r" b="b"/>
              <a:pathLst>
                <a:path w="34688" h="94398" extrusionOk="0">
                  <a:moveTo>
                    <a:pt x="16537" y="91535"/>
                  </a:moveTo>
                  <a:lnTo>
                    <a:pt x="0" y="82010"/>
                  </a:lnTo>
                  <a:lnTo>
                    <a:pt x="0" y="70199"/>
                  </a:lnTo>
                  <a:lnTo>
                    <a:pt x="16537" y="79724"/>
                  </a:lnTo>
                  <a:cubicBezTo>
                    <a:pt x="18913" y="81153"/>
                    <a:pt x="24520" y="84391"/>
                    <a:pt x="24520" y="74771"/>
                  </a:cubicBezTo>
                  <a:lnTo>
                    <a:pt x="24520" y="36671"/>
                  </a:lnTo>
                  <a:cubicBezTo>
                    <a:pt x="23874" y="30108"/>
                    <a:pt x="20405" y="24165"/>
                    <a:pt x="15016" y="20383"/>
                  </a:cubicBezTo>
                  <a:lnTo>
                    <a:pt x="0" y="11811"/>
                  </a:lnTo>
                  <a:lnTo>
                    <a:pt x="0" y="0"/>
                  </a:lnTo>
                  <a:lnTo>
                    <a:pt x="15681" y="9525"/>
                  </a:lnTo>
                  <a:cubicBezTo>
                    <a:pt x="26782" y="17173"/>
                    <a:pt x="33776" y="29489"/>
                    <a:pt x="34689" y="42958"/>
                  </a:cubicBezTo>
                  <a:lnTo>
                    <a:pt x="34689" y="81058"/>
                  </a:lnTo>
                  <a:cubicBezTo>
                    <a:pt x="34689" y="90678"/>
                    <a:pt x="29937" y="98965"/>
                    <a:pt x="16537" y="91535"/>
                  </a:cubicBezTo>
                  <a:close/>
                </a:path>
              </a:pathLst>
            </a:custGeom>
            <a:solidFill>
              <a:srgbClr val="E09C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1" name="Google Shape;2798;p37">
              <a:extLst>
                <a:ext uri="{FF2B5EF4-FFF2-40B4-BE49-F238E27FC236}">
                  <a16:creationId xmlns:a16="http://schemas.microsoft.com/office/drawing/2014/main" id="{EEA20AE4-244E-462F-8240-8FE74FB7A2D6}"/>
                </a:ext>
              </a:extLst>
            </p:cNvPr>
            <p:cNvSpPr/>
            <p:nvPr/>
          </p:nvSpPr>
          <p:spPr>
            <a:xfrm>
              <a:off x="5618400" y="4515040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1" y="218980"/>
                  </a:moveTo>
                  <a:cubicBezTo>
                    <a:pt x="756691" y="339919"/>
                    <a:pt x="587300" y="437960"/>
                    <a:pt x="378346" y="437960"/>
                  </a:cubicBezTo>
                  <a:cubicBezTo>
                    <a:pt x="169391" y="437960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1" y="98041"/>
                    <a:pt x="756691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2" name="Google Shape;2799;p37">
              <a:extLst>
                <a:ext uri="{FF2B5EF4-FFF2-40B4-BE49-F238E27FC236}">
                  <a16:creationId xmlns:a16="http://schemas.microsoft.com/office/drawing/2014/main" id="{221F8CDF-B6BB-48CB-BD15-BB3D4D7ABAE9}"/>
                </a:ext>
              </a:extLst>
            </p:cNvPr>
            <p:cNvSpPr/>
            <p:nvPr/>
          </p:nvSpPr>
          <p:spPr>
            <a:xfrm>
              <a:off x="6158405" y="3069812"/>
              <a:ext cx="186021" cy="406050"/>
            </a:xfrm>
            <a:custGeom>
              <a:avLst/>
              <a:gdLst/>
              <a:ahLst/>
              <a:cxnLst/>
              <a:rect l="l" t="t" r="r" b="b"/>
              <a:pathLst>
                <a:path w="186021" h="406050" extrusionOk="0">
                  <a:moveTo>
                    <a:pt x="145028" y="0"/>
                  </a:moveTo>
                  <a:cubicBezTo>
                    <a:pt x="149304" y="38100"/>
                    <a:pt x="194352" y="200882"/>
                    <a:pt x="184659" y="256699"/>
                  </a:cubicBezTo>
                  <a:cubicBezTo>
                    <a:pt x="174965" y="312515"/>
                    <a:pt x="21288" y="406051"/>
                    <a:pt x="21288" y="406051"/>
                  </a:cubicBezTo>
                  <a:lnTo>
                    <a:pt x="0" y="310801"/>
                  </a:lnTo>
                  <a:lnTo>
                    <a:pt x="85534" y="227171"/>
                  </a:lnTo>
                  <a:lnTo>
                    <a:pt x="61965" y="68389"/>
                  </a:ln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3" name="Google Shape;2800;p37">
              <a:extLst>
                <a:ext uri="{FF2B5EF4-FFF2-40B4-BE49-F238E27FC236}">
                  <a16:creationId xmlns:a16="http://schemas.microsoft.com/office/drawing/2014/main" id="{0EB2D7D0-6A1B-4753-A8E8-D86EF9E516E5}"/>
                </a:ext>
              </a:extLst>
            </p:cNvPr>
            <p:cNvSpPr/>
            <p:nvPr/>
          </p:nvSpPr>
          <p:spPr>
            <a:xfrm>
              <a:off x="6184541" y="2902850"/>
              <a:ext cx="133813" cy="257894"/>
            </a:xfrm>
            <a:custGeom>
              <a:avLst/>
              <a:gdLst/>
              <a:ahLst/>
              <a:cxnLst/>
              <a:rect l="l" t="t" r="r" b="b"/>
              <a:pathLst>
                <a:path w="133813" h="257894" extrusionOk="0">
                  <a:moveTo>
                    <a:pt x="0" y="6275"/>
                  </a:moveTo>
                  <a:cubicBezTo>
                    <a:pt x="30935" y="-8136"/>
                    <a:pt x="67743" y="3008"/>
                    <a:pt x="85534" y="32183"/>
                  </a:cubicBezTo>
                  <a:cubicBezTo>
                    <a:pt x="108153" y="69712"/>
                    <a:pt x="131627" y="198490"/>
                    <a:pt x="133813" y="220492"/>
                  </a:cubicBezTo>
                  <a:cubicBezTo>
                    <a:pt x="133813" y="220492"/>
                    <a:pt x="102071" y="264403"/>
                    <a:pt x="54457" y="25706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4" name="Google Shape;2801;p37">
              <a:extLst>
                <a:ext uri="{FF2B5EF4-FFF2-40B4-BE49-F238E27FC236}">
                  <a16:creationId xmlns:a16="http://schemas.microsoft.com/office/drawing/2014/main" id="{01E2C7D7-2CA2-437C-BB9D-AEB364D78031}"/>
                </a:ext>
              </a:extLst>
            </p:cNvPr>
            <p:cNvSpPr/>
            <p:nvPr/>
          </p:nvSpPr>
          <p:spPr>
            <a:xfrm>
              <a:off x="5735029" y="4688404"/>
              <a:ext cx="288490" cy="162715"/>
            </a:xfrm>
            <a:custGeom>
              <a:avLst/>
              <a:gdLst/>
              <a:ahLst/>
              <a:cxnLst/>
              <a:rect l="l" t="t" r="r" b="b"/>
              <a:pathLst>
                <a:path w="288490" h="162715" extrusionOk="0">
                  <a:moveTo>
                    <a:pt x="273882" y="39044"/>
                  </a:moveTo>
                  <a:cubicBezTo>
                    <a:pt x="240419" y="48340"/>
                    <a:pt x="204647" y="43997"/>
                    <a:pt x="174377" y="26947"/>
                  </a:cubicBezTo>
                  <a:cubicBezTo>
                    <a:pt x="150428" y="27709"/>
                    <a:pt x="20321" y="-28108"/>
                    <a:pt x="2644" y="18756"/>
                  </a:cubicBezTo>
                  <a:cubicBezTo>
                    <a:pt x="-12847" y="59808"/>
                    <a:pt x="43510" y="97813"/>
                    <a:pt x="73637" y="105147"/>
                  </a:cubicBezTo>
                  <a:cubicBezTo>
                    <a:pt x="139308" y="121054"/>
                    <a:pt x="187683" y="153915"/>
                    <a:pt x="214293" y="159440"/>
                  </a:cubicBezTo>
                  <a:cubicBezTo>
                    <a:pt x="233966" y="163631"/>
                    <a:pt x="259436" y="166393"/>
                    <a:pt x="275118" y="150867"/>
                  </a:cubicBezTo>
                  <a:cubicBezTo>
                    <a:pt x="293935" y="132293"/>
                    <a:pt x="292319" y="63523"/>
                    <a:pt x="273882" y="3904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5" name="Google Shape;2802;p37">
              <a:extLst>
                <a:ext uri="{FF2B5EF4-FFF2-40B4-BE49-F238E27FC236}">
                  <a16:creationId xmlns:a16="http://schemas.microsoft.com/office/drawing/2014/main" id="{FE9D8F95-18CF-44B4-A435-DE8FD9B9F375}"/>
                </a:ext>
              </a:extLst>
            </p:cNvPr>
            <p:cNvSpPr/>
            <p:nvPr/>
          </p:nvSpPr>
          <p:spPr>
            <a:xfrm>
              <a:off x="5735111" y="4715446"/>
              <a:ext cx="283683" cy="135768"/>
            </a:xfrm>
            <a:custGeom>
              <a:avLst/>
              <a:gdLst/>
              <a:ahLst/>
              <a:cxnLst/>
              <a:rect l="l" t="t" r="r" b="b"/>
              <a:pathLst>
                <a:path w="283683" h="135768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3" y="32861"/>
                    <a:pt x="471" y="0"/>
                  </a:cubicBezTo>
                  <a:cubicBezTo>
                    <a:pt x="-5422" y="38100"/>
                    <a:pt x="45424" y="71342"/>
                    <a:pt x="73555" y="78200"/>
                  </a:cubicBezTo>
                  <a:cubicBezTo>
                    <a:pt x="139226" y="94107"/>
                    <a:pt x="187600" y="126968"/>
                    <a:pt x="214211" y="132493"/>
                  </a:cubicBezTo>
                  <a:cubicBezTo>
                    <a:pt x="233884" y="136684"/>
                    <a:pt x="259354" y="139446"/>
                    <a:pt x="275035" y="123920"/>
                  </a:cubicBezTo>
                  <a:cubicBezTo>
                    <a:pt x="279074" y="119415"/>
                    <a:pt x="282040" y="114033"/>
                    <a:pt x="283684" y="108204"/>
                  </a:cubicBezTo>
                  <a:cubicBezTo>
                    <a:pt x="263859" y="123254"/>
                    <a:pt x="238094" y="128026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6" name="Google Shape;2803;p37">
              <a:extLst>
                <a:ext uri="{FF2B5EF4-FFF2-40B4-BE49-F238E27FC236}">
                  <a16:creationId xmlns:a16="http://schemas.microsoft.com/office/drawing/2014/main" id="{71A90398-61F5-4BDE-BC89-3C604CCB49F8}"/>
                </a:ext>
              </a:extLst>
            </p:cNvPr>
            <p:cNvSpPr/>
            <p:nvPr/>
          </p:nvSpPr>
          <p:spPr>
            <a:xfrm>
              <a:off x="5946488" y="4593442"/>
              <a:ext cx="288134" cy="162731"/>
            </a:xfrm>
            <a:custGeom>
              <a:avLst/>
              <a:gdLst/>
              <a:ahLst/>
              <a:cxnLst/>
              <a:rect l="l" t="t" r="r" b="b"/>
              <a:pathLst>
                <a:path w="288134" h="162731" extrusionOk="0">
                  <a:moveTo>
                    <a:pt x="273882" y="39041"/>
                  </a:moveTo>
                  <a:cubicBezTo>
                    <a:pt x="240429" y="48319"/>
                    <a:pt x="204675" y="44004"/>
                    <a:pt x="174377" y="27040"/>
                  </a:cubicBezTo>
                  <a:cubicBezTo>
                    <a:pt x="150428" y="27707"/>
                    <a:pt x="20321" y="-28110"/>
                    <a:pt x="2644" y="18753"/>
                  </a:cubicBezTo>
                  <a:cubicBezTo>
                    <a:pt x="-12847" y="59806"/>
                    <a:pt x="43510" y="97810"/>
                    <a:pt x="73637" y="105145"/>
                  </a:cubicBezTo>
                  <a:cubicBezTo>
                    <a:pt x="139308" y="121051"/>
                    <a:pt x="187683" y="153913"/>
                    <a:pt x="214293" y="159533"/>
                  </a:cubicBezTo>
                  <a:cubicBezTo>
                    <a:pt x="234061" y="163628"/>
                    <a:pt x="259436" y="166391"/>
                    <a:pt x="275118" y="150865"/>
                  </a:cubicBezTo>
                  <a:cubicBezTo>
                    <a:pt x="293460" y="132291"/>
                    <a:pt x="291844" y="63521"/>
                    <a:pt x="273882" y="390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7" name="Google Shape;2804;p37">
              <a:extLst>
                <a:ext uri="{FF2B5EF4-FFF2-40B4-BE49-F238E27FC236}">
                  <a16:creationId xmlns:a16="http://schemas.microsoft.com/office/drawing/2014/main" id="{CE16EAAD-204C-4B40-8008-18AECC0781B9}"/>
                </a:ext>
              </a:extLst>
            </p:cNvPr>
            <p:cNvSpPr/>
            <p:nvPr/>
          </p:nvSpPr>
          <p:spPr>
            <a:xfrm>
              <a:off x="5946095" y="4620482"/>
              <a:ext cx="283683" cy="135691"/>
            </a:xfrm>
            <a:custGeom>
              <a:avLst/>
              <a:gdLst/>
              <a:ahLst/>
              <a:cxnLst/>
              <a:rect l="l" t="t" r="r" b="b"/>
              <a:pathLst>
                <a:path w="283683" h="135691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2" y="32956"/>
                    <a:pt x="471" y="0"/>
                  </a:cubicBezTo>
                  <a:cubicBezTo>
                    <a:pt x="-5422" y="38100"/>
                    <a:pt x="45424" y="71247"/>
                    <a:pt x="73555" y="78105"/>
                  </a:cubicBezTo>
                  <a:cubicBezTo>
                    <a:pt x="139226" y="94012"/>
                    <a:pt x="187600" y="126873"/>
                    <a:pt x="214211" y="132493"/>
                  </a:cubicBezTo>
                  <a:cubicBezTo>
                    <a:pt x="233979" y="136588"/>
                    <a:pt x="259354" y="139351"/>
                    <a:pt x="275035" y="123825"/>
                  </a:cubicBezTo>
                  <a:cubicBezTo>
                    <a:pt x="279074" y="119320"/>
                    <a:pt x="282039" y="113938"/>
                    <a:pt x="283683" y="108109"/>
                  </a:cubicBezTo>
                  <a:cubicBezTo>
                    <a:pt x="263868" y="123187"/>
                    <a:pt x="238113" y="127997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8" name="Google Shape;2805;p37">
              <a:extLst>
                <a:ext uri="{FF2B5EF4-FFF2-40B4-BE49-F238E27FC236}">
                  <a16:creationId xmlns:a16="http://schemas.microsoft.com/office/drawing/2014/main" id="{B689FD8D-C082-43AF-874C-27D340DC80E9}"/>
                </a:ext>
              </a:extLst>
            </p:cNvPr>
            <p:cNvSpPr/>
            <p:nvPr/>
          </p:nvSpPr>
          <p:spPr>
            <a:xfrm>
              <a:off x="5812467" y="3540156"/>
              <a:ext cx="422006" cy="1193603"/>
            </a:xfrm>
            <a:custGeom>
              <a:avLst/>
              <a:gdLst/>
              <a:ahLst/>
              <a:cxnLst/>
              <a:rect l="l" t="t" r="r" b="b"/>
              <a:pathLst>
                <a:path w="422006" h="1193603" extrusionOk="0">
                  <a:moveTo>
                    <a:pt x="409993" y="738092"/>
                  </a:moveTo>
                  <a:cubicBezTo>
                    <a:pt x="404434" y="689638"/>
                    <a:pt x="394379" y="641804"/>
                    <a:pt x="379961" y="595217"/>
                  </a:cubicBezTo>
                  <a:cubicBezTo>
                    <a:pt x="379961" y="595217"/>
                    <a:pt x="388990" y="471964"/>
                    <a:pt x="393457" y="355092"/>
                  </a:cubicBezTo>
                  <a:cubicBezTo>
                    <a:pt x="398589" y="222504"/>
                    <a:pt x="444397" y="105823"/>
                    <a:pt x="408188" y="0"/>
                  </a:cubicBezTo>
                  <a:lnTo>
                    <a:pt x="0" y="90964"/>
                  </a:lnTo>
                  <a:cubicBezTo>
                    <a:pt x="0" y="90964"/>
                    <a:pt x="24710" y="619601"/>
                    <a:pt x="30222" y="683609"/>
                  </a:cubicBezTo>
                  <a:cubicBezTo>
                    <a:pt x="33216" y="733349"/>
                    <a:pt x="39308" y="782841"/>
                    <a:pt x="48469" y="831818"/>
                  </a:cubicBezTo>
                  <a:cubicBezTo>
                    <a:pt x="67477" y="934402"/>
                    <a:pt x="97414" y="1178528"/>
                    <a:pt x="97414" y="1178528"/>
                  </a:cubicBezTo>
                  <a:cubicBezTo>
                    <a:pt x="140561" y="1203674"/>
                    <a:pt x="197204" y="1189768"/>
                    <a:pt x="197204" y="1189768"/>
                  </a:cubicBezTo>
                  <a:cubicBezTo>
                    <a:pt x="197204" y="1189768"/>
                    <a:pt x="194163" y="881063"/>
                    <a:pt x="191311" y="807148"/>
                  </a:cubicBezTo>
                  <a:cubicBezTo>
                    <a:pt x="187985" y="716851"/>
                    <a:pt x="185229" y="723709"/>
                    <a:pt x="185229" y="723709"/>
                  </a:cubicBezTo>
                  <a:lnTo>
                    <a:pt x="198819" y="499110"/>
                  </a:lnTo>
                  <a:lnTo>
                    <a:pt x="207658" y="387286"/>
                  </a:lnTo>
                  <a:cubicBezTo>
                    <a:pt x="207658" y="387286"/>
                    <a:pt x="218967" y="469392"/>
                    <a:pt x="226665" y="542734"/>
                  </a:cubicBezTo>
                  <a:cubicBezTo>
                    <a:pt x="233033" y="606647"/>
                    <a:pt x="248429" y="664464"/>
                    <a:pt x="265631" y="783526"/>
                  </a:cubicBezTo>
                  <a:cubicBezTo>
                    <a:pt x="280552" y="886777"/>
                    <a:pt x="304787" y="1094232"/>
                    <a:pt x="304787" y="1094232"/>
                  </a:cubicBezTo>
                  <a:cubicBezTo>
                    <a:pt x="347934" y="1119473"/>
                    <a:pt x="406572" y="1098518"/>
                    <a:pt x="406572" y="1098518"/>
                  </a:cubicBezTo>
                  <a:cubicBezTo>
                    <a:pt x="406572" y="1098518"/>
                    <a:pt x="421683" y="827627"/>
                    <a:pt x="409993" y="7380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9" name="Google Shape;2806;p37">
              <a:extLst>
                <a:ext uri="{FF2B5EF4-FFF2-40B4-BE49-F238E27FC236}">
                  <a16:creationId xmlns:a16="http://schemas.microsoft.com/office/drawing/2014/main" id="{5640096F-2D76-45F5-A2A8-17AA8312C951}"/>
                </a:ext>
              </a:extLst>
            </p:cNvPr>
            <p:cNvSpPr/>
            <p:nvPr/>
          </p:nvSpPr>
          <p:spPr>
            <a:xfrm>
              <a:off x="5874419" y="2560474"/>
              <a:ext cx="305952" cy="491697"/>
            </a:xfrm>
            <a:custGeom>
              <a:avLst/>
              <a:gdLst/>
              <a:ahLst/>
              <a:cxnLst/>
              <a:rect l="l" t="t" r="r" b="b"/>
              <a:pathLst>
                <a:path w="305952" h="491697" extrusionOk="0">
                  <a:moveTo>
                    <a:pt x="288928" y="350842"/>
                  </a:moveTo>
                  <a:cubicBezTo>
                    <a:pt x="257851" y="352366"/>
                    <a:pt x="234756" y="360367"/>
                    <a:pt x="230860" y="350842"/>
                  </a:cubicBezTo>
                  <a:cubicBezTo>
                    <a:pt x="227496" y="334783"/>
                    <a:pt x="225120" y="318523"/>
                    <a:pt x="223732" y="302169"/>
                  </a:cubicBezTo>
                  <a:cubicBezTo>
                    <a:pt x="227343" y="293120"/>
                    <a:pt x="230385" y="283119"/>
                    <a:pt x="230385" y="283119"/>
                  </a:cubicBezTo>
                  <a:cubicBezTo>
                    <a:pt x="269445" y="259021"/>
                    <a:pt x="281800" y="216444"/>
                    <a:pt x="286932" y="167486"/>
                  </a:cubicBezTo>
                  <a:cubicBezTo>
                    <a:pt x="295676" y="83285"/>
                    <a:pt x="250248" y="9656"/>
                    <a:pt x="166329" y="798"/>
                  </a:cubicBezTo>
                  <a:cubicBezTo>
                    <a:pt x="87353" y="-7393"/>
                    <a:pt x="29285" y="48423"/>
                    <a:pt x="13793" y="124623"/>
                  </a:cubicBezTo>
                  <a:cubicBezTo>
                    <a:pt x="5430" y="162723"/>
                    <a:pt x="-11201" y="233589"/>
                    <a:pt x="11323" y="296073"/>
                  </a:cubicBezTo>
                  <a:cubicBezTo>
                    <a:pt x="23867" y="330744"/>
                    <a:pt x="39834" y="358271"/>
                    <a:pt x="56180" y="363605"/>
                  </a:cubicBezTo>
                  <a:cubicBezTo>
                    <a:pt x="71833" y="363205"/>
                    <a:pt x="87448" y="361834"/>
                    <a:pt x="102939" y="359510"/>
                  </a:cubicBezTo>
                  <a:lnTo>
                    <a:pt x="102939" y="359510"/>
                  </a:lnTo>
                  <a:cubicBezTo>
                    <a:pt x="102939" y="359510"/>
                    <a:pt x="107121" y="382941"/>
                    <a:pt x="110067" y="397610"/>
                  </a:cubicBezTo>
                  <a:cubicBezTo>
                    <a:pt x="113013" y="412278"/>
                    <a:pt x="111777" y="420565"/>
                    <a:pt x="82031" y="438948"/>
                  </a:cubicBezTo>
                  <a:cubicBezTo>
                    <a:pt x="52284" y="457331"/>
                    <a:pt x="127079" y="495241"/>
                    <a:pt x="176023" y="491431"/>
                  </a:cubicBezTo>
                  <a:cubicBezTo>
                    <a:pt x="224968" y="487621"/>
                    <a:pt x="279424" y="458951"/>
                    <a:pt x="294440" y="426851"/>
                  </a:cubicBezTo>
                  <a:cubicBezTo>
                    <a:pt x="311262" y="391514"/>
                    <a:pt x="309837" y="349794"/>
                    <a:pt x="288928" y="3508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0" name="Google Shape;2807;p37">
              <a:extLst>
                <a:ext uri="{FF2B5EF4-FFF2-40B4-BE49-F238E27FC236}">
                  <a16:creationId xmlns:a16="http://schemas.microsoft.com/office/drawing/2014/main" id="{D2225FE1-61DE-44AE-A81C-842CE5D1D0C5}"/>
                </a:ext>
              </a:extLst>
            </p:cNvPr>
            <p:cNvSpPr/>
            <p:nvPr/>
          </p:nvSpPr>
          <p:spPr>
            <a:xfrm>
              <a:off x="5809360" y="2908700"/>
              <a:ext cx="471048" cy="781597"/>
            </a:xfrm>
            <a:custGeom>
              <a:avLst/>
              <a:gdLst/>
              <a:ahLst/>
              <a:cxnLst/>
              <a:rect l="l" t="t" r="r" b="b"/>
              <a:pathLst>
                <a:path w="471048" h="781597" extrusionOk="0">
                  <a:moveTo>
                    <a:pt x="308559" y="7283"/>
                  </a:moveTo>
                  <a:cubicBezTo>
                    <a:pt x="317113" y="28715"/>
                    <a:pt x="295254" y="54908"/>
                    <a:pt x="236901" y="73482"/>
                  </a:cubicBezTo>
                  <a:cubicBezTo>
                    <a:pt x="178547" y="92056"/>
                    <a:pt x="173225" y="68243"/>
                    <a:pt x="173225" y="68243"/>
                  </a:cubicBezTo>
                  <a:cubicBezTo>
                    <a:pt x="173225" y="68243"/>
                    <a:pt x="87691" y="107296"/>
                    <a:pt x="59750" y="126822"/>
                  </a:cubicBezTo>
                  <a:cubicBezTo>
                    <a:pt x="24776" y="151396"/>
                    <a:pt x="9190" y="222072"/>
                    <a:pt x="4438" y="342373"/>
                  </a:cubicBezTo>
                  <a:cubicBezTo>
                    <a:pt x="-979" y="481152"/>
                    <a:pt x="-1454" y="686987"/>
                    <a:pt x="3107" y="722516"/>
                  </a:cubicBezTo>
                  <a:cubicBezTo>
                    <a:pt x="3107" y="722516"/>
                    <a:pt x="68589" y="787952"/>
                    <a:pt x="152412" y="781094"/>
                  </a:cubicBezTo>
                  <a:cubicBezTo>
                    <a:pt x="236235" y="774236"/>
                    <a:pt x="377272" y="699846"/>
                    <a:pt x="411485" y="642410"/>
                  </a:cubicBezTo>
                  <a:cubicBezTo>
                    <a:pt x="410535" y="520776"/>
                    <a:pt x="396279" y="500964"/>
                    <a:pt x="415952" y="430860"/>
                  </a:cubicBezTo>
                  <a:cubicBezTo>
                    <a:pt x="461000" y="270364"/>
                    <a:pt x="484664" y="204641"/>
                    <a:pt x="462806" y="97961"/>
                  </a:cubicBezTo>
                  <a:cubicBezTo>
                    <a:pt x="444748" y="10045"/>
                    <a:pt x="419469" y="-813"/>
                    <a:pt x="384875" y="44"/>
                  </a:cubicBezTo>
                  <a:cubicBezTo>
                    <a:pt x="359329" y="1092"/>
                    <a:pt x="333849" y="3511"/>
                    <a:pt x="308559" y="728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1" name="Google Shape;2808;p37">
              <a:extLst>
                <a:ext uri="{FF2B5EF4-FFF2-40B4-BE49-F238E27FC236}">
                  <a16:creationId xmlns:a16="http://schemas.microsoft.com/office/drawing/2014/main" id="{D3AEE5BD-DFA4-49EB-AD06-A4491EB5A6D3}"/>
                </a:ext>
              </a:extLst>
            </p:cNvPr>
            <p:cNvSpPr/>
            <p:nvPr/>
          </p:nvSpPr>
          <p:spPr>
            <a:xfrm>
              <a:off x="5348856" y="3006224"/>
              <a:ext cx="597933" cy="466333"/>
            </a:xfrm>
            <a:custGeom>
              <a:avLst/>
              <a:gdLst/>
              <a:ahLst/>
              <a:cxnLst/>
              <a:rect l="l" t="t" r="r" b="b"/>
              <a:pathLst>
                <a:path w="597933" h="466333" extrusionOk="0">
                  <a:moveTo>
                    <a:pt x="333219" y="359529"/>
                  </a:moveTo>
                  <a:cubicBezTo>
                    <a:pt x="402027" y="376960"/>
                    <a:pt x="418183" y="333431"/>
                    <a:pt x="427212" y="297522"/>
                  </a:cubicBezTo>
                  <a:cubicBezTo>
                    <a:pt x="449070" y="210368"/>
                    <a:pt x="460855" y="131691"/>
                    <a:pt x="477202" y="82161"/>
                  </a:cubicBezTo>
                  <a:cubicBezTo>
                    <a:pt x="496209" y="23868"/>
                    <a:pt x="516547" y="14629"/>
                    <a:pt x="544773" y="3199"/>
                  </a:cubicBezTo>
                  <a:cubicBezTo>
                    <a:pt x="578037" y="-10136"/>
                    <a:pt x="606548" y="17963"/>
                    <a:pt x="595524" y="92258"/>
                  </a:cubicBezTo>
                  <a:cubicBezTo>
                    <a:pt x="582408" y="180078"/>
                    <a:pt x="565302" y="241705"/>
                    <a:pt x="532513" y="345623"/>
                  </a:cubicBezTo>
                  <a:cubicBezTo>
                    <a:pt x="523960" y="372769"/>
                    <a:pt x="504763" y="420966"/>
                    <a:pt x="476061" y="444302"/>
                  </a:cubicBezTo>
                  <a:cubicBezTo>
                    <a:pt x="440517" y="472877"/>
                    <a:pt x="387106" y="471829"/>
                    <a:pt x="306228" y="451636"/>
                  </a:cubicBezTo>
                  <a:cubicBezTo>
                    <a:pt x="271730" y="443064"/>
                    <a:pt x="233905" y="422394"/>
                    <a:pt x="168708" y="391915"/>
                  </a:cubicBezTo>
                  <a:cubicBezTo>
                    <a:pt x="151222" y="383723"/>
                    <a:pt x="137536" y="378294"/>
                    <a:pt x="103988" y="362577"/>
                  </a:cubicBezTo>
                  <a:cubicBezTo>
                    <a:pt x="70439" y="346861"/>
                    <a:pt x="35370" y="320667"/>
                    <a:pt x="17789" y="295141"/>
                  </a:cubicBezTo>
                  <a:cubicBezTo>
                    <a:pt x="207" y="269614"/>
                    <a:pt x="-2169" y="257041"/>
                    <a:pt x="1442" y="251707"/>
                  </a:cubicBezTo>
                  <a:cubicBezTo>
                    <a:pt x="5909" y="244372"/>
                    <a:pt x="13892" y="245991"/>
                    <a:pt x="23301" y="256755"/>
                  </a:cubicBezTo>
                  <a:cubicBezTo>
                    <a:pt x="36872" y="274966"/>
                    <a:pt x="53646" y="290521"/>
                    <a:pt x="72815" y="302665"/>
                  </a:cubicBezTo>
                  <a:cubicBezTo>
                    <a:pt x="72815" y="302665"/>
                    <a:pt x="51052" y="280186"/>
                    <a:pt x="39267" y="265613"/>
                  </a:cubicBezTo>
                  <a:cubicBezTo>
                    <a:pt x="28727" y="252611"/>
                    <a:pt x="19974" y="238267"/>
                    <a:pt x="13227" y="222941"/>
                  </a:cubicBezTo>
                  <a:cubicBezTo>
                    <a:pt x="7049" y="208082"/>
                    <a:pt x="19879" y="187889"/>
                    <a:pt x="29573" y="198462"/>
                  </a:cubicBezTo>
                  <a:cubicBezTo>
                    <a:pt x="39267" y="209034"/>
                    <a:pt x="44019" y="219893"/>
                    <a:pt x="61791" y="241229"/>
                  </a:cubicBezTo>
                  <a:cubicBezTo>
                    <a:pt x="71124" y="252649"/>
                    <a:pt x="81816" y="262889"/>
                    <a:pt x="93629" y="271709"/>
                  </a:cubicBezTo>
                  <a:cubicBezTo>
                    <a:pt x="82595" y="256641"/>
                    <a:pt x="72777" y="240714"/>
                    <a:pt x="64262" y="224084"/>
                  </a:cubicBezTo>
                  <a:cubicBezTo>
                    <a:pt x="56649" y="211158"/>
                    <a:pt x="52924" y="196309"/>
                    <a:pt x="53523" y="181317"/>
                  </a:cubicBezTo>
                  <a:cubicBezTo>
                    <a:pt x="53998" y="173506"/>
                    <a:pt x="65022" y="164267"/>
                    <a:pt x="75286" y="179031"/>
                  </a:cubicBezTo>
                  <a:cubicBezTo>
                    <a:pt x="84790" y="192270"/>
                    <a:pt x="90682" y="213035"/>
                    <a:pt x="112256" y="235609"/>
                  </a:cubicBezTo>
                  <a:cubicBezTo>
                    <a:pt x="127937" y="251897"/>
                    <a:pt x="141338" y="261327"/>
                    <a:pt x="141718" y="256755"/>
                  </a:cubicBezTo>
                  <a:cubicBezTo>
                    <a:pt x="142098" y="252183"/>
                    <a:pt x="132214" y="243324"/>
                    <a:pt x="126607" y="224274"/>
                  </a:cubicBezTo>
                  <a:cubicBezTo>
                    <a:pt x="121000" y="205224"/>
                    <a:pt x="126607" y="185127"/>
                    <a:pt x="137156" y="182936"/>
                  </a:cubicBezTo>
                  <a:cubicBezTo>
                    <a:pt x="147705" y="180745"/>
                    <a:pt x="145614" y="181317"/>
                    <a:pt x="153978" y="199128"/>
                  </a:cubicBezTo>
                  <a:cubicBezTo>
                    <a:pt x="162341" y="216940"/>
                    <a:pt x="175361" y="230085"/>
                    <a:pt x="185245" y="256278"/>
                  </a:cubicBezTo>
                  <a:cubicBezTo>
                    <a:pt x="190634" y="274624"/>
                    <a:pt x="200423" y="291369"/>
                    <a:pt x="213757" y="305047"/>
                  </a:cubicBezTo>
                  <a:cubicBezTo>
                    <a:pt x="230483" y="323144"/>
                    <a:pt x="267833" y="343051"/>
                    <a:pt x="333219" y="359529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2" name="Google Shape;2809;p37">
              <a:extLst>
                <a:ext uri="{FF2B5EF4-FFF2-40B4-BE49-F238E27FC236}">
                  <a16:creationId xmlns:a16="http://schemas.microsoft.com/office/drawing/2014/main" id="{1D6B3299-ECEB-449E-BDF6-80DE30BA34C6}"/>
                </a:ext>
              </a:extLst>
            </p:cNvPr>
            <p:cNvSpPr/>
            <p:nvPr/>
          </p:nvSpPr>
          <p:spPr>
            <a:xfrm>
              <a:off x="5786047" y="2996305"/>
              <a:ext cx="182011" cy="266828"/>
            </a:xfrm>
            <a:custGeom>
              <a:avLst/>
              <a:gdLst/>
              <a:ahLst/>
              <a:cxnLst/>
              <a:rect l="l" t="t" r="r" b="b"/>
              <a:pathLst>
                <a:path w="182011" h="266828" extrusionOk="0">
                  <a:moveTo>
                    <a:pt x="133053" y="1213"/>
                  </a:moveTo>
                  <a:cubicBezTo>
                    <a:pt x="87150" y="-5550"/>
                    <a:pt x="54742" y="15119"/>
                    <a:pt x="34404" y="84937"/>
                  </a:cubicBezTo>
                  <a:cubicBezTo>
                    <a:pt x="14066" y="154755"/>
                    <a:pt x="0" y="211905"/>
                    <a:pt x="0" y="211905"/>
                  </a:cubicBezTo>
                  <a:cubicBezTo>
                    <a:pt x="18143" y="238194"/>
                    <a:pt x="45666" y="256502"/>
                    <a:pt x="76886" y="263055"/>
                  </a:cubicBezTo>
                  <a:cubicBezTo>
                    <a:pt x="131818" y="276390"/>
                    <a:pt x="151586" y="250101"/>
                    <a:pt x="151586" y="250101"/>
                  </a:cubicBezTo>
                  <a:cubicBezTo>
                    <a:pt x="151586" y="250101"/>
                    <a:pt x="166886" y="177044"/>
                    <a:pt x="176390" y="127323"/>
                  </a:cubicBezTo>
                  <a:cubicBezTo>
                    <a:pt x="185894" y="77603"/>
                    <a:pt x="189886" y="9594"/>
                    <a:pt x="133053" y="12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3" name="Google Shape;2810;p37">
              <a:extLst>
                <a:ext uri="{FF2B5EF4-FFF2-40B4-BE49-F238E27FC236}">
                  <a16:creationId xmlns:a16="http://schemas.microsoft.com/office/drawing/2014/main" id="{481A143E-7BC9-406F-84D3-409CC61116E5}"/>
                </a:ext>
              </a:extLst>
            </p:cNvPr>
            <p:cNvSpPr/>
            <p:nvPr/>
          </p:nvSpPr>
          <p:spPr>
            <a:xfrm>
              <a:off x="5873666" y="2538911"/>
              <a:ext cx="296973" cy="328330"/>
            </a:xfrm>
            <a:custGeom>
              <a:avLst/>
              <a:gdLst/>
              <a:ahLst/>
              <a:cxnLst/>
              <a:rect l="l" t="t" r="r" b="b"/>
              <a:pathLst>
                <a:path w="296973" h="328330" extrusionOk="0">
                  <a:moveTo>
                    <a:pt x="16733" y="135613"/>
                  </a:moveTo>
                  <a:cubicBezTo>
                    <a:pt x="16733" y="135613"/>
                    <a:pt x="-55876" y="25123"/>
                    <a:pt x="101411" y="2263"/>
                  </a:cubicBezTo>
                  <a:cubicBezTo>
                    <a:pt x="214791" y="-13930"/>
                    <a:pt x="287686" y="59413"/>
                    <a:pt x="296049" y="138280"/>
                  </a:cubicBezTo>
                  <a:cubicBezTo>
                    <a:pt x="304127" y="214003"/>
                    <a:pt x="257558" y="292585"/>
                    <a:pt x="224010" y="323827"/>
                  </a:cubicBezTo>
                  <a:cubicBezTo>
                    <a:pt x="207664" y="329637"/>
                    <a:pt x="172309" y="333352"/>
                    <a:pt x="126026" y="311920"/>
                  </a:cubicBezTo>
                  <a:cubicBezTo>
                    <a:pt x="124144" y="291308"/>
                    <a:pt x="123413" y="270611"/>
                    <a:pt x="123840" y="249913"/>
                  </a:cubicBezTo>
                  <a:cubicBezTo>
                    <a:pt x="123840" y="249913"/>
                    <a:pt x="179152" y="133612"/>
                    <a:pt x="16733" y="13561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4" name="Google Shape;2811;p37">
              <a:extLst>
                <a:ext uri="{FF2B5EF4-FFF2-40B4-BE49-F238E27FC236}">
                  <a16:creationId xmlns:a16="http://schemas.microsoft.com/office/drawing/2014/main" id="{6D70805B-9271-437D-8C7F-D78F18FE7893}"/>
                </a:ext>
              </a:extLst>
            </p:cNvPr>
            <p:cNvSpPr/>
            <p:nvPr/>
          </p:nvSpPr>
          <p:spPr>
            <a:xfrm>
              <a:off x="4255557" y="1955958"/>
              <a:ext cx="334153" cy="334898"/>
            </a:xfrm>
            <a:custGeom>
              <a:avLst/>
              <a:gdLst/>
              <a:ahLst/>
              <a:cxnLst/>
              <a:rect l="l" t="t" r="r" b="b"/>
              <a:pathLst>
                <a:path w="334153" h="334898" extrusionOk="0">
                  <a:moveTo>
                    <a:pt x="334153" y="167449"/>
                  </a:moveTo>
                  <a:cubicBezTo>
                    <a:pt x="334153" y="259929"/>
                    <a:pt x="259351" y="334899"/>
                    <a:pt x="167077" y="334899"/>
                  </a:cubicBezTo>
                  <a:cubicBezTo>
                    <a:pt x="74803" y="334899"/>
                    <a:pt x="0" y="259929"/>
                    <a:pt x="0" y="167449"/>
                  </a:cubicBezTo>
                  <a:cubicBezTo>
                    <a:pt x="0" y="74970"/>
                    <a:pt x="74803" y="0"/>
                    <a:pt x="167077" y="0"/>
                  </a:cubicBezTo>
                  <a:cubicBezTo>
                    <a:pt x="259351" y="0"/>
                    <a:pt x="334153" y="74970"/>
                    <a:pt x="334153" y="167449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5" name="Google Shape;2812;p37">
              <a:extLst>
                <a:ext uri="{FF2B5EF4-FFF2-40B4-BE49-F238E27FC236}">
                  <a16:creationId xmlns:a16="http://schemas.microsoft.com/office/drawing/2014/main" id="{44D7E0CD-213B-4703-BDE5-93FDF90C83B8}"/>
                </a:ext>
              </a:extLst>
            </p:cNvPr>
            <p:cNvSpPr/>
            <p:nvPr/>
          </p:nvSpPr>
          <p:spPr>
            <a:xfrm>
              <a:off x="4197204" y="1948719"/>
              <a:ext cx="450859" cy="225075"/>
            </a:xfrm>
            <a:custGeom>
              <a:avLst/>
              <a:gdLst/>
              <a:ahLst/>
              <a:cxnLst/>
              <a:rect l="l" t="t" r="r" b="b"/>
              <a:pathLst>
                <a:path w="450859" h="225075" extrusionOk="0">
                  <a:moveTo>
                    <a:pt x="225430" y="225076"/>
                  </a:moveTo>
                  <a:cubicBezTo>
                    <a:pt x="162040" y="225076"/>
                    <a:pt x="100645" y="210598"/>
                    <a:pt x="57023" y="185357"/>
                  </a:cubicBezTo>
                  <a:cubicBezTo>
                    <a:pt x="20623" y="164306"/>
                    <a:pt x="0" y="137732"/>
                    <a:pt x="0" y="112586"/>
                  </a:cubicBezTo>
                  <a:cubicBezTo>
                    <a:pt x="0" y="87440"/>
                    <a:pt x="20908" y="60865"/>
                    <a:pt x="57023" y="39719"/>
                  </a:cubicBezTo>
                  <a:cubicBezTo>
                    <a:pt x="100645" y="14478"/>
                    <a:pt x="161564" y="0"/>
                    <a:pt x="225430" y="0"/>
                  </a:cubicBezTo>
                  <a:cubicBezTo>
                    <a:pt x="289295" y="0"/>
                    <a:pt x="350120" y="14478"/>
                    <a:pt x="393837" y="39719"/>
                  </a:cubicBezTo>
                  <a:cubicBezTo>
                    <a:pt x="430237" y="60865"/>
                    <a:pt x="450860" y="87344"/>
                    <a:pt x="450860" y="112586"/>
                  </a:cubicBezTo>
                  <a:cubicBezTo>
                    <a:pt x="450860" y="137827"/>
                    <a:pt x="430046" y="164306"/>
                    <a:pt x="393837" y="185357"/>
                  </a:cubicBezTo>
                  <a:cubicBezTo>
                    <a:pt x="350500" y="210598"/>
                    <a:pt x="288725" y="225076"/>
                    <a:pt x="225430" y="225076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6" name="Google Shape;2813;p37">
              <a:extLst>
                <a:ext uri="{FF2B5EF4-FFF2-40B4-BE49-F238E27FC236}">
                  <a16:creationId xmlns:a16="http://schemas.microsoft.com/office/drawing/2014/main" id="{8564F0C5-FF4B-4306-B624-A2D1905C950C}"/>
                </a:ext>
              </a:extLst>
            </p:cNvPr>
            <p:cNvSpPr/>
            <p:nvPr/>
          </p:nvSpPr>
          <p:spPr>
            <a:xfrm>
              <a:off x="4129822" y="1856041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884"/>
                    <a:pt x="0" y="178499"/>
                    <a:pt x="0" y="145828"/>
                  </a:cubicBezTo>
                  <a:cubicBezTo>
                    <a:pt x="0" y="113157"/>
                    <a:pt x="26991" y="79153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772"/>
                    <a:pt x="585718" y="113157"/>
                    <a:pt x="585718" y="145828"/>
                  </a:cubicBezTo>
                  <a:cubicBezTo>
                    <a:pt x="585718" y="178499"/>
                    <a:pt x="558633" y="212503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7" name="Google Shape;2814;p37">
              <a:extLst>
                <a:ext uri="{FF2B5EF4-FFF2-40B4-BE49-F238E27FC236}">
                  <a16:creationId xmlns:a16="http://schemas.microsoft.com/office/drawing/2014/main" id="{FC775F4D-98D9-442E-857F-593F3C11EA41}"/>
                </a:ext>
              </a:extLst>
            </p:cNvPr>
            <p:cNvSpPr/>
            <p:nvPr/>
          </p:nvSpPr>
          <p:spPr>
            <a:xfrm>
              <a:off x="4129822" y="1818703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979"/>
                    <a:pt x="0" y="178498"/>
                    <a:pt x="0" y="145923"/>
                  </a:cubicBezTo>
                  <a:cubicBezTo>
                    <a:pt x="0" y="113347"/>
                    <a:pt x="26991" y="79248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867"/>
                    <a:pt x="585718" y="113252"/>
                    <a:pt x="585718" y="145923"/>
                  </a:cubicBezTo>
                  <a:cubicBezTo>
                    <a:pt x="585718" y="178594"/>
                    <a:pt x="558633" y="212598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8" name="Google Shape;2815;p37">
              <a:extLst>
                <a:ext uri="{FF2B5EF4-FFF2-40B4-BE49-F238E27FC236}">
                  <a16:creationId xmlns:a16="http://schemas.microsoft.com/office/drawing/2014/main" id="{54A00230-83E5-4047-AE30-2EBF4F916C3D}"/>
                </a:ext>
              </a:extLst>
            </p:cNvPr>
            <p:cNvSpPr/>
            <p:nvPr/>
          </p:nvSpPr>
          <p:spPr>
            <a:xfrm>
              <a:off x="4066052" y="1720024"/>
              <a:ext cx="713163" cy="355663"/>
            </a:xfrm>
            <a:custGeom>
              <a:avLst/>
              <a:gdLst/>
              <a:ahLst/>
              <a:cxnLst/>
              <a:rect l="l" t="t" r="r" b="b"/>
              <a:pathLst>
                <a:path w="713163" h="355663" extrusionOk="0">
                  <a:moveTo>
                    <a:pt x="356582" y="355663"/>
                  </a:moveTo>
                  <a:cubicBezTo>
                    <a:pt x="256412" y="355663"/>
                    <a:pt x="159474" y="332804"/>
                    <a:pt x="90476" y="292894"/>
                  </a:cubicBezTo>
                  <a:cubicBezTo>
                    <a:pt x="32978" y="259556"/>
                    <a:pt x="0" y="217646"/>
                    <a:pt x="0" y="177832"/>
                  </a:cubicBezTo>
                  <a:cubicBezTo>
                    <a:pt x="0" y="138017"/>
                    <a:pt x="32978" y="96107"/>
                    <a:pt x="90476" y="62865"/>
                  </a:cubicBezTo>
                  <a:cubicBezTo>
                    <a:pt x="159474" y="22955"/>
                    <a:pt x="256412" y="0"/>
                    <a:pt x="356582" y="0"/>
                  </a:cubicBezTo>
                  <a:cubicBezTo>
                    <a:pt x="456752" y="0"/>
                    <a:pt x="553596" y="22955"/>
                    <a:pt x="622688" y="62865"/>
                  </a:cubicBezTo>
                  <a:cubicBezTo>
                    <a:pt x="680186" y="96107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894"/>
                  </a:cubicBezTo>
                  <a:cubicBezTo>
                    <a:pt x="553690" y="332804"/>
                    <a:pt x="456657" y="355663"/>
                    <a:pt x="356582" y="355663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9" name="Google Shape;2816;p37">
              <a:extLst>
                <a:ext uri="{FF2B5EF4-FFF2-40B4-BE49-F238E27FC236}">
                  <a16:creationId xmlns:a16="http://schemas.microsoft.com/office/drawing/2014/main" id="{EEDC281A-7302-4BBE-BE91-22146ADD818C}"/>
                </a:ext>
              </a:extLst>
            </p:cNvPr>
            <p:cNvSpPr/>
            <p:nvPr/>
          </p:nvSpPr>
          <p:spPr>
            <a:xfrm>
              <a:off x="4066052" y="1674590"/>
              <a:ext cx="713163" cy="355568"/>
            </a:xfrm>
            <a:custGeom>
              <a:avLst/>
              <a:gdLst/>
              <a:ahLst/>
              <a:cxnLst/>
              <a:rect l="l" t="t" r="r" b="b"/>
              <a:pathLst>
                <a:path w="713163" h="355568" extrusionOk="0">
                  <a:moveTo>
                    <a:pt x="356582" y="355568"/>
                  </a:moveTo>
                  <a:cubicBezTo>
                    <a:pt x="256412" y="355568"/>
                    <a:pt x="159474" y="332708"/>
                    <a:pt x="90476" y="292799"/>
                  </a:cubicBezTo>
                  <a:cubicBezTo>
                    <a:pt x="32978" y="259556"/>
                    <a:pt x="0" y="217551"/>
                    <a:pt x="0" y="177737"/>
                  </a:cubicBezTo>
                  <a:cubicBezTo>
                    <a:pt x="0" y="137922"/>
                    <a:pt x="32978" y="96012"/>
                    <a:pt x="90476" y="62770"/>
                  </a:cubicBezTo>
                  <a:cubicBezTo>
                    <a:pt x="159474" y="22860"/>
                    <a:pt x="256412" y="0"/>
                    <a:pt x="356582" y="0"/>
                  </a:cubicBezTo>
                  <a:cubicBezTo>
                    <a:pt x="456752" y="0"/>
                    <a:pt x="553596" y="22860"/>
                    <a:pt x="622688" y="62770"/>
                  </a:cubicBezTo>
                  <a:cubicBezTo>
                    <a:pt x="680186" y="96012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799"/>
                  </a:cubicBezTo>
                  <a:cubicBezTo>
                    <a:pt x="553690" y="332708"/>
                    <a:pt x="456657" y="355568"/>
                    <a:pt x="356582" y="355568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0" name="Google Shape;2817;p37">
              <a:extLst>
                <a:ext uri="{FF2B5EF4-FFF2-40B4-BE49-F238E27FC236}">
                  <a16:creationId xmlns:a16="http://schemas.microsoft.com/office/drawing/2014/main" id="{C3B80244-3AD8-4A9F-8CB9-73D093B86C64}"/>
                </a:ext>
              </a:extLst>
            </p:cNvPr>
            <p:cNvSpPr/>
            <p:nvPr/>
          </p:nvSpPr>
          <p:spPr>
            <a:xfrm>
              <a:off x="4013211" y="1574958"/>
              <a:ext cx="818751" cy="408241"/>
            </a:xfrm>
            <a:custGeom>
              <a:avLst/>
              <a:gdLst/>
              <a:ahLst/>
              <a:cxnLst/>
              <a:rect l="l" t="t" r="r" b="b"/>
              <a:pathLst>
                <a:path w="818751" h="408241" extrusionOk="0">
                  <a:moveTo>
                    <a:pt x="409423" y="408242"/>
                  </a:moveTo>
                  <a:cubicBezTo>
                    <a:pt x="294427" y="408242"/>
                    <a:pt x="183138" y="382048"/>
                    <a:pt x="103876" y="336137"/>
                  </a:cubicBezTo>
                  <a:cubicBezTo>
                    <a:pt x="37825" y="298037"/>
                    <a:pt x="0" y="249841"/>
                    <a:pt x="0" y="204121"/>
                  </a:cubicBezTo>
                  <a:cubicBezTo>
                    <a:pt x="0" y="158401"/>
                    <a:pt x="38015" y="110299"/>
                    <a:pt x="103876" y="72009"/>
                  </a:cubicBezTo>
                  <a:cubicBezTo>
                    <a:pt x="183043" y="26194"/>
                    <a:pt x="294427" y="0"/>
                    <a:pt x="409328" y="0"/>
                  </a:cubicBezTo>
                  <a:cubicBezTo>
                    <a:pt x="524229" y="0"/>
                    <a:pt x="635708" y="26194"/>
                    <a:pt x="714875" y="72104"/>
                  </a:cubicBezTo>
                  <a:cubicBezTo>
                    <a:pt x="780926" y="110204"/>
                    <a:pt x="818751" y="158401"/>
                    <a:pt x="818751" y="204121"/>
                  </a:cubicBezTo>
                  <a:cubicBezTo>
                    <a:pt x="818751" y="249841"/>
                    <a:pt x="780736" y="297942"/>
                    <a:pt x="714875" y="336137"/>
                  </a:cubicBezTo>
                  <a:cubicBezTo>
                    <a:pt x="635708" y="382048"/>
                    <a:pt x="524324" y="408242"/>
                    <a:pt x="409423" y="408242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1" name="Google Shape;2818;p37">
              <a:extLst>
                <a:ext uri="{FF2B5EF4-FFF2-40B4-BE49-F238E27FC236}">
                  <a16:creationId xmlns:a16="http://schemas.microsoft.com/office/drawing/2014/main" id="{419CE540-106D-4071-A054-5FEA956625B9}"/>
                </a:ext>
              </a:extLst>
            </p:cNvPr>
            <p:cNvSpPr/>
            <p:nvPr/>
          </p:nvSpPr>
          <p:spPr>
            <a:xfrm>
              <a:off x="4013211" y="1522666"/>
              <a:ext cx="818751" cy="408336"/>
            </a:xfrm>
            <a:custGeom>
              <a:avLst/>
              <a:gdLst/>
              <a:ahLst/>
              <a:cxnLst/>
              <a:rect l="l" t="t" r="r" b="b"/>
              <a:pathLst>
                <a:path w="818751" h="408336" extrusionOk="0">
                  <a:moveTo>
                    <a:pt x="409423" y="408337"/>
                  </a:moveTo>
                  <a:cubicBezTo>
                    <a:pt x="294427" y="408337"/>
                    <a:pt x="183138" y="382048"/>
                    <a:pt x="103876" y="336233"/>
                  </a:cubicBezTo>
                  <a:cubicBezTo>
                    <a:pt x="37825" y="298133"/>
                    <a:pt x="0" y="249936"/>
                    <a:pt x="0" y="204216"/>
                  </a:cubicBezTo>
                  <a:cubicBezTo>
                    <a:pt x="0" y="158496"/>
                    <a:pt x="38015" y="110300"/>
                    <a:pt x="103876" y="72104"/>
                  </a:cubicBezTo>
                  <a:cubicBezTo>
                    <a:pt x="183043" y="26289"/>
                    <a:pt x="294427" y="0"/>
                    <a:pt x="409328" y="0"/>
                  </a:cubicBezTo>
                  <a:cubicBezTo>
                    <a:pt x="524229" y="0"/>
                    <a:pt x="635708" y="26289"/>
                    <a:pt x="714875" y="72104"/>
                  </a:cubicBezTo>
                  <a:cubicBezTo>
                    <a:pt x="780926" y="110204"/>
                    <a:pt x="818751" y="158496"/>
                    <a:pt x="818751" y="204216"/>
                  </a:cubicBezTo>
                  <a:cubicBezTo>
                    <a:pt x="818751" y="249936"/>
                    <a:pt x="780736" y="298037"/>
                    <a:pt x="714875" y="336233"/>
                  </a:cubicBezTo>
                  <a:cubicBezTo>
                    <a:pt x="635708" y="382334"/>
                    <a:pt x="524324" y="408337"/>
                    <a:pt x="409423" y="408337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2" name="Google Shape;2819;p37">
              <a:extLst>
                <a:ext uri="{FF2B5EF4-FFF2-40B4-BE49-F238E27FC236}">
                  <a16:creationId xmlns:a16="http://schemas.microsoft.com/office/drawing/2014/main" id="{9F53C272-94DF-44E6-B41F-8522818FE98B}"/>
                </a:ext>
              </a:extLst>
            </p:cNvPr>
            <p:cNvSpPr/>
            <p:nvPr/>
          </p:nvSpPr>
          <p:spPr>
            <a:xfrm>
              <a:off x="3962270" y="1359312"/>
              <a:ext cx="920726" cy="532828"/>
            </a:xfrm>
            <a:custGeom>
              <a:avLst/>
              <a:gdLst/>
              <a:ahLst/>
              <a:cxnLst/>
              <a:rect l="l" t="t" r="r" b="b"/>
              <a:pathLst>
                <a:path w="920726" h="532828" extrusionOk="0">
                  <a:moveTo>
                    <a:pt x="920727" y="266414"/>
                  </a:moveTo>
                  <a:cubicBezTo>
                    <a:pt x="920727" y="413551"/>
                    <a:pt x="714615" y="532828"/>
                    <a:pt x="460363" y="532828"/>
                  </a:cubicBezTo>
                  <a:cubicBezTo>
                    <a:pt x="206112" y="532828"/>
                    <a:pt x="0" y="413551"/>
                    <a:pt x="0" y="266414"/>
                  </a:cubicBezTo>
                  <a:cubicBezTo>
                    <a:pt x="0" y="119278"/>
                    <a:pt x="206112" y="0"/>
                    <a:pt x="460363" y="0"/>
                  </a:cubicBezTo>
                  <a:cubicBezTo>
                    <a:pt x="714615" y="0"/>
                    <a:pt x="920727" y="119278"/>
                    <a:pt x="920727" y="266414"/>
                  </a:cubicBezTo>
                  <a:close/>
                </a:path>
              </a:pathLst>
            </a:custGeom>
            <a:solidFill>
              <a:srgbClr val="FFDF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3" name="Google Shape;2820;p37">
              <a:extLst>
                <a:ext uri="{FF2B5EF4-FFF2-40B4-BE49-F238E27FC236}">
                  <a16:creationId xmlns:a16="http://schemas.microsoft.com/office/drawing/2014/main" id="{24728536-0D6A-4CEC-9248-473D19B3641D}"/>
                </a:ext>
              </a:extLst>
            </p:cNvPr>
            <p:cNvSpPr/>
            <p:nvPr/>
          </p:nvSpPr>
          <p:spPr>
            <a:xfrm>
              <a:off x="4264396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4" name="Google Shape;2821;p37">
              <a:extLst>
                <a:ext uri="{FF2B5EF4-FFF2-40B4-BE49-F238E27FC236}">
                  <a16:creationId xmlns:a16="http://schemas.microsoft.com/office/drawing/2014/main" id="{F2A13D63-B0B7-4708-B31F-F429EB4820AB}"/>
                </a:ext>
              </a:extLst>
            </p:cNvPr>
            <p:cNvSpPr/>
            <p:nvPr/>
          </p:nvSpPr>
          <p:spPr>
            <a:xfrm>
              <a:off x="4543522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5" name="Google Shape;2822;p37">
              <a:extLst>
                <a:ext uri="{FF2B5EF4-FFF2-40B4-BE49-F238E27FC236}">
                  <a16:creationId xmlns:a16="http://schemas.microsoft.com/office/drawing/2014/main" id="{2CAC30EE-B3B5-4DEE-B57F-E6DDC7F283B8}"/>
                </a:ext>
              </a:extLst>
            </p:cNvPr>
            <p:cNvSpPr/>
            <p:nvPr/>
          </p:nvSpPr>
          <p:spPr>
            <a:xfrm>
              <a:off x="4264396" y="901827"/>
              <a:ext cx="319897" cy="108775"/>
            </a:xfrm>
            <a:custGeom>
              <a:avLst/>
              <a:gdLst/>
              <a:ahLst/>
              <a:cxnLst/>
              <a:rect l="l" t="t" r="r" b="b"/>
              <a:pathLst>
                <a:path w="319897" h="108775" extrusionOk="0">
                  <a:moveTo>
                    <a:pt x="157098" y="108775"/>
                  </a:moveTo>
                  <a:lnTo>
                    <a:pt x="97319" y="53911"/>
                  </a:lnTo>
                  <a:lnTo>
                    <a:pt x="23950" y="103156"/>
                  </a:lnTo>
                  <a:lnTo>
                    <a:pt x="0" y="67532"/>
                  </a:lnTo>
                  <a:lnTo>
                    <a:pt x="101310" y="857"/>
                  </a:lnTo>
                  <a:lnTo>
                    <a:pt x="159379" y="54102"/>
                  </a:lnTo>
                  <a:lnTo>
                    <a:pt x="228946" y="0"/>
                  </a:lnTo>
                  <a:lnTo>
                    <a:pt x="319897" y="67532"/>
                  </a:lnTo>
                  <a:lnTo>
                    <a:pt x="291481" y="100203"/>
                  </a:lnTo>
                  <a:lnTo>
                    <a:pt x="228851" y="53054"/>
                  </a:lnTo>
                  <a:lnTo>
                    <a:pt x="157098" y="108775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6" name="Google Shape;2823;p37">
              <a:extLst>
                <a:ext uri="{FF2B5EF4-FFF2-40B4-BE49-F238E27FC236}">
                  <a16:creationId xmlns:a16="http://schemas.microsoft.com/office/drawing/2014/main" id="{564E9BD1-3C30-4689-AFB1-D175AA315E1F}"/>
                </a:ext>
              </a:extLst>
            </p:cNvPr>
            <p:cNvSpPr/>
            <p:nvPr/>
          </p:nvSpPr>
          <p:spPr>
            <a:xfrm>
              <a:off x="3749667" y="190500"/>
              <a:ext cx="1343462" cy="1451800"/>
            </a:xfrm>
            <a:custGeom>
              <a:avLst/>
              <a:gdLst/>
              <a:ahLst/>
              <a:cxnLst/>
              <a:rect l="l" t="t" r="r" b="b"/>
              <a:pathLst>
                <a:path w="1343462" h="1451800" extrusionOk="0">
                  <a:moveTo>
                    <a:pt x="1132665" y="1449134"/>
                  </a:moveTo>
                  <a:cubicBezTo>
                    <a:pt x="1133425" y="1389317"/>
                    <a:pt x="1143689" y="1212723"/>
                    <a:pt x="1283870" y="969359"/>
                  </a:cubicBezTo>
                  <a:cubicBezTo>
                    <a:pt x="1449711" y="681419"/>
                    <a:pt x="1276837" y="0"/>
                    <a:pt x="671731" y="0"/>
                  </a:cubicBezTo>
                  <a:cubicBezTo>
                    <a:pt x="66625" y="0"/>
                    <a:pt x="-106249" y="681419"/>
                    <a:pt x="59592" y="969359"/>
                  </a:cubicBezTo>
                  <a:cubicBezTo>
                    <a:pt x="180766" y="1179767"/>
                    <a:pt x="207186" y="1366457"/>
                    <a:pt x="212698" y="1451801"/>
                  </a:cubicBezTo>
                </a:path>
              </a:pathLst>
            </a:custGeom>
            <a:solidFill>
              <a:srgbClr val="FFDF57">
                <a:alpha val="6863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747" name="Google Shape;2824;p37">
              <a:extLst>
                <a:ext uri="{FF2B5EF4-FFF2-40B4-BE49-F238E27FC236}">
                  <a16:creationId xmlns:a16="http://schemas.microsoft.com/office/drawing/2014/main" id="{0EACD1B7-458B-4CE3-A032-484F17721C06}"/>
                </a:ext>
              </a:extLst>
            </p:cNvPr>
            <p:cNvGrpSpPr/>
            <p:nvPr/>
          </p:nvGrpSpPr>
          <p:grpSpPr>
            <a:xfrm>
              <a:off x="3923682" y="3244965"/>
              <a:ext cx="195764" cy="131404"/>
              <a:chOff x="5733332" y="4102215"/>
              <a:chExt cx="195764" cy="131404"/>
            </a:xfrm>
          </p:grpSpPr>
          <p:sp>
            <p:nvSpPr>
              <p:cNvPr id="772" name="Google Shape;2825;p37">
                <a:extLst>
                  <a:ext uri="{FF2B5EF4-FFF2-40B4-BE49-F238E27FC236}">
                    <a16:creationId xmlns:a16="http://schemas.microsoft.com/office/drawing/2014/main" id="{3692EEEA-A51E-4A0E-B142-17E046462261}"/>
                  </a:ext>
                </a:extLst>
              </p:cNvPr>
              <p:cNvSpPr/>
              <p:nvPr/>
            </p:nvSpPr>
            <p:spPr>
              <a:xfrm>
                <a:off x="5734887" y="4131087"/>
                <a:ext cx="177232" cy="100744"/>
              </a:xfrm>
              <a:custGeom>
                <a:avLst/>
                <a:gdLst/>
                <a:ahLst/>
                <a:cxnLst/>
                <a:rect l="l" t="t" r="r" b="b"/>
                <a:pathLst>
                  <a:path w="177232" h="100744" extrusionOk="0">
                    <a:moveTo>
                      <a:pt x="177024" y="99346"/>
                    </a:moveTo>
                    <a:lnTo>
                      <a:pt x="150604" y="74581"/>
                    </a:lnTo>
                    <a:cubicBezTo>
                      <a:pt x="147249" y="69713"/>
                      <a:pt x="143219" y="65351"/>
                      <a:pt x="138629" y="61627"/>
                    </a:cubicBezTo>
                    <a:cubicBezTo>
                      <a:pt x="136623" y="59941"/>
                      <a:pt x="134495" y="58417"/>
                      <a:pt x="132261" y="57055"/>
                    </a:cubicBezTo>
                    <a:lnTo>
                      <a:pt x="98048" y="34195"/>
                    </a:lnTo>
                    <a:lnTo>
                      <a:pt x="60698" y="17621"/>
                    </a:lnTo>
                    <a:cubicBezTo>
                      <a:pt x="58407" y="16564"/>
                      <a:pt x="56060" y="15640"/>
                      <a:pt x="53665" y="14859"/>
                    </a:cubicBezTo>
                    <a:cubicBezTo>
                      <a:pt x="48162" y="13021"/>
                      <a:pt x="42441" y="11935"/>
                      <a:pt x="36653" y="11621"/>
                    </a:cubicBezTo>
                    <a:lnTo>
                      <a:pt x="1109" y="0"/>
                    </a:lnTo>
                    <a:cubicBezTo>
                      <a:pt x="-887" y="0"/>
                      <a:pt x="254" y="3620"/>
                      <a:pt x="1109" y="5144"/>
                    </a:cubicBezTo>
                    <a:lnTo>
                      <a:pt x="4530" y="6572"/>
                    </a:lnTo>
                    <a:cubicBezTo>
                      <a:pt x="8807" y="8192"/>
                      <a:pt x="5196" y="7620"/>
                      <a:pt x="9662" y="10763"/>
                    </a:cubicBezTo>
                    <a:lnTo>
                      <a:pt x="30096" y="16002"/>
                    </a:lnTo>
                    <a:cubicBezTo>
                      <a:pt x="43106" y="15507"/>
                      <a:pt x="55984" y="18822"/>
                      <a:pt x="67160" y="25527"/>
                    </a:cubicBezTo>
                    <a:lnTo>
                      <a:pt x="94246" y="39148"/>
                    </a:lnTo>
                    <a:lnTo>
                      <a:pt x="120287" y="54864"/>
                    </a:lnTo>
                    <a:cubicBezTo>
                      <a:pt x="131729" y="61170"/>
                      <a:pt x="140853" y="70980"/>
                      <a:pt x="146327" y="82868"/>
                    </a:cubicBezTo>
                    <a:lnTo>
                      <a:pt x="160107" y="94012"/>
                    </a:lnTo>
                    <a:cubicBezTo>
                      <a:pt x="164384" y="98012"/>
                      <a:pt x="161913" y="96298"/>
                      <a:pt x="168281" y="97250"/>
                    </a:cubicBezTo>
                    <a:lnTo>
                      <a:pt x="171797" y="100298"/>
                    </a:lnTo>
                    <a:cubicBezTo>
                      <a:pt x="174363" y="100965"/>
                      <a:pt x="178165" y="101060"/>
                      <a:pt x="177024" y="99346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3" name="Google Shape;2826;p37">
                <a:extLst>
                  <a:ext uri="{FF2B5EF4-FFF2-40B4-BE49-F238E27FC236}">
                    <a16:creationId xmlns:a16="http://schemas.microsoft.com/office/drawing/2014/main" id="{D514CD74-FA65-4387-ADD7-DF56359E5692}"/>
                  </a:ext>
                </a:extLst>
              </p:cNvPr>
              <p:cNvSpPr/>
              <p:nvPr/>
            </p:nvSpPr>
            <p:spPr>
              <a:xfrm>
                <a:off x="5750846" y="4118425"/>
                <a:ext cx="155883" cy="109857"/>
              </a:xfrm>
              <a:custGeom>
                <a:avLst/>
                <a:gdLst/>
                <a:ahLst/>
                <a:cxnLst/>
                <a:rect l="l" t="t" r="r" b="b"/>
                <a:pathLst>
                  <a:path w="155883" h="109857" extrusionOk="0">
                    <a:moveTo>
                      <a:pt x="86746" y="59620"/>
                    </a:moveTo>
                    <a:cubicBezTo>
                      <a:pt x="88855" y="56363"/>
                      <a:pt x="91688" y="53619"/>
                      <a:pt x="95014" y="51619"/>
                    </a:cubicBezTo>
                    <a:cubicBezTo>
                      <a:pt x="99851" y="48647"/>
                      <a:pt x="105525" y="47342"/>
                      <a:pt x="111170" y="47904"/>
                    </a:cubicBezTo>
                    <a:cubicBezTo>
                      <a:pt x="117832" y="48590"/>
                      <a:pt x="124295" y="50600"/>
                      <a:pt x="130178" y="53810"/>
                    </a:cubicBezTo>
                    <a:lnTo>
                      <a:pt x="130843" y="53810"/>
                    </a:lnTo>
                    <a:lnTo>
                      <a:pt x="140347" y="58953"/>
                    </a:lnTo>
                    <a:cubicBezTo>
                      <a:pt x="142818" y="60287"/>
                      <a:pt x="145099" y="61811"/>
                      <a:pt x="147380" y="63335"/>
                    </a:cubicBezTo>
                    <a:lnTo>
                      <a:pt x="151751" y="66573"/>
                    </a:lnTo>
                    <a:cubicBezTo>
                      <a:pt x="158309" y="71812"/>
                      <a:pt x="156408" y="82099"/>
                      <a:pt x="150611" y="90290"/>
                    </a:cubicBezTo>
                    <a:cubicBezTo>
                      <a:pt x="147399" y="94863"/>
                      <a:pt x="143702" y="99082"/>
                      <a:pt x="139587" y="102863"/>
                    </a:cubicBezTo>
                    <a:cubicBezTo>
                      <a:pt x="132231" y="109264"/>
                      <a:pt x="122119" y="111455"/>
                      <a:pt x="112786" y="108674"/>
                    </a:cubicBezTo>
                    <a:cubicBezTo>
                      <a:pt x="108528" y="107331"/>
                      <a:pt x="104413" y="105540"/>
                      <a:pt x="100526" y="103340"/>
                    </a:cubicBezTo>
                    <a:cubicBezTo>
                      <a:pt x="96934" y="101235"/>
                      <a:pt x="93522" y="98815"/>
                      <a:pt x="90357" y="96101"/>
                    </a:cubicBezTo>
                    <a:cubicBezTo>
                      <a:pt x="82374" y="88624"/>
                      <a:pt x="79874" y="76965"/>
                      <a:pt x="84084" y="66859"/>
                    </a:cubicBezTo>
                    <a:cubicBezTo>
                      <a:pt x="84702" y="64354"/>
                      <a:pt x="85596" y="61925"/>
                      <a:pt x="86746" y="59620"/>
                    </a:cubicBezTo>
                    <a:close/>
                    <a:moveTo>
                      <a:pt x="8339" y="11995"/>
                    </a:moveTo>
                    <a:cubicBezTo>
                      <a:pt x="13471" y="4089"/>
                      <a:pt x="22215" y="-1912"/>
                      <a:pt x="29628" y="565"/>
                    </a:cubicBezTo>
                    <a:lnTo>
                      <a:pt x="34380" y="2375"/>
                    </a:lnTo>
                    <a:cubicBezTo>
                      <a:pt x="36784" y="3318"/>
                      <a:pt x="39132" y="4394"/>
                      <a:pt x="41412" y="5613"/>
                    </a:cubicBezTo>
                    <a:lnTo>
                      <a:pt x="50061" y="10090"/>
                    </a:lnTo>
                    <a:lnTo>
                      <a:pt x="50631" y="10090"/>
                    </a:lnTo>
                    <a:cubicBezTo>
                      <a:pt x="56067" y="12967"/>
                      <a:pt x="60772" y="17034"/>
                      <a:pt x="64412" y="21996"/>
                    </a:cubicBezTo>
                    <a:cubicBezTo>
                      <a:pt x="67424" y="26073"/>
                      <a:pt x="68688" y="31178"/>
                      <a:pt x="67928" y="36188"/>
                    </a:cubicBezTo>
                    <a:cubicBezTo>
                      <a:pt x="67358" y="39875"/>
                      <a:pt x="65932" y="43361"/>
                      <a:pt x="63746" y="46380"/>
                    </a:cubicBezTo>
                    <a:cubicBezTo>
                      <a:pt x="61969" y="48533"/>
                      <a:pt x="59964" y="50476"/>
                      <a:pt x="57759" y="52190"/>
                    </a:cubicBezTo>
                    <a:cubicBezTo>
                      <a:pt x="49652" y="60106"/>
                      <a:pt x="37972" y="63116"/>
                      <a:pt x="27062" y="60096"/>
                    </a:cubicBezTo>
                    <a:cubicBezTo>
                      <a:pt x="23241" y="58877"/>
                      <a:pt x="19544" y="57286"/>
                      <a:pt x="16037" y="55334"/>
                    </a:cubicBezTo>
                    <a:cubicBezTo>
                      <a:pt x="12645" y="53238"/>
                      <a:pt x="9461" y="50809"/>
                      <a:pt x="6534" y="48095"/>
                    </a:cubicBezTo>
                    <a:cubicBezTo>
                      <a:pt x="309" y="42285"/>
                      <a:pt x="-1687" y="33236"/>
                      <a:pt x="1497" y="25330"/>
                    </a:cubicBezTo>
                    <a:cubicBezTo>
                      <a:pt x="3274" y="20672"/>
                      <a:pt x="5574" y="16234"/>
                      <a:pt x="8339" y="12090"/>
                    </a:cubicBez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4" name="Google Shape;2827;p37">
                <a:extLst>
                  <a:ext uri="{FF2B5EF4-FFF2-40B4-BE49-F238E27FC236}">
                    <a16:creationId xmlns:a16="http://schemas.microsoft.com/office/drawing/2014/main" id="{2DC3BB5B-2CBC-46D9-9D92-5556CF427197}"/>
                  </a:ext>
                </a:extLst>
              </p:cNvPr>
              <p:cNvSpPr/>
              <p:nvPr/>
            </p:nvSpPr>
            <p:spPr>
              <a:xfrm>
                <a:off x="5733332" y="4130673"/>
                <a:ext cx="192169" cy="73375"/>
              </a:xfrm>
              <a:custGeom>
                <a:avLst/>
                <a:gdLst/>
                <a:ahLst/>
                <a:cxnLst/>
                <a:rect l="l" t="t" r="r" b="b"/>
                <a:pathLst>
                  <a:path w="192169" h="73375" extrusionOk="0">
                    <a:moveTo>
                      <a:pt x="15779" y="11368"/>
                    </a:moveTo>
                    <a:lnTo>
                      <a:pt x="36117" y="9463"/>
                    </a:lnTo>
                    <a:cubicBezTo>
                      <a:pt x="48995" y="8187"/>
                      <a:pt x="61967" y="10768"/>
                      <a:pt x="73372" y="16893"/>
                    </a:cubicBezTo>
                    <a:lnTo>
                      <a:pt x="185611" y="73376"/>
                    </a:lnTo>
                    <a:lnTo>
                      <a:pt x="192169" y="63851"/>
                    </a:lnTo>
                    <a:lnTo>
                      <a:pt x="66529" y="8320"/>
                    </a:lnTo>
                    <a:cubicBezTo>
                      <a:pt x="58974" y="4777"/>
                      <a:pt x="50810" y="2739"/>
                      <a:pt x="42484" y="2320"/>
                    </a:cubicBezTo>
                    <a:lnTo>
                      <a:pt x="2569" y="34"/>
                    </a:lnTo>
                    <a:cubicBezTo>
                      <a:pt x="1381" y="-176"/>
                      <a:pt x="250" y="614"/>
                      <a:pt x="31" y="1805"/>
                    </a:cubicBezTo>
                    <a:cubicBezTo>
                      <a:pt x="-73" y="2424"/>
                      <a:pt x="88" y="3063"/>
                      <a:pt x="478" y="3558"/>
                    </a:cubicBezTo>
                    <a:lnTo>
                      <a:pt x="1523" y="4987"/>
                    </a:lnTo>
                    <a:cubicBezTo>
                      <a:pt x="4869" y="9425"/>
                      <a:pt x="10248" y="11835"/>
                      <a:pt x="15779" y="11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5" name="Google Shape;2828;p37">
                <a:extLst>
                  <a:ext uri="{FF2B5EF4-FFF2-40B4-BE49-F238E27FC236}">
                    <a16:creationId xmlns:a16="http://schemas.microsoft.com/office/drawing/2014/main" id="{8F5920A0-3238-4EC4-AFEE-E6301AF6D5C2}"/>
                  </a:ext>
                </a:extLst>
              </p:cNvPr>
              <p:cNvSpPr/>
              <p:nvPr/>
            </p:nvSpPr>
            <p:spPr>
              <a:xfrm>
                <a:off x="5757380" y="4106036"/>
                <a:ext cx="156130" cy="127583"/>
              </a:xfrm>
              <a:custGeom>
                <a:avLst/>
                <a:gdLst/>
                <a:ahLst/>
                <a:cxnLst/>
                <a:rect l="l" t="t" r="r" b="b"/>
                <a:pathLst>
                  <a:path w="156130" h="127583" extrusionOk="0">
                    <a:moveTo>
                      <a:pt x="136950" y="117539"/>
                    </a:moveTo>
                    <a:lnTo>
                      <a:pt x="128491" y="98489"/>
                    </a:lnTo>
                    <a:cubicBezTo>
                      <a:pt x="123036" y="86601"/>
                      <a:pt x="113950" y="76762"/>
                      <a:pt x="102546" y="70390"/>
                    </a:cubicBezTo>
                    <a:lnTo>
                      <a:pt x="0" y="8858"/>
                    </a:lnTo>
                    <a:lnTo>
                      <a:pt x="5797" y="0"/>
                    </a:lnTo>
                    <a:lnTo>
                      <a:pt x="114236" y="72295"/>
                    </a:lnTo>
                    <a:cubicBezTo>
                      <a:pt x="121439" y="76876"/>
                      <a:pt x="127645" y="82868"/>
                      <a:pt x="132483" y="89916"/>
                    </a:cubicBezTo>
                    <a:lnTo>
                      <a:pt x="155767" y="124016"/>
                    </a:lnTo>
                    <a:cubicBezTo>
                      <a:pt x="156908" y="125730"/>
                      <a:pt x="155197" y="127921"/>
                      <a:pt x="152916" y="127540"/>
                    </a:cubicBezTo>
                    <a:lnTo>
                      <a:pt x="150920" y="127540"/>
                    </a:lnTo>
                    <a:cubicBezTo>
                      <a:pt x="144866" y="126816"/>
                      <a:pt x="139601" y="123044"/>
                      <a:pt x="136950" y="11753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6" name="Google Shape;2829;p37">
                <a:extLst>
                  <a:ext uri="{FF2B5EF4-FFF2-40B4-BE49-F238E27FC236}">
                    <a16:creationId xmlns:a16="http://schemas.microsoft.com/office/drawing/2014/main" id="{AA44EAB7-C63F-458E-8491-21BD82499830}"/>
                  </a:ext>
                </a:extLst>
              </p:cNvPr>
              <p:cNvSpPr/>
              <p:nvPr/>
            </p:nvSpPr>
            <p:spPr>
              <a:xfrm>
                <a:off x="5834686" y="4162247"/>
                <a:ext cx="73778" cy="62054"/>
              </a:xfrm>
              <a:custGeom>
                <a:avLst/>
                <a:gdLst/>
                <a:ahLst/>
                <a:cxnLst/>
                <a:rect l="l" t="t" r="r" b="b"/>
                <a:pathLst>
                  <a:path w="73778" h="62054" extrusionOk="0">
                    <a:moveTo>
                      <a:pt x="29231" y="178"/>
                    </a:moveTo>
                    <a:cubicBezTo>
                      <a:pt x="35893" y="835"/>
                      <a:pt x="42346" y="2807"/>
                      <a:pt x="48239" y="5988"/>
                    </a:cubicBezTo>
                    <a:lnTo>
                      <a:pt x="48809" y="5988"/>
                    </a:lnTo>
                    <a:lnTo>
                      <a:pt x="58313" y="11036"/>
                    </a:lnTo>
                    <a:cubicBezTo>
                      <a:pt x="60783" y="12465"/>
                      <a:pt x="63064" y="13894"/>
                      <a:pt x="65345" y="15418"/>
                    </a:cubicBezTo>
                    <a:cubicBezTo>
                      <a:pt x="67626" y="16942"/>
                      <a:pt x="68292" y="17608"/>
                      <a:pt x="69717" y="18751"/>
                    </a:cubicBezTo>
                    <a:cubicBezTo>
                      <a:pt x="76180" y="23895"/>
                      <a:pt x="74279" y="34277"/>
                      <a:pt x="68577" y="42373"/>
                    </a:cubicBezTo>
                    <a:cubicBezTo>
                      <a:pt x="65383" y="46993"/>
                      <a:pt x="61658" y="51222"/>
                      <a:pt x="57457" y="54946"/>
                    </a:cubicBezTo>
                    <a:cubicBezTo>
                      <a:pt x="50187" y="61442"/>
                      <a:pt x="40075" y="63681"/>
                      <a:pt x="30752" y="60852"/>
                    </a:cubicBezTo>
                    <a:cubicBezTo>
                      <a:pt x="26503" y="59433"/>
                      <a:pt x="22398" y="57613"/>
                      <a:pt x="18492" y="55422"/>
                    </a:cubicBezTo>
                    <a:cubicBezTo>
                      <a:pt x="14852" y="53384"/>
                      <a:pt x="11440" y="50955"/>
                      <a:pt x="8323" y="48184"/>
                    </a:cubicBezTo>
                    <a:cubicBezTo>
                      <a:pt x="301" y="40764"/>
                      <a:pt x="-2208" y="29105"/>
                      <a:pt x="2050" y="19037"/>
                    </a:cubicBezTo>
                    <a:cubicBezTo>
                      <a:pt x="2763" y="16370"/>
                      <a:pt x="3808" y="13808"/>
                      <a:pt x="5186" y="11417"/>
                    </a:cubicBezTo>
                    <a:cubicBezTo>
                      <a:pt x="7325" y="8179"/>
                      <a:pt x="10147" y="5445"/>
                      <a:pt x="13455" y="3416"/>
                    </a:cubicBezTo>
                    <a:cubicBezTo>
                      <a:pt x="18226" y="663"/>
                      <a:pt x="23757" y="-470"/>
                      <a:pt x="29231" y="178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7" name="Google Shape;2830;p37">
                <a:extLst>
                  <a:ext uri="{FF2B5EF4-FFF2-40B4-BE49-F238E27FC236}">
                    <a16:creationId xmlns:a16="http://schemas.microsoft.com/office/drawing/2014/main" id="{10BF31BC-A059-4282-9F33-442C723F2614}"/>
                  </a:ext>
                </a:extLst>
              </p:cNvPr>
              <p:cNvSpPr/>
              <p:nvPr/>
            </p:nvSpPr>
            <p:spPr>
              <a:xfrm>
                <a:off x="5745586" y="4102215"/>
                <a:ext cx="183510" cy="128783"/>
              </a:xfrm>
              <a:custGeom>
                <a:avLst/>
                <a:gdLst/>
                <a:ahLst/>
                <a:cxnLst/>
                <a:rect l="l" t="t" r="r" b="b"/>
                <a:pathLst>
                  <a:path w="183510" h="128783" extrusionOk="0">
                    <a:moveTo>
                      <a:pt x="14550" y="1821"/>
                    </a:moveTo>
                    <a:lnTo>
                      <a:pt x="9608" y="9632"/>
                    </a:lnTo>
                    <a:cubicBezTo>
                      <a:pt x="8753" y="10575"/>
                      <a:pt x="8753" y="12022"/>
                      <a:pt x="9608" y="12965"/>
                    </a:cubicBezTo>
                    <a:cubicBezTo>
                      <a:pt x="11347" y="14527"/>
                      <a:pt x="11822" y="17071"/>
                      <a:pt x="10748" y="19157"/>
                    </a:cubicBezTo>
                    <a:lnTo>
                      <a:pt x="2575" y="36301"/>
                    </a:lnTo>
                    <a:cubicBezTo>
                      <a:pt x="-2329" y="46274"/>
                      <a:pt x="-86" y="58304"/>
                      <a:pt x="8087" y="65829"/>
                    </a:cubicBezTo>
                    <a:lnTo>
                      <a:pt x="8087" y="65829"/>
                    </a:lnTo>
                    <a:cubicBezTo>
                      <a:pt x="14997" y="72001"/>
                      <a:pt x="23170" y="76583"/>
                      <a:pt x="32037" y="79259"/>
                    </a:cubicBezTo>
                    <a:lnTo>
                      <a:pt x="32037" y="79259"/>
                    </a:lnTo>
                    <a:cubicBezTo>
                      <a:pt x="45494" y="83374"/>
                      <a:pt x="60111" y="79717"/>
                      <a:pt x="70052" y="69734"/>
                    </a:cubicBezTo>
                    <a:lnTo>
                      <a:pt x="77655" y="62019"/>
                    </a:lnTo>
                    <a:cubicBezTo>
                      <a:pt x="79337" y="60381"/>
                      <a:pt x="80354" y="58171"/>
                      <a:pt x="80506" y="55828"/>
                    </a:cubicBezTo>
                    <a:cubicBezTo>
                      <a:pt x="81029" y="52180"/>
                      <a:pt x="84393" y="49646"/>
                      <a:pt x="88033" y="50170"/>
                    </a:cubicBezTo>
                    <a:cubicBezTo>
                      <a:pt x="88718" y="50265"/>
                      <a:pt x="89383" y="50475"/>
                      <a:pt x="90010" y="50780"/>
                    </a:cubicBezTo>
                    <a:lnTo>
                      <a:pt x="91911" y="51732"/>
                    </a:lnTo>
                    <a:lnTo>
                      <a:pt x="93811" y="52875"/>
                    </a:lnTo>
                    <a:cubicBezTo>
                      <a:pt x="96321" y="54694"/>
                      <a:pt x="96891" y="58209"/>
                      <a:pt x="95075" y="60723"/>
                    </a:cubicBezTo>
                    <a:cubicBezTo>
                      <a:pt x="94572" y="61419"/>
                      <a:pt x="93906" y="62000"/>
                      <a:pt x="93146" y="62400"/>
                    </a:cubicBezTo>
                    <a:cubicBezTo>
                      <a:pt x="91008" y="63533"/>
                      <a:pt x="89307" y="65343"/>
                      <a:pt x="88299" y="67543"/>
                    </a:cubicBezTo>
                    <a:lnTo>
                      <a:pt x="84023" y="77068"/>
                    </a:lnTo>
                    <a:cubicBezTo>
                      <a:pt x="78482" y="89508"/>
                      <a:pt x="81770" y="104119"/>
                      <a:pt x="92101" y="112978"/>
                    </a:cubicBezTo>
                    <a:lnTo>
                      <a:pt x="92101" y="112978"/>
                    </a:lnTo>
                    <a:cubicBezTo>
                      <a:pt x="99362" y="119398"/>
                      <a:pt x="107877" y="124227"/>
                      <a:pt x="117096" y="127170"/>
                    </a:cubicBezTo>
                    <a:lnTo>
                      <a:pt x="117096" y="127170"/>
                    </a:lnTo>
                    <a:cubicBezTo>
                      <a:pt x="129156" y="131066"/>
                      <a:pt x="142366" y="127780"/>
                      <a:pt x="151214" y="118693"/>
                    </a:cubicBezTo>
                    <a:lnTo>
                      <a:pt x="165470" y="103643"/>
                    </a:lnTo>
                    <a:cubicBezTo>
                      <a:pt x="167409" y="101700"/>
                      <a:pt x="170250" y="100967"/>
                      <a:pt x="172883" y="101738"/>
                    </a:cubicBezTo>
                    <a:cubicBezTo>
                      <a:pt x="174290" y="102224"/>
                      <a:pt x="175858" y="101767"/>
                      <a:pt x="176780" y="100595"/>
                    </a:cubicBezTo>
                    <a:lnTo>
                      <a:pt x="182577" y="92594"/>
                    </a:lnTo>
                    <a:cubicBezTo>
                      <a:pt x="183822" y="91108"/>
                      <a:pt x="183822" y="88937"/>
                      <a:pt x="182577" y="87451"/>
                    </a:cubicBezTo>
                    <a:cubicBezTo>
                      <a:pt x="173501" y="78412"/>
                      <a:pt x="163047" y="70887"/>
                      <a:pt x="151595" y="65162"/>
                    </a:cubicBezTo>
                    <a:lnTo>
                      <a:pt x="142091" y="60019"/>
                    </a:lnTo>
                    <a:cubicBezTo>
                      <a:pt x="135058" y="56180"/>
                      <a:pt x="127341" y="53789"/>
                      <a:pt x="119377" y="52970"/>
                    </a:cubicBezTo>
                    <a:lnTo>
                      <a:pt x="112344" y="52208"/>
                    </a:lnTo>
                    <a:cubicBezTo>
                      <a:pt x="110776" y="52284"/>
                      <a:pt x="109236" y="51732"/>
                      <a:pt x="108067" y="50684"/>
                    </a:cubicBezTo>
                    <a:cubicBezTo>
                      <a:pt x="107373" y="49703"/>
                      <a:pt x="106461" y="48884"/>
                      <a:pt x="105406" y="48303"/>
                    </a:cubicBezTo>
                    <a:lnTo>
                      <a:pt x="97613" y="44112"/>
                    </a:lnTo>
                    <a:lnTo>
                      <a:pt x="89820" y="39826"/>
                    </a:lnTo>
                    <a:cubicBezTo>
                      <a:pt x="88699" y="39254"/>
                      <a:pt x="87463" y="38930"/>
                      <a:pt x="86208" y="38873"/>
                    </a:cubicBezTo>
                    <a:cubicBezTo>
                      <a:pt x="84374" y="38826"/>
                      <a:pt x="82664" y="37949"/>
                      <a:pt x="81552" y="36492"/>
                    </a:cubicBezTo>
                    <a:lnTo>
                      <a:pt x="77750" y="31349"/>
                    </a:lnTo>
                    <a:cubicBezTo>
                      <a:pt x="73359" y="25453"/>
                      <a:pt x="67667" y="20661"/>
                      <a:pt x="61118" y="17347"/>
                    </a:cubicBezTo>
                    <a:lnTo>
                      <a:pt x="52470" y="12775"/>
                    </a:lnTo>
                    <a:cubicBezTo>
                      <a:pt x="42244" y="6698"/>
                      <a:pt x="31058" y="2412"/>
                      <a:pt x="19397" y="107"/>
                    </a:cubicBezTo>
                    <a:cubicBezTo>
                      <a:pt x="17591" y="-275"/>
                      <a:pt x="15719" y="383"/>
                      <a:pt x="14550" y="1821"/>
                    </a:cubicBezTo>
                    <a:close/>
                    <a:moveTo>
                      <a:pt x="93906" y="72020"/>
                    </a:moveTo>
                    <a:cubicBezTo>
                      <a:pt x="96045" y="68782"/>
                      <a:pt x="98867" y="66048"/>
                      <a:pt x="102175" y="64019"/>
                    </a:cubicBezTo>
                    <a:cubicBezTo>
                      <a:pt x="107012" y="61048"/>
                      <a:pt x="112696" y="59781"/>
                      <a:pt x="118331" y="60400"/>
                    </a:cubicBezTo>
                    <a:cubicBezTo>
                      <a:pt x="124993" y="61057"/>
                      <a:pt x="131447" y="63029"/>
                      <a:pt x="137339" y="66210"/>
                    </a:cubicBezTo>
                    <a:lnTo>
                      <a:pt x="137909" y="66210"/>
                    </a:lnTo>
                    <a:lnTo>
                      <a:pt x="147413" y="71258"/>
                    </a:lnTo>
                    <a:cubicBezTo>
                      <a:pt x="149884" y="72687"/>
                      <a:pt x="152165" y="74116"/>
                      <a:pt x="154446" y="75640"/>
                    </a:cubicBezTo>
                    <a:cubicBezTo>
                      <a:pt x="156727" y="77164"/>
                      <a:pt x="157392" y="77831"/>
                      <a:pt x="158817" y="78974"/>
                    </a:cubicBezTo>
                    <a:cubicBezTo>
                      <a:pt x="165280" y="84117"/>
                      <a:pt x="163379" y="94499"/>
                      <a:pt x="157677" y="102596"/>
                    </a:cubicBezTo>
                    <a:cubicBezTo>
                      <a:pt x="154484" y="107215"/>
                      <a:pt x="150758" y="111444"/>
                      <a:pt x="146558" y="115168"/>
                    </a:cubicBezTo>
                    <a:cubicBezTo>
                      <a:pt x="139287" y="121665"/>
                      <a:pt x="129175" y="123903"/>
                      <a:pt x="119852" y="121074"/>
                    </a:cubicBezTo>
                    <a:cubicBezTo>
                      <a:pt x="115604" y="119655"/>
                      <a:pt x="111498" y="117835"/>
                      <a:pt x="107592" y="115645"/>
                    </a:cubicBezTo>
                    <a:cubicBezTo>
                      <a:pt x="103952" y="113606"/>
                      <a:pt x="100540" y="111178"/>
                      <a:pt x="97423" y="108406"/>
                    </a:cubicBezTo>
                    <a:cubicBezTo>
                      <a:pt x="89402" y="100986"/>
                      <a:pt x="86893" y="89327"/>
                      <a:pt x="91150" y="79259"/>
                    </a:cubicBezTo>
                    <a:cubicBezTo>
                      <a:pt x="91768" y="76745"/>
                      <a:pt x="92690" y="74306"/>
                      <a:pt x="93906" y="72020"/>
                    </a:cubicBezTo>
                    <a:close/>
                    <a:moveTo>
                      <a:pt x="15405" y="24395"/>
                    </a:moveTo>
                    <a:cubicBezTo>
                      <a:pt x="20632" y="16585"/>
                      <a:pt x="29281" y="10584"/>
                      <a:pt x="36789" y="13060"/>
                    </a:cubicBezTo>
                    <a:cubicBezTo>
                      <a:pt x="38404" y="13546"/>
                      <a:pt x="39992" y="14118"/>
                      <a:pt x="41541" y="14775"/>
                    </a:cubicBezTo>
                    <a:cubicBezTo>
                      <a:pt x="43917" y="15727"/>
                      <a:pt x="46293" y="16871"/>
                      <a:pt x="48574" y="18014"/>
                    </a:cubicBezTo>
                    <a:lnTo>
                      <a:pt x="57222" y="22585"/>
                    </a:lnTo>
                    <a:lnTo>
                      <a:pt x="57792" y="22585"/>
                    </a:lnTo>
                    <a:cubicBezTo>
                      <a:pt x="63190" y="25519"/>
                      <a:pt x="67885" y="29577"/>
                      <a:pt x="71573" y="34492"/>
                    </a:cubicBezTo>
                    <a:cubicBezTo>
                      <a:pt x="74576" y="38607"/>
                      <a:pt x="75802" y="43750"/>
                      <a:pt x="74994" y="48779"/>
                    </a:cubicBezTo>
                    <a:cubicBezTo>
                      <a:pt x="74452" y="52437"/>
                      <a:pt x="73017" y="55904"/>
                      <a:pt x="70812" y="58876"/>
                    </a:cubicBezTo>
                    <a:cubicBezTo>
                      <a:pt x="69064" y="61076"/>
                      <a:pt x="67049" y="63057"/>
                      <a:pt x="64825" y="64781"/>
                    </a:cubicBezTo>
                    <a:cubicBezTo>
                      <a:pt x="56709" y="72677"/>
                      <a:pt x="45038" y="75687"/>
                      <a:pt x="34128" y="72687"/>
                    </a:cubicBezTo>
                    <a:cubicBezTo>
                      <a:pt x="30326" y="71458"/>
                      <a:pt x="26658" y="69830"/>
                      <a:pt x="23198" y="67829"/>
                    </a:cubicBezTo>
                    <a:cubicBezTo>
                      <a:pt x="19777" y="65810"/>
                      <a:pt x="16584" y="63410"/>
                      <a:pt x="13695" y="60685"/>
                    </a:cubicBezTo>
                    <a:cubicBezTo>
                      <a:pt x="7479" y="54828"/>
                      <a:pt x="5483" y="45760"/>
                      <a:pt x="8658" y="37825"/>
                    </a:cubicBezTo>
                    <a:cubicBezTo>
                      <a:pt x="10454" y="33158"/>
                      <a:pt x="12716" y="28691"/>
                      <a:pt x="15405" y="2449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8" name="Google Shape;2831;p37">
                <a:extLst>
                  <a:ext uri="{FF2B5EF4-FFF2-40B4-BE49-F238E27FC236}">
                    <a16:creationId xmlns:a16="http://schemas.microsoft.com/office/drawing/2014/main" id="{AA4E35AC-8D72-4803-A1D3-EB80F2529307}"/>
                  </a:ext>
                </a:extLst>
              </p:cNvPr>
              <p:cNvSpPr/>
              <p:nvPr/>
            </p:nvSpPr>
            <p:spPr>
              <a:xfrm>
                <a:off x="5752081" y="4128325"/>
                <a:ext cx="64221" cy="49275"/>
              </a:xfrm>
              <a:custGeom>
                <a:avLst/>
                <a:gdLst/>
                <a:ahLst/>
                <a:cxnLst/>
                <a:rect l="l" t="t" r="r" b="b"/>
                <a:pathLst>
                  <a:path w="64221" h="49275" extrusionOk="0">
                    <a:moveTo>
                      <a:pt x="57569" y="40196"/>
                    </a:moveTo>
                    <a:cubicBezTo>
                      <a:pt x="49481" y="48149"/>
                      <a:pt x="37782" y="51159"/>
                      <a:pt x="26872" y="48101"/>
                    </a:cubicBezTo>
                    <a:cubicBezTo>
                      <a:pt x="23118" y="46987"/>
                      <a:pt x="19487" y="45491"/>
                      <a:pt x="16037" y="43624"/>
                    </a:cubicBezTo>
                    <a:cubicBezTo>
                      <a:pt x="12597" y="41634"/>
                      <a:pt x="9404" y="39233"/>
                      <a:pt x="6534" y="36481"/>
                    </a:cubicBezTo>
                    <a:cubicBezTo>
                      <a:pt x="309" y="30671"/>
                      <a:pt x="-1687" y="21622"/>
                      <a:pt x="1497" y="13716"/>
                    </a:cubicBezTo>
                    <a:cubicBezTo>
                      <a:pt x="3369" y="8896"/>
                      <a:pt x="5754" y="4296"/>
                      <a:pt x="8624" y="0"/>
                    </a:cubicBezTo>
                    <a:lnTo>
                      <a:pt x="8624" y="0"/>
                    </a:lnTo>
                    <a:cubicBezTo>
                      <a:pt x="5992" y="4010"/>
                      <a:pt x="3797" y="8287"/>
                      <a:pt x="2067" y="12763"/>
                    </a:cubicBezTo>
                    <a:cubicBezTo>
                      <a:pt x="-1107" y="20698"/>
                      <a:pt x="888" y="29766"/>
                      <a:pt x="7104" y="35623"/>
                    </a:cubicBezTo>
                    <a:cubicBezTo>
                      <a:pt x="9993" y="38348"/>
                      <a:pt x="13186" y="40748"/>
                      <a:pt x="16608" y="42767"/>
                    </a:cubicBezTo>
                    <a:cubicBezTo>
                      <a:pt x="20067" y="44767"/>
                      <a:pt x="23735" y="46396"/>
                      <a:pt x="27537" y="47625"/>
                    </a:cubicBezTo>
                    <a:cubicBezTo>
                      <a:pt x="38447" y="50625"/>
                      <a:pt x="50118" y="47615"/>
                      <a:pt x="58234" y="39719"/>
                    </a:cubicBezTo>
                    <a:cubicBezTo>
                      <a:pt x="60439" y="38005"/>
                      <a:pt x="62444" y="36061"/>
                      <a:pt x="64222" y="33909"/>
                    </a:cubicBezTo>
                    <a:lnTo>
                      <a:pt x="63556" y="34099"/>
                    </a:lnTo>
                    <a:cubicBezTo>
                      <a:pt x="61827" y="36376"/>
                      <a:pt x="59812" y="38424"/>
                      <a:pt x="57569" y="40196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9" name="Google Shape;2832;p37">
                <a:extLst>
                  <a:ext uri="{FF2B5EF4-FFF2-40B4-BE49-F238E27FC236}">
                    <a16:creationId xmlns:a16="http://schemas.microsoft.com/office/drawing/2014/main" id="{5D58BD87-4D28-497F-BA42-05A486243CBD}"/>
                  </a:ext>
                </a:extLst>
              </p:cNvPr>
              <p:cNvSpPr/>
              <p:nvPr/>
            </p:nvSpPr>
            <p:spPr>
              <a:xfrm>
                <a:off x="5833480" y="4174426"/>
                <a:ext cx="68642" cy="51616"/>
              </a:xfrm>
              <a:custGeom>
                <a:avLst/>
                <a:gdLst/>
                <a:ahLst/>
                <a:cxnLst/>
                <a:rect l="l" t="t" r="r" b="b"/>
                <a:pathLst>
                  <a:path w="68642" h="51616" extrusionOk="0">
                    <a:moveTo>
                      <a:pt x="57428" y="44577"/>
                    </a:moveTo>
                    <a:cubicBezTo>
                      <a:pt x="50139" y="51044"/>
                      <a:pt x="40027" y="53245"/>
                      <a:pt x="30722" y="50387"/>
                    </a:cubicBezTo>
                    <a:cubicBezTo>
                      <a:pt x="26465" y="49044"/>
                      <a:pt x="22350" y="47254"/>
                      <a:pt x="18463" y="45053"/>
                    </a:cubicBezTo>
                    <a:cubicBezTo>
                      <a:pt x="14870" y="42948"/>
                      <a:pt x="11458" y="40529"/>
                      <a:pt x="8293" y="37814"/>
                    </a:cubicBezTo>
                    <a:cubicBezTo>
                      <a:pt x="310" y="30337"/>
                      <a:pt x="-2189" y="18679"/>
                      <a:pt x="2021" y="8572"/>
                    </a:cubicBezTo>
                    <a:cubicBezTo>
                      <a:pt x="2772" y="5953"/>
                      <a:pt x="3827" y="3429"/>
                      <a:pt x="5157" y="1048"/>
                    </a:cubicBezTo>
                    <a:lnTo>
                      <a:pt x="5917" y="0"/>
                    </a:lnTo>
                    <a:cubicBezTo>
                      <a:pt x="4616" y="2343"/>
                      <a:pt x="3589" y="4839"/>
                      <a:pt x="2876" y="7429"/>
                    </a:cubicBezTo>
                    <a:cubicBezTo>
                      <a:pt x="-1381" y="17497"/>
                      <a:pt x="1128" y="29165"/>
                      <a:pt x="9149" y="36576"/>
                    </a:cubicBezTo>
                    <a:cubicBezTo>
                      <a:pt x="12266" y="39348"/>
                      <a:pt x="15678" y="41777"/>
                      <a:pt x="19318" y="43815"/>
                    </a:cubicBezTo>
                    <a:cubicBezTo>
                      <a:pt x="23224" y="46006"/>
                      <a:pt x="27330" y="47825"/>
                      <a:pt x="31578" y="49244"/>
                    </a:cubicBezTo>
                    <a:cubicBezTo>
                      <a:pt x="40901" y="52073"/>
                      <a:pt x="51013" y="49835"/>
                      <a:pt x="58283" y="43339"/>
                    </a:cubicBezTo>
                    <a:cubicBezTo>
                      <a:pt x="62142" y="39881"/>
                      <a:pt x="65620" y="36023"/>
                      <a:pt x="68643" y="31813"/>
                    </a:cubicBezTo>
                    <a:lnTo>
                      <a:pt x="68643" y="31813"/>
                    </a:lnTo>
                    <a:cubicBezTo>
                      <a:pt x="65440" y="36509"/>
                      <a:pt x="61667" y="40795"/>
                      <a:pt x="57428" y="44577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0" name="Google Shape;2833;p37">
                <a:extLst>
                  <a:ext uri="{FF2B5EF4-FFF2-40B4-BE49-F238E27FC236}">
                    <a16:creationId xmlns:a16="http://schemas.microsoft.com/office/drawing/2014/main" id="{96ED955C-4877-4354-BFC6-BED0AB449188}"/>
                  </a:ext>
                </a:extLst>
              </p:cNvPr>
              <p:cNvSpPr/>
              <p:nvPr/>
            </p:nvSpPr>
            <p:spPr>
              <a:xfrm>
                <a:off x="5752373" y="4115091"/>
                <a:ext cx="68187" cy="61619"/>
              </a:xfrm>
              <a:custGeom>
                <a:avLst/>
                <a:gdLst/>
                <a:ahLst/>
                <a:cxnLst/>
                <a:rect l="l" t="t" r="r" b="b"/>
                <a:pathLst>
                  <a:path w="68187" h="61619" extrusionOk="0">
                    <a:moveTo>
                      <a:pt x="64786" y="21997"/>
                    </a:moveTo>
                    <a:cubicBezTo>
                      <a:pt x="61098" y="17082"/>
                      <a:pt x="56403" y="13024"/>
                      <a:pt x="51005" y="10090"/>
                    </a:cubicBezTo>
                    <a:lnTo>
                      <a:pt x="50435" y="10090"/>
                    </a:lnTo>
                    <a:lnTo>
                      <a:pt x="41787" y="5518"/>
                    </a:lnTo>
                    <a:cubicBezTo>
                      <a:pt x="39506" y="4375"/>
                      <a:pt x="37130" y="3232"/>
                      <a:pt x="34754" y="2280"/>
                    </a:cubicBezTo>
                    <a:cubicBezTo>
                      <a:pt x="33205" y="1623"/>
                      <a:pt x="31617" y="1051"/>
                      <a:pt x="30002" y="565"/>
                    </a:cubicBezTo>
                    <a:cubicBezTo>
                      <a:pt x="22494" y="-1911"/>
                      <a:pt x="13845" y="4090"/>
                      <a:pt x="8618" y="11900"/>
                    </a:cubicBezTo>
                    <a:cubicBezTo>
                      <a:pt x="5767" y="16205"/>
                      <a:pt x="3382" y="20806"/>
                      <a:pt x="1490" y="25616"/>
                    </a:cubicBezTo>
                    <a:cubicBezTo>
                      <a:pt x="-1684" y="33551"/>
                      <a:pt x="312" y="42618"/>
                      <a:pt x="6527" y="48476"/>
                    </a:cubicBezTo>
                    <a:cubicBezTo>
                      <a:pt x="9417" y="51200"/>
                      <a:pt x="12610" y="53601"/>
                      <a:pt x="16031" y="55620"/>
                    </a:cubicBezTo>
                    <a:cubicBezTo>
                      <a:pt x="19491" y="57620"/>
                      <a:pt x="23159" y="59249"/>
                      <a:pt x="26960" y="60478"/>
                    </a:cubicBezTo>
                    <a:cubicBezTo>
                      <a:pt x="37871" y="63478"/>
                      <a:pt x="49542" y="60468"/>
                      <a:pt x="57658" y="52572"/>
                    </a:cubicBezTo>
                    <a:cubicBezTo>
                      <a:pt x="59882" y="50848"/>
                      <a:pt x="61896" y="48867"/>
                      <a:pt x="63645" y="46666"/>
                    </a:cubicBezTo>
                    <a:cubicBezTo>
                      <a:pt x="65850" y="43695"/>
                      <a:pt x="67285" y="40228"/>
                      <a:pt x="67827" y="36570"/>
                    </a:cubicBezTo>
                    <a:cubicBezTo>
                      <a:pt x="68825" y="31503"/>
                      <a:pt x="67732" y="26235"/>
                      <a:pt x="64786" y="21997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748" name="Google Shape;2834;p37">
              <a:extLst>
                <a:ext uri="{FF2B5EF4-FFF2-40B4-BE49-F238E27FC236}">
                  <a16:creationId xmlns:a16="http://schemas.microsoft.com/office/drawing/2014/main" id="{85696368-4E58-4475-8236-70525F9BBE7F}"/>
                </a:ext>
              </a:extLst>
            </p:cNvPr>
            <p:cNvGrpSpPr/>
            <p:nvPr/>
          </p:nvGrpSpPr>
          <p:grpSpPr>
            <a:xfrm flipH="1">
              <a:off x="3829267" y="2465054"/>
              <a:ext cx="683694" cy="518573"/>
              <a:chOff x="6621095" y="1452181"/>
              <a:chExt cx="330894" cy="250785"/>
            </a:xfrm>
          </p:grpSpPr>
          <p:sp>
            <p:nvSpPr>
              <p:cNvPr id="767" name="Google Shape;2835;p37">
                <a:extLst>
                  <a:ext uri="{FF2B5EF4-FFF2-40B4-BE49-F238E27FC236}">
                    <a16:creationId xmlns:a16="http://schemas.microsoft.com/office/drawing/2014/main" id="{4ACA15DA-5C4A-4730-979F-D79D9A01D0F8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8" name="Google Shape;2836;p37">
                <a:extLst>
                  <a:ext uri="{FF2B5EF4-FFF2-40B4-BE49-F238E27FC236}">
                    <a16:creationId xmlns:a16="http://schemas.microsoft.com/office/drawing/2014/main" id="{8816C9C6-28D0-4807-A775-5403E7A491AC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9" name="Google Shape;2837;p37">
                <a:extLst>
                  <a:ext uri="{FF2B5EF4-FFF2-40B4-BE49-F238E27FC236}">
                    <a16:creationId xmlns:a16="http://schemas.microsoft.com/office/drawing/2014/main" id="{3C04D7B1-0CF1-40CA-83DB-CE7F43D9D06A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0" name="Google Shape;2838;p37">
                <a:extLst>
                  <a:ext uri="{FF2B5EF4-FFF2-40B4-BE49-F238E27FC236}">
                    <a16:creationId xmlns:a16="http://schemas.microsoft.com/office/drawing/2014/main" id="{98650B55-71B0-4431-B9C9-AE997D5D6E3A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1" name="Google Shape;2839;p37">
                <a:extLst>
                  <a:ext uri="{FF2B5EF4-FFF2-40B4-BE49-F238E27FC236}">
                    <a16:creationId xmlns:a16="http://schemas.microsoft.com/office/drawing/2014/main" id="{7DCDDB8F-3EC7-4619-8FA3-4661AF03CA62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749" name="Google Shape;2840;p37">
              <a:extLst>
                <a:ext uri="{FF2B5EF4-FFF2-40B4-BE49-F238E27FC236}">
                  <a16:creationId xmlns:a16="http://schemas.microsoft.com/office/drawing/2014/main" id="{22B0A2A3-F6AD-4831-BBEA-7014D85C2163}"/>
                </a:ext>
              </a:extLst>
            </p:cNvPr>
            <p:cNvSpPr/>
            <p:nvPr/>
          </p:nvSpPr>
          <p:spPr>
            <a:xfrm rot="-1803147">
              <a:off x="6082659" y="320502"/>
              <a:ext cx="40427" cy="70097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0" name="Google Shape;2841;p37">
              <a:extLst>
                <a:ext uri="{FF2B5EF4-FFF2-40B4-BE49-F238E27FC236}">
                  <a16:creationId xmlns:a16="http://schemas.microsoft.com/office/drawing/2014/main" id="{96195388-C208-4045-B3D6-5A142A61EB27}"/>
                </a:ext>
              </a:extLst>
            </p:cNvPr>
            <p:cNvSpPr/>
            <p:nvPr/>
          </p:nvSpPr>
          <p:spPr>
            <a:xfrm>
              <a:off x="5777153" y="2115925"/>
              <a:ext cx="669353" cy="387341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1" name="Google Shape;2842;p37">
              <a:extLst>
                <a:ext uri="{FF2B5EF4-FFF2-40B4-BE49-F238E27FC236}">
                  <a16:creationId xmlns:a16="http://schemas.microsoft.com/office/drawing/2014/main" id="{2B001210-C444-41FE-A6DA-CC3C65BD0ABA}"/>
                </a:ext>
              </a:extLst>
            </p:cNvPr>
            <p:cNvSpPr/>
            <p:nvPr/>
          </p:nvSpPr>
          <p:spPr>
            <a:xfrm>
              <a:off x="5964040" y="276791"/>
              <a:ext cx="375852" cy="551229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2" name="Google Shape;2843;p37">
              <a:extLst>
                <a:ext uri="{FF2B5EF4-FFF2-40B4-BE49-F238E27FC236}">
                  <a16:creationId xmlns:a16="http://schemas.microsoft.com/office/drawing/2014/main" id="{C5433097-305E-4E74-A21B-3123C7C77F1B}"/>
                </a:ext>
              </a:extLst>
            </p:cNvPr>
            <p:cNvSpPr/>
            <p:nvPr/>
          </p:nvSpPr>
          <p:spPr>
            <a:xfrm>
              <a:off x="5952425" y="673402"/>
              <a:ext cx="70057" cy="407712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3" name="Google Shape;2844;p37">
              <a:extLst>
                <a:ext uri="{FF2B5EF4-FFF2-40B4-BE49-F238E27FC236}">
                  <a16:creationId xmlns:a16="http://schemas.microsoft.com/office/drawing/2014/main" id="{802FE508-73D2-435B-A6BF-A23CCEDE65B5}"/>
                </a:ext>
              </a:extLst>
            </p:cNvPr>
            <p:cNvSpPr/>
            <p:nvPr/>
          </p:nvSpPr>
          <p:spPr>
            <a:xfrm>
              <a:off x="5992903" y="271657"/>
              <a:ext cx="179035" cy="222681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4" name="Google Shape;2845;p37">
              <a:extLst>
                <a:ext uri="{FF2B5EF4-FFF2-40B4-BE49-F238E27FC236}">
                  <a16:creationId xmlns:a16="http://schemas.microsoft.com/office/drawing/2014/main" id="{A9AE9D13-C8BA-4B4D-BDD5-655681B19D77}"/>
                </a:ext>
              </a:extLst>
            </p:cNvPr>
            <p:cNvSpPr/>
            <p:nvPr/>
          </p:nvSpPr>
          <p:spPr>
            <a:xfrm>
              <a:off x="6027515" y="513497"/>
              <a:ext cx="222025" cy="248990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5" name="Google Shape;2846;p37">
              <a:extLst>
                <a:ext uri="{FF2B5EF4-FFF2-40B4-BE49-F238E27FC236}">
                  <a16:creationId xmlns:a16="http://schemas.microsoft.com/office/drawing/2014/main" id="{742D1E7A-154F-45CE-8F97-9094FD932253}"/>
                </a:ext>
              </a:extLst>
            </p:cNvPr>
            <p:cNvSpPr/>
            <p:nvPr/>
          </p:nvSpPr>
          <p:spPr>
            <a:xfrm>
              <a:off x="5963282" y="594790"/>
              <a:ext cx="323371" cy="372912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6" name="Google Shape;2847;p37">
              <a:extLst>
                <a:ext uri="{FF2B5EF4-FFF2-40B4-BE49-F238E27FC236}">
                  <a16:creationId xmlns:a16="http://schemas.microsoft.com/office/drawing/2014/main" id="{94B221EB-B3B0-495C-A97B-75906F700200}"/>
                </a:ext>
              </a:extLst>
            </p:cNvPr>
            <p:cNvSpPr/>
            <p:nvPr/>
          </p:nvSpPr>
          <p:spPr>
            <a:xfrm>
              <a:off x="6020709" y="289521"/>
              <a:ext cx="238064" cy="294179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7" name="Google Shape;2848;p37">
              <a:extLst>
                <a:ext uri="{FF2B5EF4-FFF2-40B4-BE49-F238E27FC236}">
                  <a16:creationId xmlns:a16="http://schemas.microsoft.com/office/drawing/2014/main" id="{AB793385-5BA6-407F-B6C1-A80705BD28C4}"/>
                </a:ext>
              </a:extLst>
            </p:cNvPr>
            <p:cNvSpPr/>
            <p:nvPr/>
          </p:nvSpPr>
          <p:spPr>
            <a:xfrm>
              <a:off x="6029967" y="288305"/>
              <a:ext cx="239492" cy="225171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8" name="Google Shape;2849;p37">
              <a:extLst>
                <a:ext uri="{FF2B5EF4-FFF2-40B4-BE49-F238E27FC236}">
                  <a16:creationId xmlns:a16="http://schemas.microsoft.com/office/drawing/2014/main" id="{2CF7B169-B79E-4DD9-9C40-822B69BDF5C9}"/>
                </a:ext>
              </a:extLst>
            </p:cNvPr>
            <p:cNvSpPr/>
            <p:nvPr/>
          </p:nvSpPr>
          <p:spPr>
            <a:xfrm>
              <a:off x="6069645" y="2237688"/>
              <a:ext cx="188076" cy="143860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9" name="Google Shape;2850;p37">
              <a:extLst>
                <a:ext uri="{FF2B5EF4-FFF2-40B4-BE49-F238E27FC236}">
                  <a16:creationId xmlns:a16="http://schemas.microsoft.com/office/drawing/2014/main" id="{242519FE-7FA9-4141-9F32-0519B91282E0}"/>
                </a:ext>
              </a:extLst>
            </p:cNvPr>
            <p:cNvSpPr/>
            <p:nvPr/>
          </p:nvSpPr>
          <p:spPr>
            <a:xfrm>
              <a:off x="6070415" y="2283614"/>
              <a:ext cx="187263" cy="97891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0" name="Google Shape;2851;p37">
              <a:extLst>
                <a:ext uri="{FF2B5EF4-FFF2-40B4-BE49-F238E27FC236}">
                  <a16:creationId xmlns:a16="http://schemas.microsoft.com/office/drawing/2014/main" id="{4BD3AF23-7E4B-4D07-B6C6-D508B8B4FD97}"/>
                </a:ext>
              </a:extLst>
            </p:cNvPr>
            <p:cNvSpPr/>
            <p:nvPr/>
          </p:nvSpPr>
          <p:spPr>
            <a:xfrm>
              <a:off x="5927157" y="2205996"/>
              <a:ext cx="172547" cy="133696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1" name="Google Shape;2852;p37">
              <a:extLst>
                <a:ext uri="{FF2B5EF4-FFF2-40B4-BE49-F238E27FC236}">
                  <a16:creationId xmlns:a16="http://schemas.microsoft.com/office/drawing/2014/main" id="{B9FBDE55-C503-4ACE-A67D-5E73F13DFA31}"/>
                </a:ext>
              </a:extLst>
            </p:cNvPr>
            <p:cNvSpPr/>
            <p:nvPr/>
          </p:nvSpPr>
          <p:spPr>
            <a:xfrm>
              <a:off x="5927737" y="2249998"/>
              <a:ext cx="171800" cy="89748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2" name="Google Shape;2853;p37">
              <a:extLst>
                <a:ext uri="{FF2B5EF4-FFF2-40B4-BE49-F238E27FC236}">
                  <a16:creationId xmlns:a16="http://schemas.microsoft.com/office/drawing/2014/main" id="{62825E47-0E39-4DDE-8267-84D7254D79C4}"/>
                </a:ext>
              </a:extLst>
            </p:cNvPr>
            <p:cNvSpPr/>
            <p:nvPr/>
          </p:nvSpPr>
          <p:spPr>
            <a:xfrm>
              <a:off x="5955035" y="963103"/>
              <a:ext cx="368082" cy="128814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3" name="Google Shape;2854;p37">
              <a:extLst>
                <a:ext uri="{FF2B5EF4-FFF2-40B4-BE49-F238E27FC236}">
                  <a16:creationId xmlns:a16="http://schemas.microsoft.com/office/drawing/2014/main" id="{3D33EFAF-A0A9-477D-BE1A-4B75B43AE707}"/>
                </a:ext>
              </a:extLst>
            </p:cNvPr>
            <p:cNvSpPr/>
            <p:nvPr/>
          </p:nvSpPr>
          <p:spPr>
            <a:xfrm>
              <a:off x="5939457" y="937334"/>
              <a:ext cx="391797" cy="856741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4" name="Google Shape;2855;p37">
              <a:extLst>
                <a:ext uri="{FF2B5EF4-FFF2-40B4-BE49-F238E27FC236}">
                  <a16:creationId xmlns:a16="http://schemas.microsoft.com/office/drawing/2014/main" id="{0F684BCC-665D-47DD-99C6-1D04BC23DCD3}"/>
                </a:ext>
              </a:extLst>
            </p:cNvPr>
            <p:cNvSpPr/>
            <p:nvPr/>
          </p:nvSpPr>
          <p:spPr>
            <a:xfrm>
              <a:off x="5733626" y="681017"/>
              <a:ext cx="564393" cy="49234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5" name="Google Shape;2856;p37">
              <a:extLst>
                <a:ext uri="{FF2B5EF4-FFF2-40B4-BE49-F238E27FC236}">
                  <a16:creationId xmlns:a16="http://schemas.microsoft.com/office/drawing/2014/main" id="{B183BEC9-77BC-473A-A045-3E2680D5460B}"/>
                </a:ext>
              </a:extLst>
            </p:cNvPr>
            <p:cNvSpPr/>
            <p:nvPr/>
          </p:nvSpPr>
          <p:spPr>
            <a:xfrm>
              <a:off x="6171801" y="649512"/>
              <a:ext cx="135912" cy="159574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6" name="Google Shape;2857;p37">
              <a:extLst>
                <a:ext uri="{FF2B5EF4-FFF2-40B4-BE49-F238E27FC236}">
                  <a16:creationId xmlns:a16="http://schemas.microsoft.com/office/drawing/2014/main" id="{563D4191-D7FD-40B9-90E0-52EA32BBE703}"/>
                </a:ext>
              </a:extLst>
            </p:cNvPr>
            <p:cNvSpPr/>
            <p:nvPr/>
          </p:nvSpPr>
          <p:spPr>
            <a:xfrm>
              <a:off x="5953447" y="594810"/>
              <a:ext cx="109819" cy="11544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2" name="Google Shape;2212;p35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ferences</a:t>
            </a:r>
            <a:endParaRPr dirty="0"/>
          </a:p>
        </p:txBody>
      </p:sp>
      <p:sp>
        <p:nvSpPr>
          <p:cNvPr id="2214" name="Google Shape;2214;p35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7</a:t>
            </a:fld>
            <a:endParaRPr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3BBC783-F14A-4332-A7D3-7ADFA272BA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8000565"/>
              </p:ext>
            </p:extLst>
          </p:nvPr>
        </p:nvGraphicFramePr>
        <p:xfrm>
          <a:off x="457200" y="1264597"/>
          <a:ext cx="8229600" cy="3465864"/>
        </p:xfrm>
        <a:graphic>
          <a:graphicData uri="http://schemas.openxmlformats.org/drawingml/2006/table">
            <a:tbl>
              <a:tblPr firstRow="1" firstCol="1" bandRow="1">
                <a:tableStyleId>{5CD5B7B9-7AAB-4E71-8935-5ACDFAD8A81C}</a:tableStyleId>
              </a:tblPr>
              <a:tblGrid>
                <a:gridCol w="359923">
                  <a:extLst>
                    <a:ext uri="{9D8B030D-6E8A-4147-A177-3AD203B41FA5}">
                      <a16:colId xmlns:a16="http://schemas.microsoft.com/office/drawing/2014/main" val="3690203811"/>
                    </a:ext>
                  </a:extLst>
                </a:gridCol>
                <a:gridCol w="7869677">
                  <a:extLst>
                    <a:ext uri="{9D8B030D-6E8A-4147-A177-3AD203B41FA5}">
                      <a16:colId xmlns:a16="http://schemas.microsoft.com/office/drawing/2014/main" val="3721164306"/>
                    </a:ext>
                  </a:extLst>
                </a:gridCol>
              </a:tblGrid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1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Newsroom, "Data Analyst, the most in-demand job of the coming years," 2018 February 21. [Online]. Available: https://www.morningfuture.com/en/article/2018/02/21/data-analyst-data-scientist-big-data-work/235/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3689919197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>
                          <a:effectLst/>
                        </a:rPr>
                        <a:t>[2] </a:t>
                      </a:r>
                      <a:endParaRPr lang="en-CA" sz="8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Purdue University Global, "Rise of the Data Analyst—What’s Behind the Boom?," 16 September 2019. [Online]. Available: https://www.purdueglobal.edu/blog/information-technology/rise-of-data-analyst/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100375978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3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edureka, "10 Reasons Why Big Data Analytics is the Best Career Move," 23 July 2020. [Online]. Available: https://www.edureka.co/blog/10-reasons-why-big-data-analytics-is-the-best-career-move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1373984024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>
                          <a:effectLst/>
                        </a:rPr>
                        <a:t>[4] </a:t>
                      </a:r>
                      <a:endParaRPr lang="en-CA" sz="8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SAS, "ETL What it is and why it matters," [Online]. </a:t>
                      </a:r>
                      <a:r>
                        <a:rPr lang="fr-CA" sz="1000">
                          <a:effectLst/>
                        </a:rPr>
                        <a:t>Available: https://www.sas.com/en_ca/insights/data-management/what-is-etl.html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2192398276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5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Open Sourcing Mental Illness, LTD, "Mental Health in Tech Survey," 2014. [Online]. Available: https://www.kaggle.com/osmi/mental-health-in-tech-survey. 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2529398411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6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M. O'Neill, "World University Rankings," 2019. [Online]. Available: https://www.kaggle.com/mylesoneill/world-university-rankings. 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1349599984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7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Indeed Singapore, "Indeed Singapore," [Online]. </a:t>
                      </a:r>
                      <a:r>
                        <a:rPr lang="fr-CA" sz="1000" dirty="0" err="1">
                          <a:effectLst/>
                        </a:rPr>
                        <a:t>Available</a:t>
                      </a:r>
                      <a:r>
                        <a:rPr lang="fr-CA" sz="1000" dirty="0">
                          <a:effectLst/>
                        </a:rPr>
                        <a:t>: https://sg.indeed.com/. </a:t>
                      </a:r>
                      <a:r>
                        <a:rPr lang="en-US" sz="1000" dirty="0">
                          <a:effectLst/>
                        </a:rPr>
                        <a:t>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1183674928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8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Indeed Canada, "Indeed Canada," [Online]. </a:t>
                      </a:r>
                      <a:r>
                        <a:rPr lang="fr-CA" sz="1000">
                          <a:effectLst/>
                        </a:rPr>
                        <a:t>Available: https://ca.indeed.com/. </a:t>
                      </a:r>
                      <a:r>
                        <a:rPr lang="en-US" sz="1000">
                          <a:effectLst/>
                        </a:rPr>
                        <a:t>[Accessed 15 December 2020]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788930684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9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Indeed Australia, "Indeed Australia," [Online]. </a:t>
                      </a:r>
                      <a:r>
                        <a:rPr lang="fr-CA" sz="1000" dirty="0" err="1">
                          <a:effectLst/>
                        </a:rPr>
                        <a:t>Available</a:t>
                      </a:r>
                      <a:r>
                        <a:rPr lang="fr-CA" sz="1000" dirty="0">
                          <a:effectLst/>
                        </a:rPr>
                        <a:t>: https://au.indeed.com/. </a:t>
                      </a:r>
                      <a:r>
                        <a:rPr lang="en-US" sz="1000" dirty="0">
                          <a:effectLst/>
                        </a:rPr>
                        <a:t>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3130258077"/>
                  </a:ext>
                </a:extLst>
              </a:tr>
              <a:tr h="43695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10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Indeed US, "Indeed US," [Online]. </a:t>
                      </a:r>
                      <a:r>
                        <a:rPr lang="fr-CA" sz="1000" dirty="0" err="1">
                          <a:effectLst/>
                        </a:rPr>
                        <a:t>Available</a:t>
                      </a:r>
                      <a:r>
                        <a:rPr lang="fr-CA" sz="1000" dirty="0">
                          <a:effectLst/>
                        </a:rPr>
                        <a:t>: https://www.indeed.com/. </a:t>
                      </a:r>
                      <a:r>
                        <a:rPr lang="en-US" sz="1000" dirty="0">
                          <a:effectLst/>
                        </a:rPr>
                        <a:t>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19973806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54743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Project motivation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780361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What questions do we answer?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1</a:t>
            </a:r>
            <a:endParaRPr sz="3600" b="1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2749;p37">
            <a:extLst>
              <a:ext uri="{FF2B5EF4-FFF2-40B4-BE49-F238E27FC236}">
                <a16:creationId xmlns:a16="http://schemas.microsoft.com/office/drawing/2014/main" id="{6F6CED76-041B-4961-922A-505FE06ED9FD}"/>
              </a:ext>
            </a:extLst>
          </p:cNvPr>
          <p:cNvGrpSpPr/>
          <p:nvPr/>
        </p:nvGrpSpPr>
        <p:grpSpPr>
          <a:xfrm>
            <a:off x="5116617" y="899989"/>
            <a:ext cx="3095007" cy="3343521"/>
            <a:chOff x="2152750" y="190500"/>
            <a:chExt cx="4293756" cy="4762499"/>
          </a:xfrm>
        </p:grpSpPr>
        <p:sp>
          <p:nvSpPr>
            <p:cNvPr id="112" name="Google Shape;2750;p37">
              <a:extLst>
                <a:ext uri="{FF2B5EF4-FFF2-40B4-BE49-F238E27FC236}">
                  <a16:creationId xmlns:a16="http://schemas.microsoft.com/office/drawing/2014/main" id="{7F4FAE64-B229-4FF3-8B6E-7F8A7E519556}"/>
                </a:ext>
              </a:extLst>
            </p:cNvPr>
            <p:cNvSpPr/>
            <p:nvPr/>
          </p:nvSpPr>
          <p:spPr>
            <a:xfrm>
              <a:off x="2152750" y="2957607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2" y="218980"/>
                  </a:moveTo>
                  <a:cubicBezTo>
                    <a:pt x="756692" y="339919"/>
                    <a:pt x="587300" y="437959"/>
                    <a:pt x="378346" y="437959"/>
                  </a:cubicBezTo>
                  <a:cubicBezTo>
                    <a:pt x="169391" y="437959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2" y="98041"/>
                    <a:pt x="756692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2751;p37">
              <a:extLst>
                <a:ext uri="{FF2B5EF4-FFF2-40B4-BE49-F238E27FC236}">
                  <a16:creationId xmlns:a16="http://schemas.microsoft.com/office/drawing/2014/main" id="{C3E0BF7C-49BC-4AAD-B8CB-18CA107EC611}"/>
                </a:ext>
              </a:extLst>
            </p:cNvPr>
            <p:cNvSpPr/>
            <p:nvPr/>
          </p:nvSpPr>
          <p:spPr>
            <a:xfrm>
              <a:off x="2318956" y="3109336"/>
              <a:ext cx="225716" cy="175248"/>
            </a:xfrm>
            <a:custGeom>
              <a:avLst/>
              <a:gdLst/>
              <a:ahLst/>
              <a:cxnLst/>
              <a:rect l="l" t="t" r="r" b="b"/>
              <a:pathLst>
                <a:path w="225716" h="175248" extrusionOk="0">
                  <a:moveTo>
                    <a:pt x="18072" y="5"/>
                  </a:moveTo>
                  <a:cubicBezTo>
                    <a:pt x="45158" y="22103"/>
                    <a:pt x="85074" y="1910"/>
                    <a:pt x="87070" y="3910"/>
                  </a:cubicBezTo>
                  <a:cubicBezTo>
                    <a:pt x="118886" y="33494"/>
                    <a:pt x="152260" y="61346"/>
                    <a:pt x="187050" y="87349"/>
                  </a:cubicBezTo>
                  <a:cubicBezTo>
                    <a:pt x="203871" y="100684"/>
                    <a:pt x="230197" y="118400"/>
                    <a:pt x="225065" y="144023"/>
                  </a:cubicBezTo>
                  <a:cubicBezTo>
                    <a:pt x="216511" y="189742"/>
                    <a:pt x="143522" y="175646"/>
                    <a:pt x="115961" y="161644"/>
                  </a:cubicBezTo>
                  <a:cubicBezTo>
                    <a:pt x="88400" y="147642"/>
                    <a:pt x="65876" y="124496"/>
                    <a:pt x="39931" y="108304"/>
                  </a:cubicBezTo>
                  <a:cubicBezTo>
                    <a:pt x="20924" y="96683"/>
                    <a:pt x="2961" y="90682"/>
                    <a:pt x="110" y="67156"/>
                  </a:cubicBezTo>
                  <a:cubicBezTo>
                    <a:pt x="-1410" y="52964"/>
                    <a:pt x="13225" y="-567"/>
                    <a:pt x="1807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2752;p37">
              <a:extLst>
                <a:ext uri="{FF2B5EF4-FFF2-40B4-BE49-F238E27FC236}">
                  <a16:creationId xmlns:a16="http://schemas.microsoft.com/office/drawing/2014/main" id="{7D2BCCB4-2C62-424E-B3DC-A8876199597C}"/>
                </a:ext>
              </a:extLst>
            </p:cNvPr>
            <p:cNvSpPr/>
            <p:nvPr/>
          </p:nvSpPr>
          <p:spPr>
            <a:xfrm>
              <a:off x="2319304" y="3166967"/>
              <a:ext cx="224715" cy="117585"/>
            </a:xfrm>
            <a:custGeom>
              <a:avLst/>
              <a:gdLst/>
              <a:ahLst/>
              <a:cxnLst/>
              <a:rect l="l" t="t" r="r" b="b"/>
              <a:pathLst>
                <a:path w="224715" h="117585" extrusionOk="0">
                  <a:moveTo>
                    <a:pt x="427" y="0"/>
                  </a:moveTo>
                  <a:cubicBezTo>
                    <a:pt x="3943" y="22574"/>
                    <a:pt x="22000" y="28575"/>
                    <a:pt x="40533" y="40291"/>
                  </a:cubicBezTo>
                  <a:cubicBezTo>
                    <a:pt x="66953" y="56769"/>
                    <a:pt x="90332" y="80582"/>
                    <a:pt x="117893" y="94583"/>
                  </a:cubicBezTo>
                  <a:cubicBezTo>
                    <a:pt x="143364" y="107442"/>
                    <a:pt x="206849" y="120301"/>
                    <a:pt x="224716" y="87630"/>
                  </a:cubicBezTo>
                  <a:cubicBezTo>
                    <a:pt x="215212" y="131731"/>
                    <a:pt x="143269" y="117920"/>
                    <a:pt x="115993" y="104013"/>
                  </a:cubicBezTo>
                  <a:cubicBezTo>
                    <a:pt x="88717" y="90107"/>
                    <a:pt x="65908" y="66866"/>
                    <a:pt x="39962" y="50673"/>
                  </a:cubicBezTo>
                  <a:cubicBezTo>
                    <a:pt x="20955" y="39053"/>
                    <a:pt x="2993" y="33052"/>
                    <a:pt x="142" y="9525"/>
                  </a:cubicBezTo>
                  <a:cubicBezTo>
                    <a:pt x="-117" y="6353"/>
                    <a:pt x="-21" y="3153"/>
                    <a:pt x="42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2753;p37">
              <a:extLst>
                <a:ext uri="{FF2B5EF4-FFF2-40B4-BE49-F238E27FC236}">
                  <a16:creationId xmlns:a16="http://schemas.microsoft.com/office/drawing/2014/main" id="{8B2ACC44-78F7-4D1F-B1E2-4B7D9E206F01}"/>
                </a:ext>
              </a:extLst>
            </p:cNvPr>
            <p:cNvSpPr/>
            <p:nvPr/>
          </p:nvSpPr>
          <p:spPr>
            <a:xfrm>
              <a:off x="2550431" y="3021675"/>
              <a:ext cx="225586" cy="168802"/>
            </a:xfrm>
            <a:custGeom>
              <a:avLst/>
              <a:gdLst/>
              <a:ahLst/>
              <a:cxnLst/>
              <a:rect l="l" t="t" r="r" b="b"/>
              <a:pathLst>
                <a:path w="225586" h="168802" extrusionOk="0">
                  <a:moveTo>
                    <a:pt x="21626" y="130"/>
                  </a:moveTo>
                  <a:cubicBezTo>
                    <a:pt x="48617" y="22228"/>
                    <a:pt x="96040" y="-1965"/>
                    <a:pt x="97656" y="130"/>
                  </a:cubicBezTo>
                  <a:cubicBezTo>
                    <a:pt x="125867" y="28715"/>
                    <a:pt x="155661" y="55680"/>
                    <a:pt x="186897" y="80902"/>
                  </a:cubicBezTo>
                  <a:cubicBezTo>
                    <a:pt x="203813" y="94237"/>
                    <a:pt x="230139" y="111954"/>
                    <a:pt x="224912" y="137576"/>
                  </a:cubicBezTo>
                  <a:cubicBezTo>
                    <a:pt x="216358" y="183296"/>
                    <a:pt x="143369" y="169199"/>
                    <a:pt x="115808" y="155197"/>
                  </a:cubicBezTo>
                  <a:cubicBezTo>
                    <a:pt x="88247" y="141196"/>
                    <a:pt x="65723" y="118050"/>
                    <a:pt x="39778" y="101857"/>
                  </a:cubicBezTo>
                  <a:cubicBezTo>
                    <a:pt x="20770" y="90237"/>
                    <a:pt x="2903" y="84236"/>
                    <a:pt x="52" y="60709"/>
                  </a:cubicBezTo>
                  <a:cubicBezTo>
                    <a:pt x="-1088" y="46517"/>
                    <a:pt x="16779" y="-441"/>
                    <a:pt x="21626" y="13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2754;p37">
              <a:extLst>
                <a:ext uri="{FF2B5EF4-FFF2-40B4-BE49-F238E27FC236}">
                  <a16:creationId xmlns:a16="http://schemas.microsoft.com/office/drawing/2014/main" id="{D043FB33-250B-47A9-ADCA-812F14112F81}"/>
                </a:ext>
              </a:extLst>
            </p:cNvPr>
            <p:cNvSpPr/>
            <p:nvPr/>
          </p:nvSpPr>
          <p:spPr>
            <a:xfrm>
              <a:off x="2551534" y="3076575"/>
              <a:ext cx="224758" cy="117584"/>
            </a:xfrm>
            <a:custGeom>
              <a:avLst/>
              <a:gdLst/>
              <a:ahLst/>
              <a:cxnLst/>
              <a:rect l="l" t="t" r="r" b="b"/>
              <a:pathLst>
                <a:path w="224758" h="117584" extrusionOk="0">
                  <a:moveTo>
                    <a:pt x="375" y="0"/>
                  </a:moveTo>
                  <a:cubicBezTo>
                    <a:pt x="3986" y="22574"/>
                    <a:pt x="22043" y="28575"/>
                    <a:pt x="40481" y="40291"/>
                  </a:cubicBezTo>
                  <a:cubicBezTo>
                    <a:pt x="66996" y="56769"/>
                    <a:pt x="90375" y="80581"/>
                    <a:pt x="117841" y="94583"/>
                  </a:cubicBezTo>
                  <a:cubicBezTo>
                    <a:pt x="143312" y="107442"/>
                    <a:pt x="206892" y="120301"/>
                    <a:pt x="224759" y="87630"/>
                  </a:cubicBezTo>
                  <a:cubicBezTo>
                    <a:pt x="215255" y="131731"/>
                    <a:pt x="143217" y="117920"/>
                    <a:pt x="115941" y="104013"/>
                  </a:cubicBezTo>
                  <a:cubicBezTo>
                    <a:pt x="88665" y="90106"/>
                    <a:pt x="65951" y="66865"/>
                    <a:pt x="39910" y="50673"/>
                  </a:cubicBezTo>
                  <a:cubicBezTo>
                    <a:pt x="21378" y="39053"/>
                    <a:pt x="3036" y="33052"/>
                    <a:pt x="185" y="9525"/>
                  </a:cubicBezTo>
                  <a:cubicBezTo>
                    <a:pt x="-114" y="6353"/>
                    <a:pt x="-50" y="3153"/>
                    <a:pt x="37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2755;p37">
              <a:extLst>
                <a:ext uri="{FF2B5EF4-FFF2-40B4-BE49-F238E27FC236}">
                  <a16:creationId xmlns:a16="http://schemas.microsoft.com/office/drawing/2014/main" id="{A981A6EB-2D24-4594-9F05-2AC86595CC30}"/>
                </a:ext>
              </a:extLst>
            </p:cNvPr>
            <p:cNvSpPr/>
            <p:nvPr/>
          </p:nvSpPr>
          <p:spPr>
            <a:xfrm>
              <a:off x="2330724" y="2010537"/>
              <a:ext cx="387976" cy="1115665"/>
            </a:xfrm>
            <a:custGeom>
              <a:avLst/>
              <a:gdLst/>
              <a:ahLst/>
              <a:cxnLst/>
              <a:rect l="l" t="t" r="r" b="b"/>
              <a:pathLst>
                <a:path w="387976" h="1115665" extrusionOk="0">
                  <a:moveTo>
                    <a:pt x="4689" y="96964"/>
                  </a:moveTo>
                  <a:cubicBezTo>
                    <a:pt x="6019" y="138017"/>
                    <a:pt x="18754" y="316039"/>
                    <a:pt x="24456" y="410623"/>
                  </a:cubicBezTo>
                  <a:cubicBezTo>
                    <a:pt x="30159" y="505206"/>
                    <a:pt x="31489" y="620173"/>
                    <a:pt x="31489" y="620173"/>
                  </a:cubicBezTo>
                  <a:cubicBezTo>
                    <a:pt x="31489" y="620173"/>
                    <a:pt x="15238" y="688943"/>
                    <a:pt x="4689" y="769715"/>
                  </a:cubicBezTo>
                  <a:cubicBezTo>
                    <a:pt x="-5861" y="850487"/>
                    <a:pt x="4689" y="1105472"/>
                    <a:pt x="4689" y="1105472"/>
                  </a:cubicBezTo>
                  <a:cubicBezTo>
                    <a:pt x="25827" y="1119064"/>
                    <a:pt x="52928" y="1119064"/>
                    <a:pt x="74066" y="1105472"/>
                  </a:cubicBezTo>
                  <a:cubicBezTo>
                    <a:pt x="74066" y="1105472"/>
                    <a:pt x="117403" y="901446"/>
                    <a:pt x="137456" y="809530"/>
                  </a:cubicBezTo>
                  <a:cubicBezTo>
                    <a:pt x="157509" y="717614"/>
                    <a:pt x="161026" y="664559"/>
                    <a:pt x="171480" y="607600"/>
                  </a:cubicBezTo>
                  <a:cubicBezTo>
                    <a:pt x="184025" y="538639"/>
                    <a:pt x="211206" y="217075"/>
                    <a:pt x="211206" y="217075"/>
                  </a:cubicBezTo>
                  <a:lnTo>
                    <a:pt x="222040" y="217742"/>
                  </a:lnTo>
                  <a:lnTo>
                    <a:pt x="250551" y="580930"/>
                  </a:lnTo>
                  <a:cubicBezTo>
                    <a:pt x="241642" y="607685"/>
                    <a:pt x="235526" y="635299"/>
                    <a:pt x="232304" y="663321"/>
                  </a:cubicBezTo>
                  <a:cubicBezTo>
                    <a:pt x="224416" y="722471"/>
                    <a:pt x="240573" y="1020127"/>
                    <a:pt x="240573" y="1020127"/>
                  </a:cubicBezTo>
                  <a:cubicBezTo>
                    <a:pt x="264164" y="1033272"/>
                    <a:pt x="293106" y="1032091"/>
                    <a:pt x="315557" y="1017079"/>
                  </a:cubicBezTo>
                  <a:cubicBezTo>
                    <a:pt x="315557" y="1017079"/>
                    <a:pt x="387976" y="622840"/>
                    <a:pt x="387976" y="562832"/>
                  </a:cubicBezTo>
                  <a:cubicBezTo>
                    <a:pt x="387976" y="523208"/>
                    <a:pt x="381229" y="0"/>
                    <a:pt x="3812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2756;p37">
              <a:extLst>
                <a:ext uri="{FF2B5EF4-FFF2-40B4-BE49-F238E27FC236}">
                  <a16:creationId xmlns:a16="http://schemas.microsoft.com/office/drawing/2014/main" id="{8327A1A3-B6D5-4D0D-97FE-935BFC2891C1}"/>
                </a:ext>
              </a:extLst>
            </p:cNvPr>
            <p:cNvSpPr/>
            <p:nvPr/>
          </p:nvSpPr>
          <p:spPr>
            <a:xfrm>
              <a:off x="2382705" y="1314450"/>
              <a:ext cx="248692" cy="242377"/>
            </a:xfrm>
            <a:custGeom>
              <a:avLst/>
              <a:gdLst/>
              <a:ahLst/>
              <a:cxnLst/>
              <a:rect l="l" t="t" r="r" b="b"/>
              <a:pathLst>
                <a:path w="248692" h="242377" extrusionOk="0">
                  <a:moveTo>
                    <a:pt x="50881" y="0"/>
                  </a:moveTo>
                  <a:cubicBezTo>
                    <a:pt x="50881" y="0"/>
                    <a:pt x="55538" y="89440"/>
                    <a:pt x="53542" y="97346"/>
                  </a:cubicBezTo>
                  <a:cubicBezTo>
                    <a:pt x="51546" y="105251"/>
                    <a:pt x="12486" y="131540"/>
                    <a:pt x="1176" y="140970"/>
                  </a:cubicBezTo>
                  <a:cubicBezTo>
                    <a:pt x="-10133" y="150400"/>
                    <a:pt x="62951" y="222599"/>
                    <a:pt x="98400" y="238887"/>
                  </a:cubicBezTo>
                  <a:cubicBezTo>
                    <a:pt x="133849" y="255175"/>
                    <a:pt x="246564" y="212217"/>
                    <a:pt x="248560" y="156782"/>
                  </a:cubicBezTo>
                  <a:cubicBezTo>
                    <a:pt x="250556" y="101346"/>
                    <a:pt x="229552" y="54769"/>
                    <a:pt x="211970" y="52006"/>
                  </a:cubicBezTo>
                  <a:cubicBezTo>
                    <a:pt x="194388" y="49244"/>
                    <a:pt x="50881" y="0"/>
                    <a:pt x="50881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2757;p37">
              <a:extLst>
                <a:ext uri="{FF2B5EF4-FFF2-40B4-BE49-F238E27FC236}">
                  <a16:creationId xmlns:a16="http://schemas.microsoft.com/office/drawing/2014/main" id="{27350236-3D57-4107-A4A6-BDC4F4374B1A}"/>
                </a:ext>
              </a:extLst>
            </p:cNvPr>
            <p:cNvSpPr/>
            <p:nvPr/>
          </p:nvSpPr>
          <p:spPr>
            <a:xfrm>
              <a:off x="2671394" y="1371981"/>
              <a:ext cx="353519" cy="695039"/>
            </a:xfrm>
            <a:custGeom>
              <a:avLst/>
              <a:gdLst/>
              <a:ahLst/>
              <a:cxnLst/>
              <a:rect l="l" t="t" r="r" b="b"/>
              <a:pathLst>
                <a:path w="353519" h="695039" extrusionOk="0">
                  <a:moveTo>
                    <a:pt x="6725" y="108394"/>
                  </a:moveTo>
                  <a:cubicBezTo>
                    <a:pt x="11952" y="68961"/>
                    <a:pt x="-13993" y="31432"/>
                    <a:pt x="11192" y="0"/>
                  </a:cubicBezTo>
                  <a:cubicBezTo>
                    <a:pt x="99292" y="86582"/>
                    <a:pt x="88077" y="315754"/>
                    <a:pt x="108130" y="462344"/>
                  </a:cubicBezTo>
                  <a:cubicBezTo>
                    <a:pt x="173516" y="530924"/>
                    <a:pt x="305049" y="598456"/>
                    <a:pt x="342114" y="614744"/>
                  </a:cubicBezTo>
                  <a:cubicBezTo>
                    <a:pt x="348861" y="617791"/>
                    <a:pt x="354659" y="621030"/>
                    <a:pt x="353328" y="628364"/>
                  </a:cubicBezTo>
                  <a:cubicBezTo>
                    <a:pt x="348006" y="656939"/>
                    <a:pt x="339738" y="667798"/>
                    <a:pt x="322726" y="695039"/>
                  </a:cubicBezTo>
                  <a:cubicBezTo>
                    <a:pt x="235671" y="657415"/>
                    <a:pt x="172946" y="635794"/>
                    <a:pt x="64223" y="532257"/>
                  </a:cubicBezTo>
                  <a:cubicBezTo>
                    <a:pt x="53909" y="521094"/>
                    <a:pt x="44680" y="508978"/>
                    <a:pt x="36662" y="496062"/>
                  </a:cubicBezTo>
                  <a:cubicBezTo>
                    <a:pt x="5584" y="403479"/>
                    <a:pt x="-2209" y="176498"/>
                    <a:pt x="6725" y="1083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2758;p37">
              <a:extLst>
                <a:ext uri="{FF2B5EF4-FFF2-40B4-BE49-F238E27FC236}">
                  <a16:creationId xmlns:a16="http://schemas.microsoft.com/office/drawing/2014/main" id="{127AAF9E-B28F-4642-9233-A8946058549A}"/>
                </a:ext>
              </a:extLst>
            </p:cNvPr>
            <p:cNvSpPr/>
            <p:nvPr/>
          </p:nvSpPr>
          <p:spPr>
            <a:xfrm>
              <a:off x="2315965" y="1348763"/>
              <a:ext cx="403432" cy="814679"/>
            </a:xfrm>
            <a:custGeom>
              <a:avLst/>
              <a:gdLst/>
              <a:ahLst/>
              <a:cxnLst/>
              <a:rect l="l" t="t" r="r" b="b"/>
              <a:pathLst>
                <a:path w="403432" h="814679" extrusionOk="0">
                  <a:moveTo>
                    <a:pt x="107642" y="78462"/>
                  </a:moveTo>
                  <a:cubicBezTo>
                    <a:pt x="107642" y="78462"/>
                    <a:pt x="172458" y="175236"/>
                    <a:pt x="262839" y="184761"/>
                  </a:cubicBezTo>
                  <a:cubicBezTo>
                    <a:pt x="291351" y="156186"/>
                    <a:pt x="293917" y="56364"/>
                    <a:pt x="254476" y="24360"/>
                  </a:cubicBezTo>
                  <a:cubicBezTo>
                    <a:pt x="254476" y="24360"/>
                    <a:pt x="290780" y="-4977"/>
                    <a:pt x="315585" y="738"/>
                  </a:cubicBezTo>
                  <a:cubicBezTo>
                    <a:pt x="342222" y="16921"/>
                    <a:pt x="362057" y="42286"/>
                    <a:pt x="371373" y="72081"/>
                  </a:cubicBezTo>
                  <a:cubicBezTo>
                    <a:pt x="394367" y="138651"/>
                    <a:pt x="405154" y="208831"/>
                    <a:pt x="403210" y="279249"/>
                  </a:cubicBezTo>
                  <a:cubicBezTo>
                    <a:pt x="401690" y="374499"/>
                    <a:pt x="403210" y="664250"/>
                    <a:pt x="403210" y="664250"/>
                  </a:cubicBezTo>
                  <a:cubicBezTo>
                    <a:pt x="403210" y="664250"/>
                    <a:pt x="390570" y="725591"/>
                    <a:pt x="308838" y="771216"/>
                  </a:cubicBezTo>
                  <a:cubicBezTo>
                    <a:pt x="227105" y="816840"/>
                    <a:pt x="166281" y="821317"/>
                    <a:pt x="110874" y="808363"/>
                  </a:cubicBezTo>
                  <a:cubicBezTo>
                    <a:pt x="65065" y="797695"/>
                    <a:pt x="27240" y="781503"/>
                    <a:pt x="11559" y="748260"/>
                  </a:cubicBezTo>
                  <a:cubicBezTo>
                    <a:pt x="15646" y="681585"/>
                    <a:pt x="45298" y="508040"/>
                    <a:pt x="34178" y="424410"/>
                  </a:cubicBezTo>
                  <a:cubicBezTo>
                    <a:pt x="23059" y="340781"/>
                    <a:pt x="5667" y="278202"/>
                    <a:pt x="915" y="210574"/>
                  </a:cubicBezTo>
                  <a:cubicBezTo>
                    <a:pt x="-3837" y="142947"/>
                    <a:pt x="9848" y="143899"/>
                    <a:pt x="43682" y="120182"/>
                  </a:cubicBezTo>
                  <a:cubicBezTo>
                    <a:pt x="63986" y="104770"/>
                    <a:pt x="85361" y="90826"/>
                    <a:pt x="107642" y="7846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2759;p37">
              <a:extLst>
                <a:ext uri="{FF2B5EF4-FFF2-40B4-BE49-F238E27FC236}">
                  <a16:creationId xmlns:a16="http://schemas.microsoft.com/office/drawing/2014/main" id="{8B813FF6-A01C-4405-A8F4-6C14D06BE2CD}"/>
                </a:ext>
              </a:extLst>
            </p:cNvPr>
            <p:cNvSpPr/>
            <p:nvPr/>
          </p:nvSpPr>
          <p:spPr>
            <a:xfrm>
              <a:off x="2373403" y="1062776"/>
              <a:ext cx="268166" cy="327122"/>
            </a:xfrm>
            <a:custGeom>
              <a:avLst/>
              <a:gdLst/>
              <a:ahLst/>
              <a:cxnLst/>
              <a:rect l="l" t="t" r="r" b="b"/>
              <a:pathLst>
                <a:path w="268166" h="327122" extrusionOk="0">
                  <a:moveTo>
                    <a:pt x="262234" y="118324"/>
                  </a:moveTo>
                  <a:lnTo>
                    <a:pt x="262234" y="118324"/>
                  </a:lnTo>
                  <a:cubicBezTo>
                    <a:pt x="251590" y="48886"/>
                    <a:pt x="201695" y="-3787"/>
                    <a:pt x="130227" y="214"/>
                  </a:cubicBezTo>
                  <a:cubicBezTo>
                    <a:pt x="54204" y="4462"/>
                    <a:pt x="-3996" y="69658"/>
                    <a:pt x="215" y="145851"/>
                  </a:cubicBezTo>
                  <a:cubicBezTo>
                    <a:pt x="2583" y="188590"/>
                    <a:pt x="24775" y="227747"/>
                    <a:pt x="60184" y="251674"/>
                  </a:cubicBezTo>
                  <a:cubicBezTo>
                    <a:pt x="62685" y="262208"/>
                    <a:pt x="66417" y="272400"/>
                    <a:pt x="71303" y="282058"/>
                  </a:cubicBezTo>
                  <a:cubicBezTo>
                    <a:pt x="96488" y="311681"/>
                    <a:pt x="172994" y="329683"/>
                    <a:pt x="194852" y="326826"/>
                  </a:cubicBezTo>
                  <a:cubicBezTo>
                    <a:pt x="223364" y="322825"/>
                    <a:pt x="238380" y="311014"/>
                    <a:pt x="251875" y="280153"/>
                  </a:cubicBezTo>
                  <a:cubicBezTo>
                    <a:pt x="275540" y="225385"/>
                    <a:pt x="268127" y="152518"/>
                    <a:pt x="262234" y="11832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2760;p37">
              <a:extLst>
                <a:ext uri="{FF2B5EF4-FFF2-40B4-BE49-F238E27FC236}">
                  <a16:creationId xmlns:a16="http://schemas.microsoft.com/office/drawing/2014/main" id="{812282C8-446D-48D5-8D05-4E68174086B0}"/>
                </a:ext>
              </a:extLst>
            </p:cNvPr>
            <p:cNvSpPr/>
            <p:nvPr/>
          </p:nvSpPr>
          <p:spPr>
            <a:xfrm>
              <a:off x="2348404" y="1033740"/>
              <a:ext cx="282986" cy="280709"/>
            </a:xfrm>
            <a:custGeom>
              <a:avLst/>
              <a:gdLst/>
              <a:ahLst/>
              <a:cxnLst/>
              <a:rect l="l" t="t" r="r" b="b"/>
              <a:pathLst>
                <a:path w="282986" h="280709" extrusionOk="0">
                  <a:moveTo>
                    <a:pt x="85182" y="280709"/>
                  </a:moveTo>
                  <a:lnTo>
                    <a:pt x="85182" y="280709"/>
                  </a:lnTo>
                  <a:lnTo>
                    <a:pt x="91740" y="220130"/>
                  </a:lnTo>
                  <a:cubicBezTo>
                    <a:pt x="91740" y="220130"/>
                    <a:pt x="41940" y="91733"/>
                    <a:pt x="159122" y="116403"/>
                  </a:cubicBezTo>
                  <a:cubicBezTo>
                    <a:pt x="236102" y="132595"/>
                    <a:pt x="255490" y="139644"/>
                    <a:pt x="278964" y="87828"/>
                  </a:cubicBezTo>
                  <a:cubicBezTo>
                    <a:pt x="302439" y="36012"/>
                    <a:pt x="219661" y="-10565"/>
                    <a:pt x="121487" y="2103"/>
                  </a:cubicBezTo>
                  <a:cubicBezTo>
                    <a:pt x="51379" y="9511"/>
                    <a:pt x="-1397" y="69481"/>
                    <a:pt x="28" y="140120"/>
                  </a:cubicBezTo>
                  <a:cubicBezTo>
                    <a:pt x="2594" y="178506"/>
                    <a:pt x="12763" y="255658"/>
                    <a:pt x="85182" y="280709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2761;p37">
              <a:extLst>
                <a:ext uri="{FF2B5EF4-FFF2-40B4-BE49-F238E27FC236}">
                  <a16:creationId xmlns:a16="http://schemas.microsoft.com/office/drawing/2014/main" id="{C2476DAD-C22D-496F-B774-D7382707BB4B}"/>
                </a:ext>
              </a:extLst>
            </p:cNvPr>
            <p:cNvSpPr/>
            <p:nvPr/>
          </p:nvSpPr>
          <p:spPr>
            <a:xfrm>
              <a:off x="2295460" y="1509426"/>
              <a:ext cx="362138" cy="623316"/>
            </a:xfrm>
            <a:custGeom>
              <a:avLst/>
              <a:gdLst/>
              <a:ahLst/>
              <a:cxnLst/>
              <a:rect l="l" t="t" r="r" b="b"/>
              <a:pathLst>
                <a:path w="362138" h="623316" extrusionOk="0">
                  <a:moveTo>
                    <a:pt x="1462" y="9525"/>
                  </a:moveTo>
                  <a:cubicBezTo>
                    <a:pt x="35295" y="0"/>
                    <a:pt x="9540" y="7906"/>
                    <a:pt x="35295" y="0"/>
                  </a:cubicBezTo>
                  <a:cubicBezTo>
                    <a:pt x="123395" y="86678"/>
                    <a:pt x="112466" y="235077"/>
                    <a:pt x="132424" y="381762"/>
                  </a:cubicBezTo>
                  <a:cubicBezTo>
                    <a:pt x="181083" y="462343"/>
                    <a:pt x="361655" y="571595"/>
                    <a:pt x="361655" y="571595"/>
                  </a:cubicBezTo>
                  <a:cubicBezTo>
                    <a:pt x="363936" y="587216"/>
                    <a:pt x="358424" y="591788"/>
                    <a:pt x="338941" y="623316"/>
                  </a:cubicBezTo>
                  <a:cubicBezTo>
                    <a:pt x="251982" y="585692"/>
                    <a:pt x="179088" y="553212"/>
                    <a:pt x="70364" y="449771"/>
                  </a:cubicBezTo>
                  <a:cubicBezTo>
                    <a:pt x="66088" y="445675"/>
                    <a:pt x="59815" y="444627"/>
                    <a:pt x="58009" y="439007"/>
                  </a:cubicBezTo>
                  <a:cubicBezTo>
                    <a:pt x="26932" y="345376"/>
                    <a:pt x="-7567" y="77724"/>
                    <a:pt x="1462" y="9525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2762;p37">
              <a:extLst>
                <a:ext uri="{FF2B5EF4-FFF2-40B4-BE49-F238E27FC236}">
                  <a16:creationId xmlns:a16="http://schemas.microsoft.com/office/drawing/2014/main" id="{926C9557-704C-430E-ACA5-C4AA8BA7F006}"/>
                </a:ext>
              </a:extLst>
            </p:cNvPr>
            <p:cNvSpPr/>
            <p:nvPr/>
          </p:nvSpPr>
          <p:spPr>
            <a:xfrm>
              <a:off x="2681160" y="1699641"/>
              <a:ext cx="419212" cy="565118"/>
            </a:xfrm>
            <a:custGeom>
              <a:avLst/>
              <a:gdLst/>
              <a:ahLst/>
              <a:cxnLst/>
              <a:rect l="l" t="t" r="r" b="b"/>
              <a:pathLst>
                <a:path w="419212" h="565118" extrusionOk="0">
                  <a:moveTo>
                    <a:pt x="419212" y="0"/>
                  </a:moveTo>
                  <a:lnTo>
                    <a:pt x="287965" y="449771"/>
                  </a:lnTo>
                  <a:lnTo>
                    <a:pt x="0" y="565118"/>
                  </a:lnTo>
                  <a:lnTo>
                    <a:pt x="105017" y="126968"/>
                  </a:lnTo>
                  <a:lnTo>
                    <a:pt x="419212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2763;p37">
              <a:extLst>
                <a:ext uri="{FF2B5EF4-FFF2-40B4-BE49-F238E27FC236}">
                  <a16:creationId xmlns:a16="http://schemas.microsoft.com/office/drawing/2014/main" id="{BA578D7C-245C-46E1-9800-C90186D828A7}"/>
                </a:ext>
              </a:extLst>
            </p:cNvPr>
            <p:cNvSpPr/>
            <p:nvPr/>
          </p:nvSpPr>
          <p:spPr>
            <a:xfrm>
              <a:off x="2608827" y="2053875"/>
              <a:ext cx="212446" cy="104783"/>
            </a:xfrm>
            <a:custGeom>
              <a:avLst/>
              <a:gdLst/>
              <a:ahLst/>
              <a:cxnLst/>
              <a:rect l="l" t="t" r="r" b="b"/>
              <a:pathLst>
                <a:path w="212446" h="104783" extrusionOk="0">
                  <a:moveTo>
                    <a:pt x="2861" y="30194"/>
                  </a:moveTo>
                  <a:cubicBezTo>
                    <a:pt x="7137" y="14859"/>
                    <a:pt x="18257" y="18669"/>
                    <a:pt x="30707" y="22479"/>
                  </a:cubicBezTo>
                  <a:cubicBezTo>
                    <a:pt x="44209" y="27956"/>
                    <a:pt x="59041" y="29251"/>
                    <a:pt x="73284" y="26194"/>
                  </a:cubicBezTo>
                  <a:cubicBezTo>
                    <a:pt x="85164" y="22479"/>
                    <a:pt x="93717" y="12287"/>
                    <a:pt x="103791" y="5525"/>
                  </a:cubicBezTo>
                  <a:cubicBezTo>
                    <a:pt x="109552" y="2086"/>
                    <a:pt x="116096" y="181"/>
                    <a:pt x="122799" y="0"/>
                  </a:cubicBezTo>
                  <a:cubicBezTo>
                    <a:pt x="122228" y="3905"/>
                    <a:pt x="116241" y="26765"/>
                    <a:pt x="116241" y="26765"/>
                  </a:cubicBezTo>
                  <a:cubicBezTo>
                    <a:pt x="116241" y="26765"/>
                    <a:pt x="179346" y="27432"/>
                    <a:pt x="185809" y="26098"/>
                  </a:cubicBezTo>
                  <a:cubicBezTo>
                    <a:pt x="191634" y="25308"/>
                    <a:pt x="196997" y="29394"/>
                    <a:pt x="197789" y="35233"/>
                  </a:cubicBezTo>
                  <a:cubicBezTo>
                    <a:pt x="198199" y="38252"/>
                    <a:pt x="197297" y="41310"/>
                    <a:pt x="195312" y="43625"/>
                  </a:cubicBezTo>
                  <a:lnTo>
                    <a:pt x="199589" y="42958"/>
                  </a:lnTo>
                  <a:cubicBezTo>
                    <a:pt x="212514" y="40100"/>
                    <a:pt x="218027" y="59912"/>
                    <a:pt x="205006" y="62865"/>
                  </a:cubicBezTo>
                  <a:cubicBezTo>
                    <a:pt x="201585" y="63627"/>
                    <a:pt x="198069" y="64008"/>
                    <a:pt x="194457" y="64484"/>
                  </a:cubicBezTo>
                  <a:cubicBezTo>
                    <a:pt x="202915" y="67723"/>
                    <a:pt x="205006" y="81725"/>
                    <a:pt x="194457" y="83534"/>
                  </a:cubicBezTo>
                  <a:lnTo>
                    <a:pt x="191226" y="84106"/>
                  </a:lnTo>
                  <a:cubicBezTo>
                    <a:pt x="189741" y="84668"/>
                    <a:pt x="188151" y="84896"/>
                    <a:pt x="186569" y="84772"/>
                  </a:cubicBezTo>
                  <a:lnTo>
                    <a:pt x="184573" y="84772"/>
                  </a:lnTo>
                  <a:cubicBezTo>
                    <a:pt x="185790" y="90916"/>
                    <a:pt x="181809" y="96879"/>
                    <a:pt x="175683" y="98098"/>
                  </a:cubicBezTo>
                  <a:cubicBezTo>
                    <a:pt x="175480" y="98136"/>
                    <a:pt x="175275" y="98174"/>
                    <a:pt x="175069" y="98203"/>
                  </a:cubicBezTo>
                  <a:cubicBezTo>
                    <a:pt x="144277" y="102298"/>
                    <a:pt x="99039" y="114586"/>
                    <a:pt x="71098" y="89154"/>
                  </a:cubicBezTo>
                  <a:cubicBezTo>
                    <a:pt x="51763" y="87239"/>
                    <a:pt x="32878" y="82124"/>
                    <a:pt x="15216" y="74009"/>
                  </a:cubicBezTo>
                  <a:cubicBezTo>
                    <a:pt x="-1796" y="65913"/>
                    <a:pt x="-2271" y="48577"/>
                    <a:pt x="2861" y="301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2764;p37">
              <a:extLst>
                <a:ext uri="{FF2B5EF4-FFF2-40B4-BE49-F238E27FC236}">
                  <a16:creationId xmlns:a16="http://schemas.microsoft.com/office/drawing/2014/main" id="{6BB08D66-C2C5-4681-947E-57A8F10EBC04}"/>
                </a:ext>
              </a:extLst>
            </p:cNvPr>
            <p:cNvSpPr/>
            <p:nvPr/>
          </p:nvSpPr>
          <p:spPr>
            <a:xfrm>
              <a:off x="2916099" y="1987646"/>
              <a:ext cx="131568" cy="109091"/>
            </a:xfrm>
            <a:custGeom>
              <a:avLst/>
              <a:gdLst/>
              <a:ahLst/>
              <a:cxnLst/>
              <a:rect l="l" t="t" r="r" b="b"/>
              <a:pathLst>
                <a:path w="131568" h="109091" extrusionOk="0">
                  <a:moveTo>
                    <a:pt x="10639" y="59657"/>
                  </a:moveTo>
                  <a:lnTo>
                    <a:pt x="14916" y="59657"/>
                  </a:lnTo>
                  <a:cubicBezTo>
                    <a:pt x="10289" y="56028"/>
                    <a:pt x="9476" y="49322"/>
                    <a:pt x="13102" y="44683"/>
                  </a:cubicBezTo>
                  <a:cubicBezTo>
                    <a:pt x="14995" y="42255"/>
                    <a:pt x="17838" y="40778"/>
                    <a:pt x="20903" y="40607"/>
                  </a:cubicBezTo>
                  <a:cubicBezTo>
                    <a:pt x="27556" y="40607"/>
                    <a:pt x="92467" y="26986"/>
                    <a:pt x="92467" y="26986"/>
                  </a:cubicBezTo>
                  <a:lnTo>
                    <a:pt x="100260" y="221"/>
                  </a:lnTo>
                  <a:cubicBezTo>
                    <a:pt x="100260" y="-1303"/>
                    <a:pt x="111569" y="5555"/>
                    <a:pt x="111950" y="5840"/>
                  </a:cubicBezTo>
                  <a:cubicBezTo>
                    <a:pt x="123082" y="13146"/>
                    <a:pt x="130288" y="25138"/>
                    <a:pt x="131527" y="38416"/>
                  </a:cubicBezTo>
                  <a:cubicBezTo>
                    <a:pt x="132163" y="57028"/>
                    <a:pt x="125315" y="75116"/>
                    <a:pt x="112520" y="88613"/>
                  </a:cubicBezTo>
                  <a:cubicBezTo>
                    <a:pt x="100854" y="100414"/>
                    <a:pt x="85087" y="107244"/>
                    <a:pt x="68517" y="107663"/>
                  </a:cubicBezTo>
                  <a:cubicBezTo>
                    <a:pt x="60629" y="108139"/>
                    <a:pt x="53026" y="108520"/>
                    <a:pt x="46279" y="109092"/>
                  </a:cubicBezTo>
                  <a:cubicBezTo>
                    <a:pt x="40033" y="109092"/>
                    <a:pt x="34969" y="104015"/>
                    <a:pt x="34969" y="97757"/>
                  </a:cubicBezTo>
                  <a:cubicBezTo>
                    <a:pt x="34969" y="97728"/>
                    <a:pt x="34969" y="97690"/>
                    <a:pt x="34969" y="97661"/>
                  </a:cubicBezTo>
                  <a:lnTo>
                    <a:pt x="32973" y="97661"/>
                  </a:lnTo>
                  <a:cubicBezTo>
                    <a:pt x="31442" y="98023"/>
                    <a:pt x="29847" y="98023"/>
                    <a:pt x="28316" y="97661"/>
                  </a:cubicBezTo>
                  <a:lnTo>
                    <a:pt x="24990" y="97661"/>
                  </a:lnTo>
                  <a:cubicBezTo>
                    <a:pt x="13966" y="97661"/>
                    <a:pt x="13110" y="83946"/>
                    <a:pt x="20618" y="78611"/>
                  </a:cubicBezTo>
                  <a:cubicBezTo>
                    <a:pt x="17102" y="78611"/>
                    <a:pt x="13490" y="79278"/>
                    <a:pt x="9974" y="79278"/>
                  </a:cubicBezTo>
                  <a:cubicBezTo>
                    <a:pt x="-3806" y="80135"/>
                    <a:pt x="-3046" y="59561"/>
                    <a:pt x="10639" y="5965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2765;p37">
              <a:extLst>
                <a:ext uri="{FF2B5EF4-FFF2-40B4-BE49-F238E27FC236}">
                  <a16:creationId xmlns:a16="http://schemas.microsoft.com/office/drawing/2014/main" id="{BE6D85ED-D959-4EB8-AF38-FE3FBFBE55B7}"/>
                </a:ext>
              </a:extLst>
            </p:cNvPr>
            <p:cNvSpPr/>
            <p:nvPr/>
          </p:nvSpPr>
          <p:spPr>
            <a:xfrm>
              <a:off x="2631550" y="1349025"/>
              <a:ext cx="130391" cy="190023"/>
            </a:xfrm>
            <a:custGeom>
              <a:avLst/>
              <a:gdLst/>
              <a:ahLst/>
              <a:cxnLst/>
              <a:rect l="l" t="t" r="r" b="b"/>
              <a:pathLst>
                <a:path w="130391" h="190023" extrusionOk="0">
                  <a:moveTo>
                    <a:pt x="83348" y="190024"/>
                  </a:moveTo>
                  <a:cubicBezTo>
                    <a:pt x="83348" y="190024"/>
                    <a:pt x="116611" y="188309"/>
                    <a:pt x="130392" y="168878"/>
                  </a:cubicBezTo>
                  <a:cubicBezTo>
                    <a:pt x="127826" y="135636"/>
                    <a:pt x="85344" y="9430"/>
                    <a:pt x="0" y="0"/>
                  </a:cubicBezTo>
                  <a:cubicBezTo>
                    <a:pt x="23264" y="16335"/>
                    <a:pt x="41713" y="38643"/>
                    <a:pt x="53411" y="64580"/>
                  </a:cubicBezTo>
                  <a:cubicBezTo>
                    <a:pt x="68902" y="102584"/>
                    <a:pt x="83348" y="190024"/>
                    <a:pt x="83348" y="1900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2766;p37">
              <a:extLst>
                <a:ext uri="{FF2B5EF4-FFF2-40B4-BE49-F238E27FC236}">
                  <a16:creationId xmlns:a16="http://schemas.microsoft.com/office/drawing/2014/main" id="{2E77BEDD-13C5-43A8-AB46-322C97FB8BD3}"/>
                </a:ext>
              </a:extLst>
            </p:cNvPr>
            <p:cNvSpPr/>
            <p:nvPr/>
          </p:nvSpPr>
          <p:spPr>
            <a:xfrm>
              <a:off x="2269458" y="1478036"/>
              <a:ext cx="157611" cy="236452"/>
            </a:xfrm>
            <a:custGeom>
              <a:avLst/>
              <a:gdLst/>
              <a:ahLst/>
              <a:cxnLst/>
              <a:rect l="l" t="t" r="r" b="b"/>
              <a:pathLst>
                <a:path w="157611" h="236452" extrusionOk="0">
                  <a:moveTo>
                    <a:pt x="12067" y="227795"/>
                  </a:moveTo>
                  <a:cubicBezTo>
                    <a:pt x="12067" y="227795"/>
                    <a:pt x="97031" y="257132"/>
                    <a:pt x="156905" y="207793"/>
                  </a:cubicBezTo>
                  <a:cubicBezTo>
                    <a:pt x="163463" y="196458"/>
                    <a:pt x="122216" y="51583"/>
                    <a:pt x="122216" y="51583"/>
                  </a:cubicBezTo>
                  <a:cubicBezTo>
                    <a:pt x="122216" y="51583"/>
                    <a:pt x="86577" y="-22522"/>
                    <a:pt x="30790" y="6911"/>
                  </a:cubicBezTo>
                  <a:cubicBezTo>
                    <a:pt x="-24997" y="36343"/>
                    <a:pt x="12067" y="227795"/>
                    <a:pt x="12067" y="22779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2767;p37">
              <a:extLst>
                <a:ext uri="{FF2B5EF4-FFF2-40B4-BE49-F238E27FC236}">
                  <a16:creationId xmlns:a16="http://schemas.microsoft.com/office/drawing/2014/main" id="{E39CEE9D-DD03-41B5-97EA-8B88235A7EC4}"/>
                </a:ext>
              </a:extLst>
            </p:cNvPr>
            <p:cNvSpPr/>
            <p:nvPr/>
          </p:nvSpPr>
          <p:spPr>
            <a:xfrm>
              <a:off x="3098756" y="3983831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5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5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2768;p37">
              <a:extLst>
                <a:ext uri="{FF2B5EF4-FFF2-40B4-BE49-F238E27FC236}">
                  <a16:creationId xmlns:a16="http://schemas.microsoft.com/office/drawing/2014/main" id="{CC4B284C-2B19-47B8-A19E-2FEED2A4008E}"/>
                </a:ext>
              </a:extLst>
            </p:cNvPr>
            <p:cNvSpPr/>
            <p:nvPr/>
          </p:nvSpPr>
          <p:spPr>
            <a:xfrm>
              <a:off x="4017202" y="4508754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2769;p37">
              <a:extLst>
                <a:ext uri="{FF2B5EF4-FFF2-40B4-BE49-F238E27FC236}">
                  <a16:creationId xmlns:a16="http://schemas.microsoft.com/office/drawing/2014/main" id="{0743FFC3-0472-4DAE-BFA6-8314B5B9BE43}"/>
                </a:ext>
              </a:extLst>
            </p:cNvPr>
            <p:cNvSpPr/>
            <p:nvPr/>
          </p:nvSpPr>
          <p:spPr>
            <a:xfrm>
              <a:off x="5609182" y="3535680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2770;p37">
              <a:extLst>
                <a:ext uri="{FF2B5EF4-FFF2-40B4-BE49-F238E27FC236}">
                  <a16:creationId xmlns:a16="http://schemas.microsoft.com/office/drawing/2014/main" id="{B298BB61-4904-4CA2-BEE6-BB30D4993D24}"/>
                </a:ext>
              </a:extLst>
            </p:cNvPr>
            <p:cNvSpPr/>
            <p:nvPr/>
          </p:nvSpPr>
          <p:spPr>
            <a:xfrm>
              <a:off x="3115863" y="3050952"/>
              <a:ext cx="67191" cy="975240"/>
            </a:xfrm>
            <a:custGeom>
              <a:avLst/>
              <a:gdLst/>
              <a:ahLst/>
              <a:cxnLst/>
              <a:rect l="l" t="t" r="r" b="b"/>
              <a:pathLst>
                <a:path w="67191" h="975240" extrusionOk="0">
                  <a:moveTo>
                    <a:pt x="0" y="0"/>
                  </a:moveTo>
                  <a:lnTo>
                    <a:pt x="0" y="955548"/>
                  </a:lnTo>
                  <a:cubicBezTo>
                    <a:pt x="447" y="961558"/>
                    <a:pt x="4068" y="966864"/>
                    <a:pt x="9504" y="969455"/>
                  </a:cubicBezTo>
                  <a:cubicBezTo>
                    <a:pt x="24643" y="977170"/>
                    <a:pt x="42549" y="977170"/>
                    <a:pt x="57688" y="969455"/>
                  </a:cubicBezTo>
                  <a:cubicBezTo>
                    <a:pt x="63105" y="966854"/>
                    <a:pt x="66726" y="961549"/>
                    <a:pt x="67192" y="955548"/>
                  </a:cubicBezTo>
                  <a:lnTo>
                    <a:pt x="67192" y="955548"/>
                  </a:lnTo>
                  <a:lnTo>
                    <a:pt x="67192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2771;p37">
              <a:extLst>
                <a:ext uri="{FF2B5EF4-FFF2-40B4-BE49-F238E27FC236}">
                  <a16:creationId xmlns:a16="http://schemas.microsoft.com/office/drawing/2014/main" id="{3BF87449-CDD5-4476-8925-4F2CC107715D}"/>
                </a:ext>
              </a:extLst>
            </p:cNvPr>
            <p:cNvSpPr/>
            <p:nvPr/>
          </p:nvSpPr>
          <p:spPr>
            <a:xfrm>
              <a:off x="4036495" y="3422808"/>
              <a:ext cx="59588" cy="1128783"/>
            </a:xfrm>
            <a:custGeom>
              <a:avLst/>
              <a:gdLst/>
              <a:ahLst/>
              <a:cxnLst/>
              <a:rect l="l" t="t" r="r" b="b"/>
              <a:pathLst>
                <a:path w="59588" h="1128783" extrusionOk="0">
                  <a:moveTo>
                    <a:pt x="0" y="0"/>
                  </a:moveTo>
                  <a:lnTo>
                    <a:pt x="0" y="1108996"/>
                  </a:lnTo>
                  <a:cubicBezTo>
                    <a:pt x="333" y="1114835"/>
                    <a:pt x="3583" y="1120102"/>
                    <a:pt x="8648" y="1122998"/>
                  </a:cubicBezTo>
                  <a:cubicBezTo>
                    <a:pt x="21659" y="1130713"/>
                    <a:pt x="37834" y="1130713"/>
                    <a:pt x="50845" y="1122998"/>
                  </a:cubicBezTo>
                  <a:cubicBezTo>
                    <a:pt x="55930" y="1120111"/>
                    <a:pt x="59218" y="1114844"/>
                    <a:pt x="59589" y="1108996"/>
                  </a:cubicBezTo>
                  <a:lnTo>
                    <a:pt x="59589" y="1108996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2772;p37">
              <a:extLst>
                <a:ext uri="{FF2B5EF4-FFF2-40B4-BE49-F238E27FC236}">
                  <a16:creationId xmlns:a16="http://schemas.microsoft.com/office/drawing/2014/main" id="{57946100-1D13-4746-92A5-6AC45542EA28}"/>
                </a:ext>
              </a:extLst>
            </p:cNvPr>
            <p:cNvSpPr/>
            <p:nvPr/>
          </p:nvSpPr>
          <p:spPr>
            <a:xfrm>
              <a:off x="5628379" y="2652522"/>
              <a:ext cx="59588" cy="923996"/>
            </a:xfrm>
            <a:custGeom>
              <a:avLst/>
              <a:gdLst/>
              <a:ahLst/>
              <a:cxnLst/>
              <a:rect l="l" t="t" r="r" b="b"/>
              <a:pathLst>
                <a:path w="59588" h="923996" extrusionOk="0">
                  <a:moveTo>
                    <a:pt x="0" y="0"/>
                  </a:moveTo>
                  <a:lnTo>
                    <a:pt x="0" y="904304"/>
                  </a:lnTo>
                  <a:cubicBezTo>
                    <a:pt x="342" y="910133"/>
                    <a:pt x="3649" y="915381"/>
                    <a:pt x="8744" y="918210"/>
                  </a:cubicBezTo>
                  <a:cubicBezTo>
                    <a:pt x="21716" y="925925"/>
                    <a:pt x="37873" y="925925"/>
                    <a:pt x="50845" y="918210"/>
                  </a:cubicBezTo>
                  <a:cubicBezTo>
                    <a:pt x="55939" y="915381"/>
                    <a:pt x="59247" y="910133"/>
                    <a:pt x="59589" y="904304"/>
                  </a:cubicBezTo>
                  <a:lnTo>
                    <a:pt x="59589" y="904304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2773;p37">
              <a:extLst>
                <a:ext uri="{FF2B5EF4-FFF2-40B4-BE49-F238E27FC236}">
                  <a16:creationId xmlns:a16="http://schemas.microsoft.com/office/drawing/2014/main" id="{0D48CA23-830C-4682-AAA7-3CDE8F17BC02}"/>
                </a:ext>
              </a:extLst>
            </p:cNvPr>
            <p:cNvSpPr/>
            <p:nvPr/>
          </p:nvSpPr>
          <p:spPr>
            <a:xfrm>
              <a:off x="3056370" y="3054762"/>
              <a:ext cx="1009872" cy="652653"/>
            </a:xfrm>
            <a:custGeom>
              <a:avLst/>
              <a:gdLst/>
              <a:ahLst/>
              <a:cxnLst/>
              <a:rect l="l" t="t" r="r" b="b"/>
              <a:pathLst>
                <a:path w="1009872" h="652653" extrusionOk="0">
                  <a:moveTo>
                    <a:pt x="1009872" y="652653"/>
                  </a:moveTo>
                  <a:lnTo>
                    <a:pt x="0" y="68294"/>
                  </a:lnTo>
                  <a:lnTo>
                    <a:pt x="0" y="0"/>
                  </a:lnTo>
                  <a:lnTo>
                    <a:pt x="1009872" y="584454"/>
                  </a:lnTo>
                  <a:lnTo>
                    <a:pt x="1009872" y="652653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2774;p37">
              <a:extLst>
                <a:ext uri="{FF2B5EF4-FFF2-40B4-BE49-F238E27FC236}">
                  <a16:creationId xmlns:a16="http://schemas.microsoft.com/office/drawing/2014/main" id="{26CFDE50-DAA3-4631-AB40-E27420A3D62F}"/>
                </a:ext>
              </a:extLst>
            </p:cNvPr>
            <p:cNvSpPr/>
            <p:nvPr/>
          </p:nvSpPr>
          <p:spPr>
            <a:xfrm>
              <a:off x="3056084" y="2071592"/>
              <a:ext cx="2712855" cy="1569720"/>
            </a:xfrm>
            <a:custGeom>
              <a:avLst/>
              <a:gdLst/>
              <a:ahLst/>
              <a:cxnLst/>
              <a:rect l="l" t="t" r="r" b="b"/>
              <a:pathLst>
                <a:path w="2712855" h="1569720" extrusionOk="0">
                  <a:moveTo>
                    <a:pt x="2712856" y="584359"/>
                  </a:moveTo>
                  <a:lnTo>
                    <a:pt x="1009967" y="1569720"/>
                  </a:lnTo>
                  <a:lnTo>
                    <a:pt x="0" y="985361"/>
                  </a:lnTo>
                  <a:lnTo>
                    <a:pt x="1702889" y="0"/>
                  </a:lnTo>
                  <a:lnTo>
                    <a:pt x="2712856" y="58435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2775;p37">
              <a:extLst>
                <a:ext uri="{FF2B5EF4-FFF2-40B4-BE49-F238E27FC236}">
                  <a16:creationId xmlns:a16="http://schemas.microsoft.com/office/drawing/2014/main" id="{003FC32A-F854-44C7-A5F0-840895B6F3C7}"/>
                </a:ext>
              </a:extLst>
            </p:cNvPr>
            <p:cNvSpPr/>
            <p:nvPr/>
          </p:nvSpPr>
          <p:spPr>
            <a:xfrm>
              <a:off x="4066242" y="2653855"/>
              <a:ext cx="1702888" cy="1053560"/>
            </a:xfrm>
            <a:custGeom>
              <a:avLst/>
              <a:gdLst/>
              <a:ahLst/>
              <a:cxnLst/>
              <a:rect l="l" t="t" r="r" b="b"/>
              <a:pathLst>
                <a:path w="1702888" h="1053560" extrusionOk="0">
                  <a:moveTo>
                    <a:pt x="1702888" y="68199"/>
                  </a:moveTo>
                  <a:lnTo>
                    <a:pt x="0" y="1053560"/>
                  </a:lnTo>
                  <a:lnTo>
                    <a:pt x="0" y="985361"/>
                  </a:lnTo>
                  <a:lnTo>
                    <a:pt x="1702888" y="0"/>
                  </a:lnTo>
                  <a:lnTo>
                    <a:pt x="1702888" y="68199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2776;p37">
              <a:extLst>
                <a:ext uri="{FF2B5EF4-FFF2-40B4-BE49-F238E27FC236}">
                  <a16:creationId xmlns:a16="http://schemas.microsoft.com/office/drawing/2014/main" id="{DAB63914-4EC0-4D1F-A22E-890BEEB8F0C1}"/>
                </a:ext>
              </a:extLst>
            </p:cNvPr>
            <p:cNvSpPr/>
            <p:nvPr/>
          </p:nvSpPr>
          <p:spPr>
            <a:xfrm>
              <a:off x="4763535" y="2360390"/>
              <a:ext cx="519572" cy="326898"/>
            </a:xfrm>
            <a:custGeom>
              <a:avLst/>
              <a:gdLst/>
              <a:ahLst/>
              <a:cxnLst/>
              <a:rect l="l" t="t" r="r" b="b"/>
              <a:pathLst>
                <a:path w="519572" h="326898" extrusionOk="0">
                  <a:moveTo>
                    <a:pt x="519572" y="98965"/>
                  </a:moveTo>
                  <a:lnTo>
                    <a:pt x="248049" y="326898"/>
                  </a:lnTo>
                  <a:lnTo>
                    <a:pt x="0" y="227933"/>
                  </a:lnTo>
                  <a:lnTo>
                    <a:pt x="271523" y="0"/>
                  </a:lnTo>
                  <a:lnTo>
                    <a:pt x="519572" y="98965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2777;p37">
              <a:extLst>
                <a:ext uri="{FF2B5EF4-FFF2-40B4-BE49-F238E27FC236}">
                  <a16:creationId xmlns:a16="http://schemas.microsoft.com/office/drawing/2014/main" id="{F497767D-F69C-4C8E-9D3D-FC00AA72577F}"/>
                </a:ext>
              </a:extLst>
            </p:cNvPr>
            <p:cNvSpPr/>
            <p:nvPr/>
          </p:nvSpPr>
          <p:spPr>
            <a:xfrm>
              <a:off x="4668877" y="2346674"/>
              <a:ext cx="551219" cy="318992"/>
            </a:xfrm>
            <a:custGeom>
              <a:avLst/>
              <a:gdLst/>
              <a:ahLst/>
              <a:cxnLst/>
              <a:rect l="l" t="t" r="r" b="b"/>
              <a:pathLst>
                <a:path w="551219" h="318992" extrusionOk="0">
                  <a:moveTo>
                    <a:pt x="551220" y="123254"/>
                  </a:moveTo>
                  <a:lnTo>
                    <a:pt x="212980" y="318992"/>
                  </a:lnTo>
                  <a:lnTo>
                    <a:pt x="0" y="195739"/>
                  </a:lnTo>
                  <a:lnTo>
                    <a:pt x="338240" y="0"/>
                  </a:lnTo>
                  <a:lnTo>
                    <a:pt x="551220" y="123254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2778;p37">
              <a:extLst>
                <a:ext uri="{FF2B5EF4-FFF2-40B4-BE49-F238E27FC236}">
                  <a16:creationId xmlns:a16="http://schemas.microsoft.com/office/drawing/2014/main" id="{0D81CC7C-ABCB-427F-9FC1-6AD00D5D4ED6}"/>
                </a:ext>
              </a:extLst>
            </p:cNvPr>
            <p:cNvSpPr/>
            <p:nvPr/>
          </p:nvSpPr>
          <p:spPr>
            <a:xfrm>
              <a:off x="4743291" y="2531554"/>
              <a:ext cx="161184" cy="93249"/>
            </a:xfrm>
            <a:custGeom>
              <a:avLst/>
              <a:gdLst/>
              <a:ahLst/>
              <a:cxnLst/>
              <a:rect l="l" t="t" r="r" b="b"/>
              <a:pathLst>
                <a:path w="161184" h="93249" extrusionOk="0">
                  <a:moveTo>
                    <a:pt x="161184" y="81248"/>
                  </a:moveTo>
                  <a:lnTo>
                    <a:pt x="140466" y="93250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61184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2779;p37">
              <a:extLst>
                <a:ext uri="{FF2B5EF4-FFF2-40B4-BE49-F238E27FC236}">
                  <a16:creationId xmlns:a16="http://schemas.microsoft.com/office/drawing/2014/main" id="{094BFCEB-00AC-486B-9385-8FED312A4872}"/>
                </a:ext>
              </a:extLst>
            </p:cNvPr>
            <p:cNvSpPr/>
            <p:nvPr/>
          </p:nvSpPr>
          <p:spPr>
            <a:xfrm>
              <a:off x="4789955" y="2504598"/>
              <a:ext cx="161089" cy="93249"/>
            </a:xfrm>
            <a:custGeom>
              <a:avLst/>
              <a:gdLst/>
              <a:ahLst/>
              <a:cxnLst/>
              <a:rect l="l" t="t" r="r" b="b"/>
              <a:pathLst>
                <a:path w="161089" h="93249" extrusionOk="0">
                  <a:moveTo>
                    <a:pt x="161089" y="81248"/>
                  </a:moveTo>
                  <a:lnTo>
                    <a:pt x="140371" y="93250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2780;p37">
              <a:extLst>
                <a:ext uri="{FF2B5EF4-FFF2-40B4-BE49-F238E27FC236}">
                  <a16:creationId xmlns:a16="http://schemas.microsoft.com/office/drawing/2014/main" id="{5333F152-EE66-4C10-B176-6FC80836C093}"/>
                </a:ext>
              </a:extLst>
            </p:cNvPr>
            <p:cNvSpPr/>
            <p:nvPr/>
          </p:nvSpPr>
          <p:spPr>
            <a:xfrm>
              <a:off x="4834813" y="2478690"/>
              <a:ext cx="161089" cy="93154"/>
            </a:xfrm>
            <a:custGeom>
              <a:avLst/>
              <a:gdLst/>
              <a:ahLst/>
              <a:cxnLst/>
              <a:rect l="l" t="t" r="r" b="b"/>
              <a:pathLst>
                <a:path w="161089" h="93154" extrusionOk="0">
                  <a:moveTo>
                    <a:pt x="161089" y="81248"/>
                  </a:moveTo>
                  <a:lnTo>
                    <a:pt x="140371" y="93154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2781;p37">
              <a:extLst>
                <a:ext uri="{FF2B5EF4-FFF2-40B4-BE49-F238E27FC236}">
                  <a16:creationId xmlns:a16="http://schemas.microsoft.com/office/drawing/2014/main" id="{3FC06CEF-AEC3-408D-8795-79E95E0CDAF4}"/>
                </a:ext>
              </a:extLst>
            </p:cNvPr>
            <p:cNvSpPr/>
            <p:nvPr/>
          </p:nvSpPr>
          <p:spPr>
            <a:xfrm>
              <a:off x="4998753" y="2451734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244"/>
                  </a:moveTo>
                  <a:lnTo>
                    <a:pt x="81733" y="59246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02451" y="4724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2782;p37">
              <a:extLst>
                <a:ext uri="{FF2B5EF4-FFF2-40B4-BE49-F238E27FC236}">
                  <a16:creationId xmlns:a16="http://schemas.microsoft.com/office/drawing/2014/main" id="{6ADD2E67-28DF-48A0-A433-E74A5093486F}"/>
                </a:ext>
              </a:extLst>
            </p:cNvPr>
            <p:cNvSpPr/>
            <p:nvPr/>
          </p:nvSpPr>
          <p:spPr>
            <a:xfrm>
              <a:off x="5043611" y="2425731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339"/>
                  </a:moveTo>
                  <a:lnTo>
                    <a:pt x="81733" y="59246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02451" y="473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2783;p37">
              <a:extLst>
                <a:ext uri="{FF2B5EF4-FFF2-40B4-BE49-F238E27FC236}">
                  <a16:creationId xmlns:a16="http://schemas.microsoft.com/office/drawing/2014/main" id="{7978F21F-0001-409E-AE7B-F97B625EE694}"/>
                </a:ext>
              </a:extLst>
            </p:cNvPr>
            <p:cNvSpPr/>
            <p:nvPr/>
          </p:nvSpPr>
          <p:spPr>
            <a:xfrm>
              <a:off x="4912649" y="2469832"/>
              <a:ext cx="307447" cy="180974"/>
            </a:xfrm>
            <a:custGeom>
              <a:avLst/>
              <a:gdLst/>
              <a:ahLst/>
              <a:cxnLst/>
              <a:rect l="l" t="t" r="r" b="b"/>
              <a:pathLst>
                <a:path w="307447" h="180974" extrusionOk="0">
                  <a:moveTo>
                    <a:pt x="7508" y="180975"/>
                  </a:moveTo>
                  <a:cubicBezTo>
                    <a:pt x="13115" y="178594"/>
                    <a:pt x="307448" y="0"/>
                    <a:pt x="307448" y="0"/>
                  </a:cubicBezTo>
                  <a:lnTo>
                    <a:pt x="0" y="178117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2784;p37">
              <a:extLst>
                <a:ext uri="{FF2B5EF4-FFF2-40B4-BE49-F238E27FC236}">
                  <a16:creationId xmlns:a16="http://schemas.microsoft.com/office/drawing/2014/main" id="{B480765A-4243-4872-A74F-BD488587A681}"/>
                </a:ext>
              </a:extLst>
            </p:cNvPr>
            <p:cNvSpPr/>
            <p:nvPr/>
          </p:nvSpPr>
          <p:spPr>
            <a:xfrm>
              <a:off x="4894497" y="284121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2785;p37">
              <a:extLst>
                <a:ext uri="{FF2B5EF4-FFF2-40B4-BE49-F238E27FC236}">
                  <a16:creationId xmlns:a16="http://schemas.microsoft.com/office/drawing/2014/main" id="{7BA95A6D-098D-4EE4-945A-D79A2D5B284B}"/>
                </a:ext>
              </a:extLst>
            </p:cNvPr>
            <p:cNvSpPr/>
            <p:nvPr/>
          </p:nvSpPr>
          <p:spPr>
            <a:xfrm>
              <a:off x="4901418" y="2763964"/>
              <a:ext cx="147800" cy="156591"/>
            </a:xfrm>
            <a:custGeom>
              <a:avLst/>
              <a:gdLst/>
              <a:ahLst/>
              <a:cxnLst/>
              <a:rect l="l" t="t" r="r" b="b"/>
              <a:pathLst>
                <a:path w="147800" h="156591" extrusionOk="0">
                  <a:moveTo>
                    <a:pt x="147801" y="113824"/>
                  </a:moveTo>
                  <a:lnTo>
                    <a:pt x="147801" y="0"/>
                  </a:lnTo>
                  <a:lnTo>
                    <a:pt x="587" y="3715"/>
                  </a:lnTo>
                  <a:lnTo>
                    <a:pt x="587" y="108490"/>
                  </a:lnTo>
                  <a:cubicBezTo>
                    <a:pt x="-2169" y="121063"/>
                    <a:pt x="4769" y="134303"/>
                    <a:pt x="21590" y="144018"/>
                  </a:cubicBezTo>
                  <a:cubicBezTo>
                    <a:pt x="54436" y="160782"/>
                    <a:pt x="93287" y="160782"/>
                    <a:pt x="126132" y="144018"/>
                  </a:cubicBezTo>
                  <a:cubicBezTo>
                    <a:pt x="138288" y="138646"/>
                    <a:pt x="146584" y="127083"/>
                    <a:pt x="147801" y="113824"/>
                  </a:cubicBez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2786;p37">
              <a:extLst>
                <a:ext uri="{FF2B5EF4-FFF2-40B4-BE49-F238E27FC236}">
                  <a16:creationId xmlns:a16="http://schemas.microsoft.com/office/drawing/2014/main" id="{32F920DB-55BF-4CB2-B34B-AF751DF0F9CB}"/>
                </a:ext>
              </a:extLst>
            </p:cNvPr>
            <p:cNvSpPr/>
            <p:nvPr/>
          </p:nvSpPr>
          <p:spPr>
            <a:xfrm>
              <a:off x="4901720" y="272129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8" y="85344"/>
                    <a:pt x="0" y="66239"/>
                    <a:pt x="0" y="42672"/>
                  </a:cubicBezTo>
                  <a:cubicBezTo>
                    <a:pt x="0" y="19105"/>
                    <a:pt x="33018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BCD6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2787;p37">
              <a:extLst>
                <a:ext uri="{FF2B5EF4-FFF2-40B4-BE49-F238E27FC236}">
                  <a16:creationId xmlns:a16="http://schemas.microsoft.com/office/drawing/2014/main" id="{610ACE1D-B485-405C-BDFD-89EF64FEB188}"/>
                </a:ext>
              </a:extLst>
            </p:cNvPr>
            <p:cNvSpPr/>
            <p:nvPr/>
          </p:nvSpPr>
          <p:spPr>
            <a:xfrm>
              <a:off x="4913314" y="2732891"/>
              <a:ext cx="124214" cy="61955"/>
            </a:xfrm>
            <a:custGeom>
              <a:avLst/>
              <a:gdLst/>
              <a:ahLst/>
              <a:cxnLst/>
              <a:rect l="l" t="t" r="r" b="b"/>
              <a:pathLst>
                <a:path w="124214" h="61955" extrusionOk="0">
                  <a:moveTo>
                    <a:pt x="124215" y="31073"/>
                  </a:moveTo>
                  <a:cubicBezTo>
                    <a:pt x="124215" y="38026"/>
                    <a:pt x="118512" y="45360"/>
                    <a:pt x="108438" y="51075"/>
                  </a:cubicBezTo>
                  <a:cubicBezTo>
                    <a:pt x="95636" y="57924"/>
                    <a:pt x="81410" y="61639"/>
                    <a:pt x="66907" y="61934"/>
                  </a:cubicBezTo>
                  <a:lnTo>
                    <a:pt x="62060" y="61934"/>
                  </a:lnTo>
                  <a:cubicBezTo>
                    <a:pt x="45951" y="62277"/>
                    <a:pt x="30032" y="58505"/>
                    <a:pt x="15776" y="50980"/>
                  </a:cubicBezTo>
                  <a:cubicBezTo>
                    <a:pt x="5797" y="45265"/>
                    <a:pt x="0" y="37931"/>
                    <a:pt x="0" y="30978"/>
                  </a:cubicBezTo>
                  <a:cubicBezTo>
                    <a:pt x="0" y="24024"/>
                    <a:pt x="5797" y="16785"/>
                    <a:pt x="15776" y="10975"/>
                  </a:cubicBezTo>
                  <a:cubicBezTo>
                    <a:pt x="30032" y="3450"/>
                    <a:pt x="45951" y="-322"/>
                    <a:pt x="62060" y="21"/>
                  </a:cubicBezTo>
                  <a:lnTo>
                    <a:pt x="66812" y="21"/>
                  </a:lnTo>
                  <a:cubicBezTo>
                    <a:pt x="81314" y="317"/>
                    <a:pt x="95542" y="4031"/>
                    <a:pt x="108343" y="10880"/>
                  </a:cubicBezTo>
                  <a:cubicBezTo>
                    <a:pt x="118512" y="16881"/>
                    <a:pt x="124215" y="24120"/>
                    <a:pt x="124215" y="31073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2788;p37">
              <a:extLst>
                <a:ext uri="{FF2B5EF4-FFF2-40B4-BE49-F238E27FC236}">
                  <a16:creationId xmlns:a16="http://schemas.microsoft.com/office/drawing/2014/main" id="{C9180427-7106-43D7-A3AB-1486DF0597E6}"/>
                </a:ext>
              </a:extLst>
            </p:cNvPr>
            <p:cNvSpPr/>
            <p:nvPr/>
          </p:nvSpPr>
          <p:spPr>
            <a:xfrm>
              <a:off x="4922818" y="2733153"/>
              <a:ext cx="114710" cy="61622"/>
            </a:xfrm>
            <a:custGeom>
              <a:avLst/>
              <a:gdLst/>
              <a:ahLst/>
              <a:cxnLst/>
              <a:rect l="l" t="t" r="r" b="b"/>
              <a:pathLst>
                <a:path w="114710" h="61622" extrusionOk="0">
                  <a:moveTo>
                    <a:pt x="114711" y="30811"/>
                  </a:moveTo>
                  <a:cubicBezTo>
                    <a:pt x="114711" y="37764"/>
                    <a:pt x="109008" y="45099"/>
                    <a:pt x="98934" y="50814"/>
                  </a:cubicBezTo>
                  <a:cubicBezTo>
                    <a:pt x="73084" y="65225"/>
                    <a:pt x="41627" y="65225"/>
                    <a:pt x="15776" y="50814"/>
                  </a:cubicBezTo>
                  <a:cubicBezTo>
                    <a:pt x="5797" y="45099"/>
                    <a:pt x="0" y="37764"/>
                    <a:pt x="0" y="30811"/>
                  </a:cubicBezTo>
                  <a:cubicBezTo>
                    <a:pt x="0" y="23858"/>
                    <a:pt x="5797" y="16619"/>
                    <a:pt x="15776" y="10808"/>
                  </a:cubicBezTo>
                  <a:cubicBezTo>
                    <a:pt x="41627" y="-3603"/>
                    <a:pt x="73084" y="-3603"/>
                    <a:pt x="98934" y="10808"/>
                  </a:cubicBezTo>
                  <a:cubicBezTo>
                    <a:pt x="109008" y="16619"/>
                    <a:pt x="114711" y="23858"/>
                    <a:pt x="114711" y="30811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2789;p37">
              <a:extLst>
                <a:ext uri="{FF2B5EF4-FFF2-40B4-BE49-F238E27FC236}">
                  <a16:creationId xmlns:a16="http://schemas.microsoft.com/office/drawing/2014/main" id="{A7ADD636-4F85-4203-B3C3-9D9C17DC2111}"/>
                </a:ext>
              </a:extLst>
            </p:cNvPr>
            <p:cNvSpPr/>
            <p:nvPr/>
          </p:nvSpPr>
          <p:spPr>
            <a:xfrm>
              <a:off x="5015195" y="2807589"/>
              <a:ext cx="42215" cy="98678"/>
            </a:xfrm>
            <a:custGeom>
              <a:avLst/>
              <a:gdLst/>
              <a:ahLst/>
              <a:cxnLst/>
              <a:rect l="l" t="t" r="r" b="b"/>
              <a:pathLst>
                <a:path w="42215" h="98678" extrusionOk="0">
                  <a:moveTo>
                    <a:pt x="23284" y="9049"/>
                  </a:moveTo>
                  <a:lnTo>
                    <a:pt x="7603" y="0"/>
                  </a:lnTo>
                  <a:lnTo>
                    <a:pt x="0" y="4477"/>
                  </a:lnTo>
                  <a:lnTo>
                    <a:pt x="7603" y="8858"/>
                  </a:lnTo>
                  <a:lnTo>
                    <a:pt x="7603" y="11716"/>
                  </a:lnTo>
                  <a:lnTo>
                    <a:pt x="22239" y="20193"/>
                  </a:lnTo>
                  <a:lnTo>
                    <a:pt x="22239" y="22955"/>
                  </a:lnTo>
                  <a:cubicBezTo>
                    <a:pt x="25765" y="28004"/>
                    <a:pt x="28939" y="33290"/>
                    <a:pt x="31743" y="38767"/>
                  </a:cubicBezTo>
                  <a:lnTo>
                    <a:pt x="32313" y="38290"/>
                  </a:lnTo>
                  <a:lnTo>
                    <a:pt x="32313" y="74962"/>
                  </a:lnTo>
                  <a:cubicBezTo>
                    <a:pt x="32313" y="84487"/>
                    <a:pt x="26706" y="81343"/>
                    <a:pt x="24235" y="79915"/>
                  </a:cubicBezTo>
                  <a:lnTo>
                    <a:pt x="7793" y="70390"/>
                  </a:lnTo>
                  <a:lnTo>
                    <a:pt x="190" y="74866"/>
                  </a:lnTo>
                  <a:lnTo>
                    <a:pt x="7793" y="79248"/>
                  </a:lnTo>
                  <a:lnTo>
                    <a:pt x="7793" y="82105"/>
                  </a:lnTo>
                  <a:lnTo>
                    <a:pt x="24235" y="91630"/>
                  </a:lnTo>
                  <a:cubicBezTo>
                    <a:pt x="25945" y="92630"/>
                    <a:pt x="27760" y="93431"/>
                    <a:pt x="29652" y="94012"/>
                  </a:cubicBezTo>
                  <a:lnTo>
                    <a:pt x="28606" y="98679"/>
                  </a:lnTo>
                  <a:lnTo>
                    <a:pt x="37160" y="93821"/>
                  </a:lnTo>
                  <a:lnTo>
                    <a:pt x="37160" y="93821"/>
                  </a:lnTo>
                  <a:cubicBezTo>
                    <a:pt x="40847" y="90678"/>
                    <a:pt x="42710" y="85877"/>
                    <a:pt x="42102" y="81058"/>
                  </a:cubicBezTo>
                  <a:lnTo>
                    <a:pt x="42102" y="42958"/>
                  </a:lnTo>
                  <a:cubicBezTo>
                    <a:pt x="41370" y="29356"/>
                    <a:pt x="34423" y="16850"/>
                    <a:pt x="23284" y="9049"/>
                  </a:cubicBezTo>
                  <a:close/>
                </a:path>
              </a:pathLst>
            </a:custGeom>
            <a:solidFill>
              <a:srgbClr val="8DA01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2790;p37">
              <a:extLst>
                <a:ext uri="{FF2B5EF4-FFF2-40B4-BE49-F238E27FC236}">
                  <a16:creationId xmlns:a16="http://schemas.microsoft.com/office/drawing/2014/main" id="{306632A9-B084-4BB5-BB4A-8DE3542D24D0}"/>
                </a:ext>
              </a:extLst>
            </p:cNvPr>
            <p:cNvSpPr/>
            <p:nvPr/>
          </p:nvSpPr>
          <p:spPr>
            <a:xfrm>
              <a:off x="5015195" y="2812256"/>
              <a:ext cx="34783" cy="94465"/>
            </a:xfrm>
            <a:custGeom>
              <a:avLst/>
              <a:gdLst/>
              <a:ahLst/>
              <a:cxnLst/>
              <a:rect l="l" t="t" r="r" b="b"/>
              <a:pathLst>
                <a:path w="34783" h="94465" extrusionOk="0">
                  <a:moveTo>
                    <a:pt x="16442" y="91440"/>
                  </a:moveTo>
                  <a:lnTo>
                    <a:pt x="0" y="81915"/>
                  </a:lnTo>
                  <a:lnTo>
                    <a:pt x="0" y="70199"/>
                  </a:lnTo>
                  <a:lnTo>
                    <a:pt x="16442" y="79724"/>
                  </a:lnTo>
                  <a:cubicBezTo>
                    <a:pt x="18818" y="81058"/>
                    <a:pt x="24520" y="84296"/>
                    <a:pt x="24520" y="74676"/>
                  </a:cubicBezTo>
                  <a:lnTo>
                    <a:pt x="24520" y="36576"/>
                  </a:lnTo>
                  <a:cubicBezTo>
                    <a:pt x="23949" y="30013"/>
                    <a:pt x="20462" y="24070"/>
                    <a:pt x="15016" y="20384"/>
                  </a:cubicBezTo>
                  <a:lnTo>
                    <a:pt x="95" y="11716"/>
                  </a:lnTo>
                  <a:lnTo>
                    <a:pt x="95" y="0"/>
                  </a:lnTo>
                  <a:lnTo>
                    <a:pt x="15776" y="9049"/>
                  </a:lnTo>
                  <a:cubicBezTo>
                    <a:pt x="26867" y="16707"/>
                    <a:pt x="33862" y="29013"/>
                    <a:pt x="34784" y="42481"/>
                  </a:cubicBezTo>
                  <a:lnTo>
                    <a:pt x="34784" y="80581"/>
                  </a:lnTo>
                  <a:cubicBezTo>
                    <a:pt x="34594" y="90869"/>
                    <a:pt x="29842" y="99155"/>
                    <a:pt x="16442" y="91440"/>
                  </a:cubicBezTo>
                  <a:close/>
                </a:path>
              </a:pathLst>
            </a:custGeom>
            <a:solidFill>
              <a:srgbClr val="99B5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2791;p37">
              <a:extLst>
                <a:ext uri="{FF2B5EF4-FFF2-40B4-BE49-F238E27FC236}">
                  <a16:creationId xmlns:a16="http://schemas.microsoft.com/office/drawing/2014/main" id="{83CF89C0-CBC0-4AAC-BC96-1654BBCA6020}"/>
                </a:ext>
              </a:extLst>
            </p:cNvPr>
            <p:cNvSpPr/>
            <p:nvPr/>
          </p:nvSpPr>
          <p:spPr>
            <a:xfrm>
              <a:off x="3439562" y="299475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2792;p37">
              <a:extLst>
                <a:ext uri="{FF2B5EF4-FFF2-40B4-BE49-F238E27FC236}">
                  <a16:creationId xmlns:a16="http://schemas.microsoft.com/office/drawing/2014/main" id="{5FEC760E-A612-48CF-B3B1-EEFC03031A80}"/>
                </a:ext>
              </a:extLst>
            </p:cNvPr>
            <p:cNvSpPr/>
            <p:nvPr/>
          </p:nvSpPr>
          <p:spPr>
            <a:xfrm>
              <a:off x="3446488" y="2917507"/>
              <a:ext cx="147795" cy="156591"/>
            </a:xfrm>
            <a:custGeom>
              <a:avLst/>
              <a:gdLst/>
              <a:ahLst/>
              <a:cxnLst/>
              <a:rect l="l" t="t" r="r" b="b"/>
              <a:pathLst>
                <a:path w="147795" h="156591" extrusionOk="0">
                  <a:moveTo>
                    <a:pt x="147796" y="113824"/>
                  </a:moveTo>
                  <a:lnTo>
                    <a:pt x="147796" y="0"/>
                  </a:lnTo>
                  <a:lnTo>
                    <a:pt x="582" y="3715"/>
                  </a:lnTo>
                  <a:lnTo>
                    <a:pt x="582" y="108490"/>
                  </a:lnTo>
                  <a:cubicBezTo>
                    <a:pt x="-2174" y="121158"/>
                    <a:pt x="4859" y="134398"/>
                    <a:pt x="21586" y="144018"/>
                  </a:cubicBezTo>
                  <a:cubicBezTo>
                    <a:pt x="54431" y="160782"/>
                    <a:pt x="93282" y="160782"/>
                    <a:pt x="126127" y="144018"/>
                  </a:cubicBezTo>
                  <a:cubicBezTo>
                    <a:pt x="138302" y="138655"/>
                    <a:pt x="146598" y="127092"/>
                    <a:pt x="147796" y="113824"/>
                  </a:cubicBezTo>
                  <a:close/>
                </a:path>
              </a:pathLst>
            </a:custGeom>
            <a:solidFill>
              <a:srgbClr val="F7B03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2793;p37">
              <a:extLst>
                <a:ext uri="{FF2B5EF4-FFF2-40B4-BE49-F238E27FC236}">
                  <a16:creationId xmlns:a16="http://schemas.microsoft.com/office/drawing/2014/main" id="{DE8EF55E-7DA1-427C-B256-D784D48FC25A}"/>
                </a:ext>
              </a:extLst>
            </p:cNvPr>
            <p:cNvSpPr/>
            <p:nvPr/>
          </p:nvSpPr>
          <p:spPr>
            <a:xfrm>
              <a:off x="3446785" y="287483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FCC06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2794;p37">
              <a:extLst>
                <a:ext uri="{FF2B5EF4-FFF2-40B4-BE49-F238E27FC236}">
                  <a16:creationId xmlns:a16="http://schemas.microsoft.com/office/drawing/2014/main" id="{EA5214C2-8067-4493-94A0-DBE98A53A277}"/>
                </a:ext>
              </a:extLst>
            </p:cNvPr>
            <p:cNvSpPr/>
            <p:nvPr/>
          </p:nvSpPr>
          <p:spPr>
            <a:xfrm>
              <a:off x="3458475" y="2886430"/>
              <a:ext cx="124119" cy="61959"/>
            </a:xfrm>
            <a:custGeom>
              <a:avLst/>
              <a:gdLst/>
              <a:ahLst/>
              <a:cxnLst/>
              <a:rect l="l" t="t" r="r" b="b"/>
              <a:pathLst>
                <a:path w="124119" h="61959" extrusionOk="0">
                  <a:moveTo>
                    <a:pt x="124119" y="31076"/>
                  </a:moveTo>
                  <a:cubicBezTo>
                    <a:pt x="124119" y="38030"/>
                    <a:pt x="118322" y="45269"/>
                    <a:pt x="108343" y="51079"/>
                  </a:cubicBezTo>
                  <a:cubicBezTo>
                    <a:pt x="95523" y="57870"/>
                    <a:pt x="81305" y="61595"/>
                    <a:pt x="66812" y="61938"/>
                  </a:cubicBezTo>
                  <a:lnTo>
                    <a:pt x="62060" y="61938"/>
                  </a:lnTo>
                  <a:cubicBezTo>
                    <a:pt x="45951" y="62280"/>
                    <a:pt x="30032" y="58509"/>
                    <a:pt x="15776" y="50984"/>
                  </a:cubicBezTo>
                  <a:cubicBezTo>
                    <a:pt x="5702" y="45174"/>
                    <a:pt x="0" y="37935"/>
                    <a:pt x="0" y="30981"/>
                  </a:cubicBezTo>
                  <a:cubicBezTo>
                    <a:pt x="0" y="24028"/>
                    <a:pt x="5702" y="16694"/>
                    <a:pt x="15776" y="10884"/>
                  </a:cubicBezTo>
                  <a:cubicBezTo>
                    <a:pt x="30041" y="3397"/>
                    <a:pt x="45960" y="-346"/>
                    <a:pt x="62060" y="25"/>
                  </a:cubicBezTo>
                  <a:lnTo>
                    <a:pt x="66812" y="25"/>
                  </a:lnTo>
                  <a:cubicBezTo>
                    <a:pt x="81305" y="301"/>
                    <a:pt x="95532" y="3987"/>
                    <a:pt x="108343" y="10788"/>
                  </a:cubicBezTo>
                  <a:cubicBezTo>
                    <a:pt x="118322" y="16789"/>
                    <a:pt x="124119" y="24123"/>
                    <a:pt x="124119" y="31076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2795;p37">
              <a:extLst>
                <a:ext uri="{FF2B5EF4-FFF2-40B4-BE49-F238E27FC236}">
                  <a16:creationId xmlns:a16="http://schemas.microsoft.com/office/drawing/2014/main" id="{41551234-1085-4575-91EA-DDD8C714C3DF}"/>
                </a:ext>
              </a:extLst>
            </p:cNvPr>
            <p:cNvSpPr/>
            <p:nvPr/>
          </p:nvSpPr>
          <p:spPr>
            <a:xfrm>
              <a:off x="3467883" y="2886601"/>
              <a:ext cx="114710" cy="61717"/>
            </a:xfrm>
            <a:custGeom>
              <a:avLst/>
              <a:gdLst/>
              <a:ahLst/>
              <a:cxnLst/>
              <a:rect l="l" t="t" r="r" b="b"/>
              <a:pathLst>
                <a:path w="114710" h="61717" extrusionOk="0">
                  <a:moveTo>
                    <a:pt x="114711" y="30906"/>
                  </a:moveTo>
                  <a:cubicBezTo>
                    <a:pt x="114711" y="37859"/>
                    <a:pt x="108913" y="45099"/>
                    <a:pt x="98934" y="50909"/>
                  </a:cubicBezTo>
                  <a:cubicBezTo>
                    <a:pt x="73084" y="65320"/>
                    <a:pt x="41626" y="65320"/>
                    <a:pt x="15776" y="50909"/>
                  </a:cubicBezTo>
                  <a:cubicBezTo>
                    <a:pt x="6272" y="45099"/>
                    <a:pt x="0" y="37859"/>
                    <a:pt x="0" y="30906"/>
                  </a:cubicBezTo>
                  <a:cubicBezTo>
                    <a:pt x="0" y="23953"/>
                    <a:pt x="5797" y="16619"/>
                    <a:pt x="15776" y="10808"/>
                  </a:cubicBezTo>
                  <a:cubicBezTo>
                    <a:pt x="41626" y="-3603"/>
                    <a:pt x="73084" y="-3603"/>
                    <a:pt x="98934" y="10808"/>
                  </a:cubicBezTo>
                  <a:cubicBezTo>
                    <a:pt x="108913" y="16619"/>
                    <a:pt x="114711" y="23953"/>
                    <a:pt x="114711" y="30906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2796;p37">
              <a:extLst>
                <a:ext uri="{FF2B5EF4-FFF2-40B4-BE49-F238E27FC236}">
                  <a16:creationId xmlns:a16="http://schemas.microsoft.com/office/drawing/2014/main" id="{84835CC7-0283-454F-BDAE-209FEB2FBE16}"/>
                </a:ext>
              </a:extLst>
            </p:cNvPr>
            <p:cNvSpPr/>
            <p:nvPr/>
          </p:nvSpPr>
          <p:spPr>
            <a:xfrm>
              <a:off x="3559880" y="2961132"/>
              <a:ext cx="42223" cy="98678"/>
            </a:xfrm>
            <a:custGeom>
              <a:avLst/>
              <a:gdLst/>
              <a:ahLst/>
              <a:cxnLst/>
              <a:rect l="l" t="t" r="r" b="b"/>
              <a:pathLst>
                <a:path w="42223" h="98678" extrusionOk="0">
                  <a:moveTo>
                    <a:pt x="23569" y="9049"/>
                  </a:moveTo>
                  <a:lnTo>
                    <a:pt x="7983" y="0"/>
                  </a:lnTo>
                  <a:lnTo>
                    <a:pt x="285" y="4381"/>
                  </a:lnTo>
                  <a:lnTo>
                    <a:pt x="7983" y="8858"/>
                  </a:lnTo>
                  <a:lnTo>
                    <a:pt x="7983" y="11716"/>
                  </a:lnTo>
                  <a:lnTo>
                    <a:pt x="22619" y="20193"/>
                  </a:lnTo>
                  <a:lnTo>
                    <a:pt x="22144" y="22955"/>
                  </a:lnTo>
                  <a:cubicBezTo>
                    <a:pt x="25689" y="27984"/>
                    <a:pt x="28873" y="33271"/>
                    <a:pt x="31648" y="38767"/>
                  </a:cubicBezTo>
                  <a:lnTo>
                    <a:pt x="32123" y="38290"/>
                  </a:lnTo>
                  <a:lnTo>
                    <a:pt x="32123" y="74962"/>
                  </a:lnTo>
                  <a:cubicBezTo>
                    <a:pt x="32123" y="84487"/>
                    <a:pt x="26516" y="81344"/>
                    <a:pt x="24140" y="79915"/>
                  </a:cubicBezTo>
                  <a:lnTo>
                    <a:pt x="7698" y="70390"/>
                  </a:lnTo>
                  <a:lnTo>
                    <a:pt x="0" y="74771"/>
                  </a:lnTo>
                  <a:lnTo>
                    <a:pt x="7698" y="79248"/>
                  </a:lnTo>
                  <a:lnTo>
                    <a:pt x="7698" y="82105"/>
                  </a:lnTo>
                  <a:lnTo>
                    <a:pt x="24140" y="91630"/>
                  </a:lnTo>
                  <a:cubicBezTo>
                    <a:pt x="25812" y="92631"/>
                    <a:pt x="27599" y="93431"/>
                    <a:pt x="29462" y="94012"/>
                  </a:cubicBezTo>
                  <a:lnTo>
                    <a:pt x="28511" y="98679"/>
                  </a:lnTo>
                  <a:lnTo>
                    <a:pt x="37065" y="93821"/>
                  </a:lnTo>
                  <a:lnTo>
                    <a:pt x="37065" y="93821"/>
                  </a:lnTo>
                  <a:cubicBezTo>
                    <a:pt x="40838" y="90687"/>
                    <a:pt x="42739" y="85830"/>
                    <a:pt x="42102" y="80963"/>
                  </a:cubicBezTo>
                  <a:lnTo>
                    <a:pt x="42102" y="42863"/>
                  </a:lnTo>
                  <a:cubicBezTo>
                    <a:pt x="41408" y="29346"/>
                    <a:pt x="34575" y="16888"/>
                    <a:pt x="23569" y="9049"/>
                  </a:cubicBezTo>
                  <a:close/>
                </a:path>
              </a:pathLst>
            </a:custGeom>
            <a:solidFill>
              <a:srgbClr val="C9883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2797;p37">
              <a:extLst>
                <a:ext uri="{FF2B5EF4-FFF2-40B4-BE49-F238E27FC236}">
                  <a16:creationId xmlns:a16="http://schemas.microsoft.com/office/drawing/2014/main" id="{EDB768C3-3D25-4123-9C59-7761E6C86618}"/>
                </a:ext>
              </a:extLst>
            </p:cNvPr>
            <p:cNvSpPr/>
            <p:nvPr/>
          </p:nvSpPr>
          <p:spPr>
            <a:xfrm>
              <a:off x="3560165" y="2965989"/>
              <a:ext cx="34688" cy="94398"/>
            </a:xfrm>
            <a:custGeom>
              <a:avLst/>
              <a:gdLst/>
              <a:ahLst/>
              <a:cxnLst/>
              <a:rect l="l" t="t" r="r" b="b"/>
              <a:pathLst>
                <a:path w="34688" h="94398" extrusionOk="0">
                  <a:moveTo>
                    <a:pt x="16537" y="91535"/>
                  </a:moveTo>
                  <a:lnTo>
                    <a:pt x="0" y="82010"/>
                  </a:lnTo>
                  <a:lnTo>
                    <a:pt x="0" y="70199"/>
                  </a:lnTo>
                  <a:lnTo>
                    <a:pt x="16537" y="79724"/>
                  </a:lnTo>
                  <a:cubicBezTo>
                    <a:pt x="18913" y="81153"/>
                    <a:pt x="24520" y="84391"/>
                    <a:pt x="24520" y="74771"/>
                  </a:cubicBezTo>
                  <a:lnTo>
                    <a:pt x="24520" y="36671"/>
                  </a:lnTo>
                  <a:cubicBezTo>
                    <a:pt x="23874" y="30108"/>
                    <a:pt x="20405" y="24165"/>
                    <a:pt x="15016" y="20383"/>
                  </a:cubicBezTo>
                  <a:lnTo>
                    <a:pt x="0" y="11811"/>
                  </a:lnTo>
                  <a:lnTo>
                    <a:pt x="0" y="0"/>
                  </a:lnTo>
                  <a:lnTo>
                    <a:pt x="15681" y="9525"/>
                  </a:lnTo>
                  <a:cubicBezTo>
                    <a:pt x="26782" y="17173"/>
                    <a:pt x="33776" y="29489"/>
                    <a:pt x="34689" y="42958"/>
                  </a:cubicBezTo>
                  <a:lnTo>
                    <a:pt x="34689" y="81058"/>
                  </a:lnTo>
                  <a:cubicBezTo>
                    <a:pt x="34689" y="90678"/>
                    <a:pt x="29937" y="98965"/>
                    <a:pt x="16537" y="91535"/>
                  </a:cubicBezTo>
                  <a:close/>
                </a:path>
              </a:pathLst>
            </a:custGeom>
            <a:solidFill>
              <a:srgbClr val="E09C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2798;p37">
              <a:extLst>
                <a:ext uri="{FF2B5EF4-FFF2-40B4-BE49-F238E27FC236}">
                  <a16:creationId xmlns:a16="http://schemas.microsoft.com/office/drawing/2014/main" id="{24ED9603-D534-47B5-B9E4-6F795305B8E5}"/>
                </a:ext>
              </a:extLst>
            </p:cNvPr>
            <p:cNvSpPr/>
            <p:nvPr/>
          </p:nvSpPr>
          <p:spPr>
            <a:xfrm>
              <a:off x="5618400" y="4515040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1" y="218980"/>
                  </a:moveTo>
                  <a:cubicBezTo>
                    <a:pt x="756691" y="339919"/>
                    <a:pt x="587300" y="437960"/>
                    <a:pt x="378346" y="437960"/>
                  </a:cubicBezTo>
                  <a:cubicBezTo>
                    <a:pt x="169391" y="437960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1" y="98041"/>
                    <a:pt x="756691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2799;p37">
              <a:extLst>
                <a:ext uri="{FF2B5EF4-FFF2-40B4-BE49-F238E27FC236}">
                  <a16:creationId xmlns:a16="http://schemas.microsoft.com/office/drawing/2014/main" id="{76AD2A18-D99A-4CCC-9730-9357D5029183}"/>
                </a:ext>
              </a:extLst>
            </p:cNvPr>
            <p:cNvSpPr/>
            <p:nvPr/>
          </p:nvSpPr>
          <p:spPr>
            <a:xfrm>
              <a:off x="6158405" y="3069812"/>
              <a:ext cx="186021" cy="406050"/>
            </a:xfrm>
            <a:custGeom>
              <a:avLst/>
              <a:gdLst/>
              <a:ahLst/>
              <a:cxnLst/>
              <a:rect l="l" t="t" r="r" b="b"/>
              <a:pathLst>
                <a:path w="186021" h="406050" extrusionOk="0">
                  <a:moveTo>
                    <a:pt x="145028" y="0"/>
                  </a:moveTo>
                  <a:cubicBezTo>
                    <a:pt x="149304" y="38100"/>
                    <a:pt x="194352" y="200882"/>
                    <a:pt x="184659" y="256699"/>
                  </a:cubicBezTo>
                  <a:cubicBezTo>
                    <a:pt x="174965" y="312515"/>
                    <a:pt x="21288" y="406051"/>
                    <a:pt x="21288" y="406051"/>
                  </a:cubicBezTo>
                  <a:lnTo>
                    <a:pt x="0" y="310801"/>
                  </a:lnTo>
                  <a:lnTo>
                    <a:pt x="85534" y="227171"/>
                  </a:lnTo>
                  <a:lnTo>
                    <a:pt x="61965" y="68389"/>
                  </a:ln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2800;p37">
              <a:extLst>
                <a:ext uri="{FF2B5EF4-FFF2-40B4-BE49-F238E27FC236}">
                  <a16:creationId xmlns:a16="http://schemas.microsoft.com/office/drawing/2014/main" id="{B203EE31-DA5C-41CB-AD05-7AF0061A1F4D}"/>
                </a:ext>
              </a:extLst>
            </p:cNvPr>
            <p:cNvSpPr/>
            <p:nvPr/>
          </p:nvSpPr>
          <p:spPr>
            <a:xfrm>
              <a:off x="6184541" y="2902850"/>
              <a:ext cx="133813" cy="257894"/>
            </a:xfrm>
            <a:custGeom>
              <a:avLst/>
              <a:gdLst/>
              <a:ahLst/>
              <a:cxnLst/>
              <a:rect l="l" t="t" r="r" b="b"/>
              <a:pathLst>
                <a:path w="133813" h="257894" extrusionOk="0">
                  <a:moveTo>
                    <a:pt x="0" y="6275"/>
                  </a:moveTo>
                  <a:cubicBezTo>
                    <a:pt x="30935" y="-8136"/>
                    <a:pt x="67743" y="3008"/>
                    <a:pt x="85534" y="32183"/>
                  </a:cubicBezTo>
                  <a:cubicBezTo>
                    <a:pt x="108153" y="69712"/>
                    <a:pt x="131627" y="198490"/>
                    <a:pt x="133813" y="220492"/>
                  </a:cubicBezTo>
                  <a:cubicBezTo>
                    <a:pt x="133813" y="220492"/>
                    <a:pt x="102071" y="264403"/>
                    <a:pt x="54457" y="25706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2801;p37">
              <a:extLst>
                <a:ext uri="{FF2B5EF4-FFF2-40B4-BE49-F238E27FC236}">
                  <a16:creationId xmlns:a16="http://schemas.microsoft.com/office/drawing/2014/main" id="{39E59BC0-A03B-400B-9907-31327AE69F9F}"/>
                </a:ext>
              </a:extLst>
            </p:cNvPr>
            <p:cNvSpPr/>
            <p:nvPr/>
          </p:nvSpPr>
          <p:spPr>
            <a:xfrm>
              <a:off x="5735029" y="4688404"/>
              <a:ext cx="288490" cy="162715"/>
            </a:xfrm>
            <a:custGeom>
              <a:avLst/>
              <a:gdLst/>
              <a:ahLst/>
              <a:cxnLst/>
              <a:rect l="l" t="t" r="r" b="b"/>
              <a:pathLst>
                <a:path w="288490" h="162715" extrusionOk="0">
                  <a:moveTo>
                    <a:pt x="273882" y="39044"/>
                  </a:moveTo>
                  <a:cubicBezTo>
                    <a:pt x="240419" y="48340"/>
                    <a:pt x="204647" y="43997"/>
                    <a:pt x="174377" y="26947"/>
                  </a:cubicBezTo>
                  <a:cubicBezTo>
                    <a:pt x="150428" y="27709"/>
                    <a:pt x="20321" y="-28108"/>
                    <a:pt x="2644" y="18756"/>
                  </a:cubicBezTo>
                  <a:cubicBezTo>
                    <a:pt x="-12847" y="59808"/>
                    <a:pt x="43510" y="97813"/>
                    <a:pt x="73637" y="105147"/>
                  </a:cubicBezTo>
                  <a:cubicBezTo>
                    <a:pt x="139308" y="121054"/>
                    <a:pt x="187683" y="153915"/>
                    <a:pt x="214293" y="159440"/>
                  </a:cubicBezTo>
                  <a:cubicBezTo>
                    <a:pt x="233966" y="163631"/>
                    <a:pt x="259436" y="166393"/>
                    <a:pt x="275118" y="150867"/>
                  </a:cubicBezTo>
                  <a:cubicBezTo>
                    <a:pt x="293935" y="132293"/>
                    <a:pt x="292319" y="63523"/>
                    <a:pt x="273882" y="3904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2802;p37">
              <a:extLst>
                <a:ext uri="{FF2B5EF4-FFF2-40B4-BE49-F238E27FC236}">
                  <a16:creationId xmlns:a16="http://schemas.microsoft.com/office/drawing/2014/main" id="{D583AE22-B687-491A-8B8F-AA0D7538DBEF}"/>
                </a:ext>
              </a:extLst>
            </p:cNvPr>
            <p:cNvSpPr/>
            <p:nvPr/>
          </p:nvSpPr>
          <p:spPr>
            <a:xfrm>
              <a:off x="5735111" y="4715446"/>
              <a:ext cx="283683" cy="135768"/>
            </a:xfrm>
            <a:custGeom>
              <a:avLst/>
              <a:gdLst/>
              <a:ahLst/>
              <a:cxnLst/>
              <a:rect l="l" t="t" r="r" b="b"/>
              <a:pathLst>
                <a:path w="283683" h="135768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3" y="32861"/>
                    <a:pt x="471" y="0"/>
                  </a:cubicBezTo>
                  <a:cubicBezTo>
                    <a:pt x="-5422" y="38100"/>
                    <a:pt x="45424" y="71342"/>
                    <a:pt x="73555" y="78200"/>
                  </a:cubicBezTo>
                  <a:cubicBezTo>
                    <a:pt x="139226" y="94107"/>
                    <a:pt x="187600" y="126968"/>
                    <a:pt x="214211" y="132493"/>
                  </a:cubicBezTo>
                  <a:cubicBezTo>
                    <a:pt x="233884" y="136684"/>
                    <a:pt x="259354" y="139446"/>
                    <a:pt x="275035" y="123920"/>
                  </a:cubicBezTo>
                  <a:cubicBezTo>
                    <a:pt x="279074" y="119415"/>
                    <a:pt x="282040" y="114033"/>
                    <a:pt x="283684" y="108204"/>
                  </a:cubicBezTo>
                  <a:cubicBezTo>
                    <a:pt x="263859" y="123254"/>
                    <a:pt x="238094" y="128026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2803;p37">
              <a:extLst>
                <a:ext uri="{FF2B5EF4-FFF2-40B4-BE49-F238E27FC236}">
                  <a16:creationId xmlns:a16="http://schemas.microsoft.com/office/drawing/2014/main" id="{1F071453-92D8-46A0-ACBA-B366EBA68C44}"/>
                </a:ext>
              </a:extLst>
            </p:cNvPr>
            <p:cNvSpPr/>
            <p:nvPr/>
          </p:nvSpPr>
          <p:spPr>
            <a:xfrm>
              <a:off x="5946488" y="4593442"/>
              <a:ext cx="288134" cy="162731"/>
            </a:xfrm>
            <a:custGeom>
              <a:avLst/>
              <a:gdLst/>
              <a:ahLst/>
              <a:cxnLst/>
              <a:rect l="l" t="t" r="r" b="b"/>
              <a:pathLst>
                <a:path w="288134" h="162731" extrusionOk="0">
                  <a:moveTo>
                    <a:pt x="273882" y="39041"/>
                  </a:moveTo>
                  <a:cubicBezTo>
                    <a:pt x="240429" y="48319"/>
                    <a:pt x="204675" y="44004"/>
                    <a:pt x="174377" y="27040"/>
                  </a:cubicBezTo>
                  <a:cubicBezTo>
                    <a:pt x="150428" y="27707"/>
                    <a:pt x="20321" y="-28110"/>
                    <a:pt x="2644" y="18753"/>
                  </a:cubicBezTo>
                  <a:cubicBezTo>
                    <a:pt x="-12847" y="59806"/>
                    <a:pt x="43510" y="97810"/>
                    <a:pt x="73637" y="105145"/>
                  </a:cubicBezTo>
                  <a:cubicBezTo>
                    <a:pt x="139308" y="121051"/>
                    <a:pt x="187683" y="153913"/>
                    <a:pt x="214293" y="159533"/>
                  </a:cubicBezTo>
                  <a:cubicBezTo>
                    <a:pt x="234061" y="163628"/>
                    <a:pt x="259436" y="166391"/>
                    <a:pt x="275118" y="150865"/>
                  </a:cubicBezTo>
                  <a:cubicBezTo>
                    <a:pt x="293460" y="132291"/>
                    <a:pt x="291844" y="63521"/>
                    <a:pt x="273882" y="390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2804;p37">
              <a:extLst>
                <a:ext uri="{FF2B5EF4-FFF2-40B4-BE49-F238E27FC236}">
                  <a16:creationId xmlns:a16="http://schemas.microsoft.com/office/drawing/2014/main" id="{95885677-949D-403C-937C-4EC9E68D20A7}"/>
                </a:ext>
              </a:extLst>
            </p:cNvPr>
            <p:cNvSpPr/>
            <p:nvPr/>
          </p:nvSpPr>
          <p:spPr>
            <a:xfrm>
              <a:off x="5946095" y="4620482"/>
              <a:ext cx="283683" cy="135691"/>
            </a:xfrm>
            <a:custGeom>
              <a:avLst/>
              <a:gdLst/>
              <a:ahLst/>
              <a:cxnLst/>
              <a:rect l="l" t="t" r="r" b="b"/>
              <a:pathLst>
                <a:path w="283683" h="135691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2" y="32956"/>
                    <a:pt x="471" y="0"/>
                  </a:cubicBezTo>
                  <a:cubicBezTo>
                    <a:pt x="-5422" y="38100"/>
                    <a:pt x="45424" y="71247"/>
                    <a:pt x="73555" y="78105"/>
                  </a:cubicBezTo>
                  <a:cubicBezTo>
                    <a:pt x="139226" y="94012"/>
                    <a:pt x="187600" y="126873"/>
                    <a:pt x="214211" y="132493"/>
                  </a:cubicBezTo>
                  <a:cubicBezTo>
                    <a:pt x="233979" y="136588"/>
                    <a:pt x="259354" y="139351"/>
                    <a:pt x="275035" y="123825"/>
                  </a:cubicBezTo>
                  <a:cubicBezTo>
                    <a:pt x="279074" y="119320"/>
                    <a:pt x="282039" y="113938"/>
                    <a:pt x="283683" y="108109"/>
                  </a:cubicBezTo>
                  <a:cubicBezTo>
                    <a:pt x="263868" y="123187"/>
                    <a:pt x="238113" y="127997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2805;p37">
              <a:extLst>
                <a:ext uri="{FF2B5EF4-FFF2-40B4-BE49-F238E27FC236}">
                  <a16:creationId xmlns:a16="http://schemas.microsoft.com/office/drawing/2014/main" id="{53B4E9D9-8915-444B-B963-AE8B70458319}"/>
                </a:ext>
              </a:extLst>
            </p:cNvPr>
            <p:cNvSpPr/>
            <p:nvPr/>
          </p:nvSpPr>
          <p:spPr>
            <a:xfrm>
              <a:off x="5812467" y="3540156"/>
              <a:ext cx="422006" cy="1193603"/>
            </a:xfrm>
            <a:custGeom>
              <a:avLst/>
              <a:gdLst/>
              <a:ahLst/>
              <a:cxnLst/>
              <a:rect l="l" t="t" r="r" b="b"/>
              <a:pathLst>
                <a:path w="422006" h="1193603" extrusionOk="0">
                  <a:moveTo>
                    <a:pt x="409993" y="738092"/>
                  </a:moveTo>
                  <a:cubicBezTo>
                    <a:pt x="404434" y="689638"/>
                    <a:pt x="394379" y="641804"/>
                    <a:pt x="379961" y="595217"/>
                  </a:cubicBezTo>
                  <a:cubicBezTo>
                    <a:pt x="379961" y="595217"/>
                    <a:pt x="388990" y="471964"/>
                    <a:pt x="393457" y="355092"/>
                  </a:cubicBezTo>
                  <a:cubicBezTo>
                    <a:pt x="398589" y="222504"/>
                    <a:pt x="444397" y="105823"/>
                    <a:pt x="408188" y="0"/>
                  </a:cubicBezTo>
                  <a:lnTo>
                    <a:pt x="0" y="90964"/>
                  </a:lnTo>
                  <a:cubicBezTo>
                    <a:pt x="0" y="90964"/>
                    <a:pt x="24710" y="619601"/>
                    <a:pt x="30222" y="683609"/>
                  </a:cubicBezTo>
                  <a:cubicBezTo>
                    <a:pt x="33216" y="733349"/>
                    <a:pt x="39308" y="782841"/>
                    <a:pt x="48469" y="831818"/>
                  </a:cubicBezTo>
                  <a:cubicBezTo>
                    <a:pt x="67477" y="934402"/>
                    <a:pt x="97414" y="1178528"/>
                    <a:pt x="97414" y="1178528"/>
                  </a:cubicBezTo>
                  <a:cubicBezTo>
                    <a:pt x="140561" y="1203674"/>
                    <a:pt x="197204" y="1189768"/>
                    <a:pt x="197204" y="1189768"/>
                  </a:cubicBezTo>
                  <a:cubicBezTo>
                    <a:pt x="197204" y="1189768"/>
                    <a:pt x="194163" y="881063"/>
                    <a:pt x="191311" y="807148"/>
                  </a:cubicBezTo>
                  <a:cubicBezTo>
                    <a:pt x="187985" y="716851"/>
                    <a:pt x="185229" y="723709"/>
                    <a:pt x="185229" y="723709"/>
                  </a:cubicBezTo>
                  <a:lnTo>
                    <a:pt x="198819" y="499110"/>
                  </a:lnTo>
                  <a:lnTo>
                    <a:pt x="207658" y="387286"/>
                  </a:lnTo>
                  <a:cubicBezTo>
                    <a:pt x="207658" y="387286"/>
                    <a:pt x="218967" y="469392"/>
                    <a:pt x="226665" y="542734"/>
                  </a:cubicBezTo>
                  <a:cubicBezTo>
                    <a:pt x="233033" y="606647"/>
                    <a:pt x="248429" y="664464"/>
                    <a:pt x="265631" y="783526"/>
                  </a:cubicBezTo>
                  <a:cubicBezTo>
                    <a:pt x="280552" y="886777"/>
                    <a:pt x="304787" y="1094232"/>
                    <a:pt x="304787" y="1094232"/>
                  </a:cubicBezTo>
                  <a:cubicBezTo>
                    <a:pt x="347934" y="1119473"/>
                    <a:pt x="406572" y="1098518"/>
                    <a:pt x="406572" y="1098518"/>
                  </a:cubicBezTo>
                  <a:cubicBezTo>
                    <a:pt x="406572" y="1098518"/>
                    <a:pt x="421683" y="827627"/>
                    <a:pt x="409993" y="7380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2806;p37">
              <a:extLst>
                <a:ext uri="{FF2B5EF4-FFF2-40B4-BE49-F238E27FC236}">
                  <a16:creationId xmlns:a16="http://schemas.microsoft.com/office/drawing/2014/main" id="{87CBC7CE-33DA-472D-9ACE-FF78AC8B24B1}"/>
                </a:ext>
              </a:extLst>
            </p:cNvPr>
            <p:cNvSpPr/>
            <p:nvPr/>
          </p:nvSpPr>
          <p:spPr>
            <a:xfrm>
              <a:off x="5874419" y="2560474"/>
              <a:ext cx="305952" cy="491697"/>
            </a:xfrm>
            <a:custGeom>
              <a:avLst/>
              <a:gdLst/>
              <a:ahLst/>
              <a:cxnLst/>
              <a:rect l="l" t="t" r="r" b="b"/>
              <a:pathLst>
                <a:path w="305952" h="491697" extrusionOk="0">
                  <a:moveTo>
                    <a:pt x="288928" y="350842"/>
                  </a:moveTo>
                  <a:cubicBezTo>
                    <a:pt x="257851" y="352366"/>
                    <a:pt x="234756" y="360367"/>
                    <a:pt x="230860" y="350842"/>
                  </a:cubicBezTo>
                  <a:cubicBezTo>
                    <a:pt x="227496" y="334783"/>
                    <a:pt x="225120" y="318523"/>
                    <a:pt x="223732" y="302169"/>
                  </a:cubicBezTo>
                  <a:cubicBezTo>
                    <a:pt x="227343" y="293120"/>
                    <a:pt x="230385" y="283119"/>
                    <a:pt x="230385" y="283119"/>
                  </a:cubicBezTo>
                  <a:cubicBezTo>
                    <a:pt x="269445" y="259021"/>
                    <a:pt x="281800" y="216444"/>
                    <a:pt x="286932" y="167486"/>
                  </a:cubicBezTo>
                  <a:cubicBezTo>
                    <a:pt x="295676" y="83285"/>
                    <a:pt x="250248" y="9656"/>
                    <a:pt x="166329" y="798"/>
                  </a:cubicBezTo>
                  <a:cubicBezTo>
                    <a:pt x="87353" y="-7393"/>
                    <a:pt x="29285" y="48423"/>
                    <a:pt x="13793" y="124623"/>
                  </a:cubicBezTo>
                  <a:cubicBezTo>
                    <a:pt x="5430" y="162723"/>
                    <a:pt x="-11201" y="233589"/>
                    <a:pt x="11323" y="296073"/>
                  </a:cubicBezTo>
                  <a:cubicBezTo>
                    <a:pt x="23867" y="330744"/>
                    <a:pt x="39834" y="358271"/>
                    <a:pt x="56180" y="363605"/>
                  </a:cubicBezTo>
                  <a:cubicBezTo>
                    <a:pt x="71833" y="363205"/>
                    <a:pt x="87448" y="361834"/>
                    <a:pt x="102939" y="359510"/>
                  </a:cubicBezTo>
                  <a:lnTo>
                    <a:pt x="102939" y="359510"/>
                  </a:lnTo>
                  <a:cubicBezTo>
                    <a:pt x="102939" y="359510"/>
                    <a:pt x="107121" y="382941"/>
                    <a:pt x="110067" y="397610"/>
                  </a:cubicBezTo>
                  <a:cubicBezTo>
                    <a:pt x="113013" y="412278"/>
                    <a:pt x="111777" y="420565"/>
                    <a:pt x="82031" y="438948"/>
                  </a:cubicBezTo>
                  <a:cubicBezTo>
                    <a:pt x="52284" y="457331"/>
                    <a:pt x="127079" y="495241"/>
                    <a:pt x="176023" y="491431"/>
                  </a:cubicBezTo>
                  <a:cubicBezTo>
                    <a:pt x="224968" y="487621"/>
                    <a:pt x="279424" y="458951"/>
                    <a:pt x="294440" y="426851"/>
                  </a:cubicBezTo>
                  <a:cubicBezTo>
                    <a:pt x="311262" y="391514"/>
                    <a:pt x="309837" y="349794"/>
                    <a:pt x="288928" y="3508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2807;p37">
              <a:extLst>
                <a:ext uri="{FF2B5EF4-FFF2-40B4-BE49-F238E27FC236}">
                  <a16:creationId xmlns:a16="http://schemas.microsoft.com/office/drawing/2014/main" id="{A86586E2-9E47-471C-B867-7975D188BF48}"/>
                </a:ext>
              </a:extLst>
            </p:cNvPr>
            <p:cNvSpPr/>
            <p:nvPr/>
          </p:nvSpPr>
          <p:spPr>
            <a:xfrm>
              <a:off x="5809360" y="2908700"/>
              <a:ext cx="471048" cy="781597"/>
            </a:xfrm>
            <a:custGeom>
              <a:avLst/>
              <a:gdLst/>
              <a:ahLst/>
              <a:cxnLst/>
              <a:rect l="l" t="t" r="r" b="b"/>
              <a:pathLst>
                <a:path w="471048" h="781597" extrusionOk="0">
                  <a:moveTo>
                    <a:pt x="308559" y="7283"/>
                  </a:moveTo>
                  <a:cubicBezTo>
                    <a:pt x="317113" y="28715"/>
                    <a:pt x="295254" y="54908"/>
                    <a:pt x="236901" y="73482"/>
                  </a:cubicBezTo>
                  <a:cubicBezTo>
                    <a:pt x="178547" y="92056"/>
                    <a:pt x="173225" y="68243"/>
                    <a:pt x="173225" y="68243"/>
                  </a:cubicBezTo>
                  <a:cubicBezTo>
                    <a:pt x="173225" y="68243"/>
                    <a:pt x="87691" y="107296"/>
                    <a:pt x="59750" y="126822"/>
                  </a:cubicBezTo>
                  <a:cubicBezTo>
                    <a:pt x="24776" y="151396"/>
                    <a:pt x="9190" y="222072"/>
                    <a:pt x="4438" y="342373"/>
                  </a:cubicBezTo>
                  <a:cubicBezTo>
                    <a:pt x="-979" y="481152"/>
                    <a:pt x="-1454" y="686987"/>
                    <a:pt x="3107" y="722516"/>
                  </a:cubicBezTo>
                  <a:cubicBezTo>
                    <a:pt x="3107" y="722516"/>
                    <a:pt x="68589" y="787952"/>
                    <a:pt x="152412" y="781094"/>
                  </a:cubicBezTo>
                  <a:cubicBezTo>
                    <a:pt x="236235" y="774236"/>
                    <a:pt x="377272" y="699846"/>
                    <a:pt x="411485" y="642410"/>
                  </a:cubicBezTo>
                  <a:cubicBezTo>
                    <a:pt x="410535" y="520776"/>
                    <a:pt x="396279" y="500964"/>
                    <a:pt x="415952" y="430860"/>
                  </a:cubicBezTo>
                  <a:cubicBezTo>
                    <a:pt x="461000" y="270364"/>
                    <a:pt x="484664" y="204641"/>
                    <a:pt x="462806" y="97961"/>
                  </a:cubicBezTo>
                  <a:cubicBezTo>
                    <a:pt x="444748" y="10045"/>
                    <a:pt x="419469" y="-813"/>
                    <a:pt x="384875" y="44"/>
                  </a:cubicBezTo>
                  <a:cubicBezTo>
                    <a:pt x="359329" y="1092"/>
                    <a:pt x="333849" y="3511"/>
                    <a:pt x="308559" y="728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2808;p37">
              <a:extLst>
                <a:ext uri="{FF2B5EF4-FFF2-40B4-BE49-F238E27FC236}">
                  <a16:creationId xmlns:a16="http://schemas.microsoft.com/office/drawing/2014/main" id="{A865FAD3-5A1D-4C54-BE36-41BBF87BA05D}"/>
                </a:ext>
              </a:extLst>
            </p:cNvPr>
            <p:cNvSpPr/>
            <p:nvPr/>
          </p:nvSpPr>
          <p:spPr>
            <a:xfrm>
              <a:off x="5348856" y="3006224"/>
              <a:ext cx="597933" cy="466333"/>
            </a:xfrm>
            <a:custGeom>
              <a:avLst/>
              <a:gdLst/>
              <a:ahLst/>
              <a:cxnLst/>
              <a:rect l="l" t="t" r="r" b="b"/>
              <a:pathLst>
                <a:path w="597933" h="466333" extrusionOk="0">
                  <a:moveTo>
                    <a:pt x="333219" y="359529"/>
                  </a:moveTo>
                  <a:cubicBezTo>
                    <a:pt x="402027" y="376960"/>
                    <a:pt x="418183" y="333431"/>
                    <a:pt x="427212" y="297522"/>
                  </a:cubicBezTo>
                  <a:cubicBezTo>
                    <a:pt x="449070" y="210368"/>
                    <a:pt x="460855" y="131691"/>
                    <a:pt x="477202" y="82161"/>
                  </a:cubicBezTo>
                  <a:cubicBezTo>
                    <a:pt x="496209" y="23868"/>
                    <a:pt x="516547" y="14629"/>
                    <a:pt x="544773" y="3199"/>
                  </a:cubicBezTo>
                  <a:cubicBezTo>
                    <a:pt x="578037" y="-10136"/>
                    <a:pt x="606548" y="17963"/>
                    <a:pt x="595524" y="92258"/>
                  </a:cubicBezTo>
                  <a:cubicBezTo>
                    <a:pt x="582408" y="180078"/>
                    <a:pt x="565302" y="241705"/>
                    <a:pt x="532513" y="345623"/>
                  </a:cubicBezTo>
                  <a:cubicBezTo>
                    <a:pt x="523960" y="372769"/>
                    <a:pt x="504763" y="420966"/>
                    <a:pt x="476061" y="444302"/>
                  </a:cubicBezTo>
                  <a:cubicBezTo>
                    <a:pt x="440517" y="472877"/>
                    <a:pt x="387106" y="471829"/>
                    <a:pt x="306228" y="451636"/>
                  </a:cubicBezTo>
                  <a:cubicBezTo>
                    <a:pt x="271730" y="443064"/>
                    <a:pt x="233905" y="422394"/>
                    <a:pt x="168708" y="391915"/>
                  </a:cubicBezTo>
                  <a:cubicBezTo>
                    <a:pt x="151222" y="383723"/>
                    <a:pt x="137536" y="378294"/>
                    <a:pt x="103988" y="362577"/>
                  </a:cubicBezTo>
                  <a:cubicBezTo>
                    <a:pt x="70439" y="346861"/>
                    <a:pt x="35370" y="320667"/>
                    <a:pt x="17789" y="295141"/>
                  </a:cubicBezTo>
                  <a:cubicBezTo>
                    <a:pt x="207" y="269614"/>
                    <a:pt x="-2169" y="257041"/>
                    <a:pt x="1442" y="251707"/>
                  </a:cubicBezTo>
                  <a:cubicBezTo>
                    <a:pt x="5909" y="244372"/>
                    <a:pt x="13892" y="245991"/>
                    <a:pt x="23301" y="256755"/>
                  </a:cubicBezTo>
                  <a:cubicBezTo>
                    <a:pt x="36872" y="274966"/>
                    <a:pt x="53646" y="290521"/>
                    <a:pt x="72815" y="302665"/>
                  </a:cubicBezTo>
                  <a:cubicBezTo>
                    <a:pt x="72815" y="302665"/>
                    <a:pt x="51052" y="280186"/>
                    <a:pt x="39267" y="265613"/>
                  </a:cubicBezTo>
                  <a:cubicBezTo>
                    <a:pt x="28727" y="252611"/>
                    <a:pt x="19974" y="238267"/>
                    <a:pt x="13227" y="222941"/>
                  </a:cubicBezTo>
                  <a:cubicBezTo>
                    <a:pt x="7049" y="208082"/>
                    <a:pt x="19879" y="187889"/>
                    <a:pt x="29573" y="198462"/>
                  </a:cubicBezTo>
                  <a:cubicBezTo>
                    <a:pt x="39267" y="209034"/>
                    <a:pt x="44019" y="219893"/>
                    <a:pt x="61791" y="241229"/>
                  </a:cubicBezTo>
                  <a:cubicBezTo>
                    <a:pt x="71124" y="252649"/>
                    <a:pt x="81816" y="262889"/>
                    <a:pt x="93629" y="271709"/>
                  </a:cubicBezTo>
                  <a:cubicBezTo>
                    <a:pt x="82595" y="256641"/>
                    <a:pt x="72777" y="240714"/>
                    <a:pt x="64262" y="224084"/>
                  </a:cubicBezTo>
                  <a:cubicBezTo>
                    <a:pt x="56649" y="211158"/>
                    <a:pt x="52924" y="196309"/>
                    <a:pt x="53523" y="181317"/>
                  </a:cubicBezTo>
                  <a:cubicBezTo>
                    <a:pt x="53998" y="173506"/>
                    <a:pt x="65022" y="164267"/>
                    <a:pt x="75286" y="179031"/>
                  </a:cubicBezTo>
                  <a:cubicBezTo>
                    <a:pt x="84790" y="192270"/>
                    <a:pt x="90682" y="213035"/>
                    <a:pt x="112256" y="235609"/>
                  </a:cubicBezTo>
                  <a:cubicBezTo>
                    <a:pt x="127937" y="251897"/>
                    <a:pt x="141338" y="261327"/>
                    <a:pt x="141718" y="256755"/>
                  </a:cubicBezTo>
                  <a:cubicBezTo>
                    <a:pt x="142098" y="252183"/>
                    <a:pt x="132214" y="243324"/>
                    <a:pt x="126607" y="224274"/>
                  </a:cubicBezTo>
                  <a:cubicBezTo>
                    <a:pt x="121000" y="205224"/>
                    <a:pt x="126607" y="185127"/>
                    <a:pt x="137156" y="182936"/>
                  </a:cubicBezTo>
                  <a:cubicBezTo>
                    <a:pt x="147705" y="180745"/>
                    <a:pt x="145614" y="181317"/>
                    <a:pt x="153978" y="199128"/>
                  </a:cubicBezTo>
                  <a:cubicBezTo>
                    <a:pt x="162341" y="216940"/>
                    <a:pt x="175361" y="230085"/>
                    <a:pt x="185245" y="256278"/>
                  </a:cubicBezTo>
                  <a:cubicBezTo>
                    <a:pt x="190634" y="274624"/>
                    <a:pt x="200423" y="291369"/>
                    <a:pt x="213757" y="305047"/>
                  </a:cubicBezTo>
                  <a:cubicBezTo>
                    <a:pt x="230483" y="323144"/>
                    <a:pt x="267833" y="343051"/>
                    <a:pt x="333219" y="359529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2809;p37">
              <a:extLst>
                <a:ext uri="{FF2B5EF4-FFF2-40B4-BE49-F238E27FC236}">
                  <a16:creationId xmlns:a16="http://schemas.microsoft.com/office/drawing/2014/main" id="{ABEA6622-D3B9-4187-BF9D-3506C1177F6E}"/>
                </a:ext>
              </a:extLst>
            </p:cNvPr>
            <p:cNvSpPr/>
            <p:nvPr/>
          </p:nvSpPr>
          <p:spPr>
            <a:xfrm>
              <a:off x="5786047" y="2996305"/>
              <a:ext cx="182011" cy="266828"/>
            </a:xfrm>
            <a:custGeom>
              <a:avLst/>
              <a:gdLst/>
              <a:ahLst/>
              <a:cxnLst/>
              <a:rect l="l" t="t" r="r" b="b"/>
              <a:pathLst>
                <a:path w="182011" h="266828" extrusionOk="0">
                  <a:moveTo>
                    <a:pt x="133053" y="1213"/>
                  </a:moveTo>
                  <a:cubicBezTo>
                    <a:pt x="87150" y="-5550"/>
                    <a:pt x="54742" y="15119"/>
                    <a:pt x="34404" y="84937"/>
                  </a:cubicBezTo>
                  <a:cubicBezTo>
                    <a:pt x="14066" y="154755"/>
                    <a:pt x="0" y="211905"/>
                    <a:pt x="0" y="211905"/>
                  </a:cubicBezTo>
                  <a:cubicBezTo>
                    <a:pt x="18143" y="238194"/>
                    <a:pt x="45666" y="256502"/>
                    <a:pt x="76886" y="263055"/>
                  </a:cubicBezTo>
                  <a:cubicBezTo>
                    <a:pt x="131818" y="276390"/>
                    <a:pt x="151586" y="250101"/>
                    <a:pt x="151586" y="250101"/>
                  </a:cubicBezTo>
                  <a:cubicBezTo>
                    <a:pt x="151586" y="250101"/>
                    <a:pt x="166886" y="177044"/>
                    <a:pt x="176390" y="127323"/>
                  </a:cubicBezTo>
                  <a:cubicBezTo>
                    <a:pt x="185894" y="77603"/>
                    <a:pt x="189886" y="9594"/>
                    <a:pt x="133053" y="12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2810;p37">
              <a:extLst>
                <a:ext uri="{FF2B5EF4-FFF2-40B4-BE49-F238E27FC236}">
                  <a16:creationId xmlns:a16="http://schemas.microsoft.com/office/drawing/2014/main" id="{016759AF-C717-4BCC-AC46-3956DFE10205}"/>
                </a:ext>
              </a:extLst>
            </p:cNvPr>
            <p:cNvSpPr/>
            <p:nvPr/>
          </p:nvSpPr>
          <p:spPr>
            <a:xfrm>
              <a:off x="5873666" y="2538911"/>
              <a:ext cx="296973" cy="328330"/>
            </a:xfrm>
            <a:custGeom>
              <a:avLst/>
              <a:gdLst/>
              <a:ahLst/>
              <a:cxnLst/>
              <a:rect l="l" t="t" r="r" b="b"/>
              <a:pathLst>
                <a:path w="296973" h="328330" extrusionOk="0">
                  <a:moveTo>
                    <a:pt x="16733" y="135613"/>
                  </a:moveTo>
                  <a:cubicBezTo>
                    <a:pt x="16733" y="135613"/>
                    <a:pt x="-55876" y="25123"/>
                    <a:pt x="101411" y="2263"/>
                  </a:cubicBezTo>
                  <a:cubicBezTo>
                    <a:pt x="214791" y="-13930"/>
                    <a:pt x="287686" y="59413"/>
                    <a:pt x="296049" y="138280"/>
                  </a:cubicBezTo>
                  <a:cubicBezTo>
                    <a:pt x="304127" y="214003"/>
                    <a:pt x="257558" y="292585"/>
                    <a:pt x="224010" y="323827"/>
                  </a:cubicBezTo>
                  <a:cubicBezTo>
                    <a:pt x="207664" y="329637"/>
                    <a:pt x="172309" y="333352"/>
                    <a:pt x="126026" y="311920"/>
                  </a:cubicBezTo>
                  <a:cubicBezTo>
                    <a:pt x="124144" y="291308"/>
                    <a:pt x="123413" y="270611"/>
                    <a:pt x="123840" y="249913"/>
                  </a:cubicBezTo>
                  <a:cubicBezTo>
                    <a:pt x="123840" y="249913"/>
                    <a:pt x="179152" y="133612"/>
                    <a:pt x="16733" y="13561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2811;p37">
              <a:extLst>
                <a:ext uri="{FF2B5EF4-FFF2-40B4-BE49-F238E27FC236}">
                  <a16:creationId xmlns:a16="http://schemas.microsoft.com/office/drawing/2014/main" id="{7D3B5396-1E61-41D7-A69D-91DA7DD90B1C}"/>
                </a:ext>
              </a:extLst>
            </p:cNvPr>
            <p:cNvSpPr/>
            <p:nvPr/>
          </p:nvSpPr>
          <p:spPr>
            <a:xfrm>
              <a:off x="4255557" y="1955958"/>
              <a:ext cx="334153" cy="334898"/>
            </a:xfrm>
            <a:custGeom>
              <a:avLst/>
              <a:gdLst/>
              <a:ahLst/>
              <a:cxnLst/>
              <a:rect l="l" t="t" r="r" b="b"/>
              <a:pathLst>
                <a:path w="334153" h="334898" extrusionOk="0">
                  <a:moveTo>
                    <a:pt x="334153" y="167449"/>
                  </a:moveTo>
                  <a:cubicBezTo>
                    <a:pt x="334153" y="259929"/>
                    <a:pt x="259351" y="334899"/>
                    <a:pt x="167077" y="334899"/>
                  </a:cubicBezTo>
                  <a:cubicBezTo>
                    <a:pt x="74803" y="334899"/>
                    <a:pt x="0" y="259929"/>
                    <a:pt x="0" y="167449"/>
                  </a:cubicBezTo>
                  <a:cubicBezTo>
                    <a:pt x="0" y="74970"/>
                    <a:pt x="74803" y="0"/>
                    <a:pt x="167077" y="0"/>
                  </a:cubicBezTo>
                  <a:cubicBezTo>
                    <a:pt x="259351" y="0"/>
                    <a:pt x="334153" y="74970"/>
                    <a:pt x="334153" y="167449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2812;p37">
              <a:extLst>
                <a:ext uri="{FF2B5EF4-FFF2-40B4-BE49-F238E27FC236}">
                  <a16:creationId xmlns:a16="http://schemas.microsoft.com/office/drawing/2014/main" id="{79FB28B6-10CD-4133-8163-99DD8547F5DD}"/>
                </a:ext>
              </a:extLst>
            </p:cNvPr>
            <p:cNvSpPr/>
            <p:nvPr/>
          </p:nvSpPr>
          <p:spPr>
            <a:xfrm>
              <a:off x="4197204" y="1948719"/>
              <a:ext cx="450859" cy="225075"/>
            </a:xfrm>
            <a:custGeom>
              <a:avLst/>
              <a:gdLst/>
              <a:ahLst/>
              <a:cxnLst/>
              <a:rect l="l" t="t" r="r" b="b"/>
              <a:pathLst>
                <a:path w="450859" h="225075" extrusionOk="0">
                  <a:moveTo>
                    <a:pt x="225430" y="225076"/>
                  </a:moveTo>
                  <a:cubicBezTo>
                    <a:pt x="162040" y="225076"/>
                    <a:pt x="100645" y="210598"/>
                    <a:pt x="57023" y="185357"/>
                  </a:cubicBezTo>
                  <a:cubicBezTo>
                    <a:pt x="20623" y="164306"/>
                    <a:pt x="0" y="137732"/>
                    <a:pt x="0" y="112586"/>
                  </a:cubicBezTo>
                  <a:cubicBezTo>
                    <a:pt x="0" y="87440"/>
                    <a:pt x="20908" y="60865"/>
                    <a:pt x="57023" y="39719"/>
                  </a:cubicBezTo>
                  <a:cubicBezTo>
                    <a:pt x="100645" y="14478"/>
                    <a:pt x="161564" y="0"/>
                    <a:pt x="225430" y="0"/>
                  </a:cubicBezTo>
                  <a:cubicBezTo>
                    <a:pt x="289295" y="0"/>
                    <a:pt x="350120" y="14478"/>
                    <a:pt x="393837" y="39719"/>
                  </a:cubicBezTo>
                  <a:cubicBezTo>
                    <a:pt x="430237" y="60865"/>
                    <a:pt x="450860" y="87344"/>
                    <a:pt x="450860" y="112586"/>
                  </a:cubicBezTo>
                  <a:cubicBezTo>
                    <a:pt x="450860" y="137827"/>
                    <a:pt x="430046" y="164306"/>
                    <a:pt x="393837" y="185357"/>
                  </a:cubicBezTo>
                  <a:cubicBezTo>
                    <a:pt x="350500" y="210598"/>
                    <a:pt x="288725" y="225076"/>
                    <a:pt x="225430" y="225076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2813;p37">
              <a:extLst>
                <a:ext uri="{FF2B5EF4-FFF2-40B4-BE49-F238E27FC236}">
                  <a16:creationId xmlns:a16="http://schemas.microsoft.com/office/drawing/2014/main" id="{4A4FBF27-305B-4D43-B700-9C9BA5A0BC45}"/>
                </a:ext>
              </a:extLst>
            </p:cNvPr>
            <p:cNvSpPr/>
            <p:nvPr/>
          </p:nvSpPr>
          <p:spPr>
            <a:xfrm>
              <a:off x="4129822" y="1856041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884"/>
                    <a:pt x="0" y="178499"/>
                    <a:pt x="0" y="145828"/>
                  </a:cubicBezTo>
                  <a:cubicBezTo>
                    <a:pt x="0" y="113157"/>
                    <a:pt x="26991" y="79153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772"/>
                    <a:pt x="585718" y="113157"/>
                    <a:pt x="585718" y="145828"/>
                  </a:cubicBezTo>
                  <a:cubicBezTo>
                    <a:pt x="585718" y="178499"/>
                    <a:pt x="558633" y="212503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2814;p37">
              <a:extLst>
                <a:ext uri="{FF2B5EF4-FFF2-40B4-BE49-F238E27FC236}">
                  <a16:creationId xmlns:a16="http://schemas.microsoft.com/office/drawing/2014/main" id="{1E9653D0-E644-4F19-851C-1D0A334216BA}"/>
                </a:ext>
              </a:extLst>
            </p:cNvPr>
            <p:cNvSpPr/>
            <p:nvPr/>
          </p:nvSpPr>
          <p:spPr>
            <a:xfrm>
              <a:off x="4129822" y="1818703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979"/>
                    <a:pt x="0" y="178498"/>
                    <a:pt x="0" y="145923"/>
                  </a:cubicBezTo>
                  <a:cubicBezTo>
                    <a:pt x="0" y="113347"/>
                    <a:pt x="26991" y="79248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867"/>
                    <a:pt x="585718" y="113252"/>
                    <a:pt x="585718" y="145923"/>
                  </a:cubicBezTo>
                  <a:cubicBezTo>
                    <a:pt x="585718" y="178594"/>
                    <a:pt x="558633" y="212598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2815;p37">
              <a:extLst>
                <a:ext uri="{FF2B5EF4-FFF2-40B4-BE49-F238E27FC236}">
                  <a16:creationId xmlns:a16="http://schemas.microsoft.com/office/drawing/2014/main" id="{3B6F5241-AEF1-4144-B244-6A5E64343747}"/>
                </a:ext>
              </a:extLst>
            </p:cNvPr>
            <p:cNvSpPr/>
            <p:nvPr/>
          </p:nvSpPr>
          <p:spPr>
            <a:xfrm>
              <a:off x="4066052" y="1720024"/>
              <a:ext cx="713163" cy="355663"/>
            </a:xfrm>
            <a:custGeom>
              <a:avLst/>
              <a:gdLst/>
              <a:ahLst/>
              <a:cxnLst/>
              <a:rect l="l" t="t" r="r" b="b"/>
              <a:pathLst>
                <a:path w="713163" h="355663" extrusionOk="0">
                  <a:moveTo>
                    <a:pt x="356582" y="355663"/>
                  </a:moveTo>
                  <a:cubicBezTo>
                    <a:pt x="256412" y="355663"/>
                    <a:pt x="159474" y="332804"/>
                    <a:pt x="90476" y="292894"/>
                  </a:cubicBezTo>
                  <a:cubicBezTo>
                    <a:pt x="32978" y="259556"/>
                    <a:pt x="0" y="217646"/>
                    <a:pt x="0" y="177832"/>
                  </a:cubicBezTo>
                  <a:cubicBezTo>
                    <a:pt x="0" y="138017"/>
                    <a:pt x="32978" y="96107"/>
                    <a:pt x="90476" y="62865"/>
                  </a:cubicBezTo>
                  <a:cubicBezTo>
                    <a:pt x="159474" y="22955"/>
                    <a:pt x="256412" y="0"/>
                    <a:pt x="356582" y="0"/>
                  </a:cubicBezTo>
                  <a:cubicBezTo>
                    <a:pt x="456752" y="0"/>
                    <a:pt x="553596" y="22955"/>
                    <a:pt x="622688" y="62865"/>
                  </a:cubicBezTo>
                  <a:cubicBezTo>
                    <a:pt x="680186" y="96107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894"/>
                  </a:cubicBezTo>
                  <a:cubicBezTo>
                    <a:pt x="553690" y="332804"/>
                    <a:pt x="456657" y="355663"/>
                    <a:pt x="356582" y="355663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2816;p37">
              <a:extLst>
                <a:ext uri="{FF2B5EF4-FFF2-40B4-BE49-F238E27FC236}">
                  <a16:creationId xmlns:a16="http://schemas.microsoft.com/office/drawing/2014/main" id="{9F659BEE-5560-46F5-BE5B-68FD746C7C7C}"/>
                </a:ext>
              </a:extLst>
            </p:cNvPr>
            <p:cNvSpPr/>
            <p:nvPr/>
          </p:nvSpPr>
          <p:spPr>
            <a:xfrm>
              <a:off x="4066052" y="1674590"/>
              <a:ext cx="713163" cy="355568"/>
            </a:xfrm>
            <a:custGeom>
              <a:avLst/>
              <a:gdLst/>
              <a:ahLst/>
              <a:cxnLst/>
              <a:rect l="l" t="t" r="r" b="b"/>
              <a:pathLst>
                <a:path w="713163" h="355568" extrusionOk="0">
                  <a:moveTo>
                    <a:pt x="356582" y="355568"/>
                  </a:moveTo>
                  <a:cubicBezTo>
                    <a:pt x="256412" y="355568"/>
                    <a:pt x="159474" y="332708"/>
                    <a:pt x="90476" y="292799"/>
                  </a:cubicBezTo>
                  <a:cubicBezTo>
                    <a:pt x="32978" y="259556"/>
                    <a:pt x="0" y="217551"/>
                    <a:pt x="0" y="177737"/>
                  </a:cubicBezTo>
                  <a:cubicBezTo>
                    <a:pt x="0" y="137922"/>
                    <a:pt x="32978" y="96012"/>
                    <a:pt x="90476" y="62770"/>
                  </a:cubicBezTo>
                  <a:cubicBezTo>
                    <a:pt x="159474" y="22860"/>
                    <a:pt x="256412" y="0"/>
                    <a:pt x="356582" y="0"/>
                  </a:cubicBezTo>
                  <a:cubicBezTo>
                    <a:pt x="456752" y="0"/>
                    <a:pt x="553596" y="22860"/>
                    <a:pt x="622688" y="62770"/>
                  </a:cubicBezTo>
                  <a:cubicBezTo>
                    <a:pt x="680186" y="96012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799"/>
                  </a:cubicBezTo>
                  <a:cubicBezTo>
                    <a:pt x="553690" y="332708"/>
                    <a:pt x="456657" y="355568"/>
                    <a:pt x="356582" y="355568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2817;p37">
              <a:extLst>
                <a:ext uri="{FF2B5EF4-FFF2-40B4-BE49-F238E27FC236}">
                  <a16:creationId xmlns:a16="http://schemas.microsoft.com/office/drawing/2014/main" id="{1271B174-A7B2-4776-AF22-B06670FA40C4}"/>
                </a:ext>
              </a:extLst>
            </p:cNvPr>
            <p:cNvSpPr/>
            <p:nvPr/>
          </p:nvSpPr>
          <p:spPr>
            <a:xfrm>
              <a:off x="4013211" y="1574958"/>
              <a:ext cx="818751" cy="408241"/>
            </a:xfrm>
            <a:custGeom>
              <a:avLst/>
              <a:gdLst/>
              <a:ahLst/>
              <a:cxnLst/>
              <a:rect l="l" t="t" r="r" b="b"/>
              <a:pathLst>
                <a:path w="818751" h="408241" extrusionOk="0">
                  <a:moveTo>
                    <a:pt x="409423" y="408242"/>
                  </a:moveTo>
                  <a:cubicBezTo>
                    <a:pt x="294427" y="408242"/>
                    <a:pt x="183138" y="382048"/>
                    <a:pt x="103876" y="336137"/>
                  </a:cubicBezTo>
                  <a:cubicBezTo>
                    <a:pt x="37825" y="298037"/>
                    <a:pt x="0" y="249841"/>
                    <a:pt x="0" y="204121"/>
                  </a:cubicBezTo>
                  <a:cubicBezTo>
                    <a:pt x="0" y="158401"/>
                    <a:pt x="38015" y="110299"/>
                    <a:pt x="103876" y="72009"/>
                  </a:cubicBezTo>
                  <a:cubicBezTo>
                    <a:pt x="183043" y="26194"/>
                    <a:pt x="294427" y="0"/>
                    <a:pt x="409328" y="0"/>
                  </a:cubicBezTo>
                  <a:cubicBezTo>
                    <a:pt x="524229" y="0"/>
                    <a:pt x="635708" y="26194"/>
                    <a:pt x="714875" y="72104"/>
                  </a:cubicBezTo>
                  <a:cubicBezTo>
                    <a:pt x="780926" y="110204"/>
                    <a:pt x="818751" y="158401"/>
                    <a:pt x="818751" y="204121"/>
                  </a:cubicBezTo>
                  <a:cubicBezTo>
                    <a:pt x="818751" y="249841"/>
                    <a:pt x="780736" y="297942"/>
                    <a:pt x="714875" y="336137"/>
                  </a:cubicBezTo>
                  <a:cubicBezTo>
                    <a:pt x="635708" y="382048"/>
                    <a:pt x="524324" y="408242"/>
                    <a:pt x="409423" y="408242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818;p37">
              <a:extLst>
                <a:ext uri="{FF2B5EF4-FFF2-40B4-BE49-F238E27FC236}">
                  <a16:creationId xmlns:a16="http://schemas.microsoft.com/office/drawing/2014/main" id="{F96FA0B1-74B2-46E6-9C62-93D7D5859019}"/>
                </a:ext>
              </a:extLst>
            </p:cNvPr>
            <p:cNvSpPr/>
            <p:nvPr/>
          </p:nvSpPr>
          <p:spPr>
            <a:xfrm>
              <a:off x="4013211" y="1522666"/>
              <a:ext cx="818751" cy="408336"/>
            </a:xfrm>
            <a:custGeom>
              <a:avLst/>
              <a:gdLst/>
              <a:ahLst/>
              <a:cxnLst/>
              <a:rect l="l" t="t" r="r" b="b"/>
              <a:pathLst>
                <a:path w="818751" h="408336" extrusionOk="0">
                  <a:moveTo>
                    <a:pt x="409423" y="408337"/>
                  </a:moveTo>
                  <a:cubicBezTo>
                    <a:pt x="294427" y="408337"/>
                    <a:pt x="183138" y="382048"/>
                    <a:pt x="103876" y="336233"/>
                  </a:cubicBezTo>
                  <a:cubicBezTo>
                    <a:pt x="37825" y="298133"/>
                    <a:pt x="0" y="249936"/>
                    <a:pt x="0" y="204216"/>
                  </a:cubicBezTo>
                  <a:cubicBezTo>
                    <a:pt x="0" y="158496"/>
                    <a:pt x="38015" y="110300"/>
                    <a:pt x="103876" y="72104"/>
                  </a:cubicBezTo>
                  <a:cubicBezTo>
                    <a:pt x="183043" y="26289"/>
                    <a:pt x="294427" y="0"/>
                    <a:pt x="409328" y="0"/>
                  </a:cubicBezTo>
                  <a:cubicBezTo>
                    <a:pt x="524229" y="0"/>
                    <a:pt x="635708" y="26289"/>
                    <a:pt x="714875" y="72104"/>
                  </a:cubicBezTo>
                  <a:cubicBezTo>
                    <a:pt x="780926" y="110204"/>
                    <a:pt x="818751" y="158496"/>
                    <a:pt x="818751" y="204216"/>
                  </a:cubicBezTo>
                  <a:cubicBezTo>
                    <a:pt x="818751" y="249936"/>
                    <a:pt x="780736" y="298037"/>
                    <a:pt x="714875" y="336233"/>
                  </a:cubicBezTo>
                  <a:cubicBezTo>
                    <a:pt x="635708" y="382334"/>
                    <a:pt x="524324" y="408337"/>
                    <a:pt x="409423" y="408337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819;p37">
              <a:extLst>
                <a:ext uri="{FF2B5EF4-FFF2-40B4-BE49-F238E27FC236}">
                  <a16:creationId xmlns:a16="http://schemas.microsoft.com/office/drawing/2014/main" id="{E43B380D-AB64-4535-A73E-CF9EAE92F58C}"/>
                </a:ext>
              </a:extLst>
            </p:cNvPr>
            <p:cNvSpPr/>
            <p:nvPr/>
          </p:nvSpPr>
          <p:spPr>
            <a:xfrm>
              <a:off x="3962270" y="1359312"/>
              <a:ext cx="920726" cy="532828"/>
            </a:xfrm>
            <a:custGeom>
              <a:avLst/>
              <a:gdLst/>
              <a:ahLst/>
              <a:cxnLst/>
              <a:rect l="l" t="t" r="r" b="b"/>
              <a:pathLst>
                <a:path w="920726" h="532828" extrusionOk="0">
                  <a:moveTo>
                    <a:pt x="920727" y="266414"/>
                  </a:moveTo>
                  <a:cubicBezTo>
                    <a:pt x="920727" y="413551"/>
                    <a:pt x="714615" y="532828"/>
                    <a:pt x="460363" y="532828"/>
                  </a:cubicBezTo>
                  <a:cubicBezTo>
                    <a:pt x="206112" y="532828"/>
                    <a:pt x="0" y="413551"/>
                    <a:pt x="0" y="266414"/>
                  </a:cubicBezTo>
                  <a:cubicBezTo>
                    <a:pt x="0" y="119278"/>
                    <a:pt x="206112" y="0"/>
                    <a:pt x="460363" y="0"/>
                  </a:cubicBezTo>
                  <a:cubicBezTo>
                    <a:pt x="714615" y="0"/>
                    <a:pt x="920727" y="119278"/>
                    <a:pt x="920727" y="266414"/>
                  </a:cubicBezTo>
                  <a:close/>
                </a:path>
              </a:pathLst>
            </a:custGeom>
            <a:solidFill>
              <a:srgbClr val="FFDF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820;p37">
              <a:extLst>
                <a:ext uri="{FF2B5EF4-FFF2-40B4-BE49-F238E27FC236}">
                  <a16:creationId xmlns:a16="http://schemas.microsoft.com/office/drawing/2014/main" id="{70E29188-1595-4406-95C9-FBE999DA8542}"/>
                </a:ext>
              </a:extLst>
            </p:cNvPr>
            <p:cNvSpPr/>
            <p:nvPr/>
          </p:nvSpPr>
          <p:spPr>
            <a:xfrm>
              <a:off x="4264396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821;p37">
              <a:extLst>
                <a:ext uri="{FF2B5EF4-FFF2-40B4-BE49-F238E27FC236}">
                  <a16:creationId xmlns:a16="http://schemas.microsoft.com/office/drawing/2014/main" id="{565BBF8F-BB10-4CB3-87DF-928CD1F5F415}"/>
                </a:ext>
              </a:extLst>
            </p:cNvPr>
            <p:cNvSpPr/>
            <p:nvPr/>
          </p:nvSpPr>
          <p:spPr>
            <a:xfrm>
              <a:off x="4543522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822;p37">
              <a:extLst>
                <a:ext uri="{FF2B5EF4-FFF2-40B4-BE49-F238E27FC236}">
                  <a16:creationId xmlns:a16="http://schemas.microsoft.com/office/drawing/2014/main" id="{E04BC42D-0E84-40EE-9A2A-D10322FF6BDD}"/>
                </a:ext>
              </a:extLst>
            </p:cNvPr>
            <p:cNvSpPr/>
            <p:nvPr/>
          </p:nvSpPr>
          <p:spPr>
            <a:xfrm>
              <a:off x="4264396" y="901827"/>
              <a:ext cx="319897" cy="108775"/>
            </a:xfrm>
            <a:custGeom>
              <a:avLst/>
              <a:gdLst/>
              <a:ahLst/>
              <a:cxnLst/>
              <a:rect l="l" t="t" r="r" b="b"/>
              <a:pathLst>
                <a:path w="319897" h="108775" extrusionOk="0">
                  <a:moveTo>
                    <a:pt x="157098" y="108775"/>
                  </a:moveTo>
                  <a:lnTo>
                    <a:pt x="97319" y="53911"/>
                  </a:lnTo>
                  <a:lnTo>
                    <a:pt x="23950" y="103156"/>
                  </a:lnTo>
                  <a:lnTo>
                    <a:pt x="0" y="67532"/>
                  </a:lnTo>
                  <a:lnTo>
                    <a:pt x="101310" y="857"/>
                  </a:lnTo>
                  <a:lnTo>
                    <a:pt x="159379" y="54102"/>
                  </a:lnTo>
                  <a:lnTo>
                    <a:pt x="228946" y="0"/>
                  </a:lnTo>
                  <a:lnTo>
                    <a:pt x="319897" y="67532"/>
                  </a:lnTo>
                  <a:lnTo>
                    <a:pt x="291481" y="100203"/>
                  </a:lnTo>
                  <a:lnTo>
                    <a:pt x="228851" y="53054"/>
                  </a:lnTo>
                  <a:lnTo>
                    <a:pt x="157098" y="108775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823;p37">
              <a:extLst>
                <a:ext uri="{FF2B5EF4-FFF2-40B4-BE49-F238E27FC236}">
                  <a16:creationId xmlns:a16="http://schemas.microsoft.com/office/drawing/2014/main" id="{8F97D57E-6D5A-4C8C-A740-E34CDE65C2E1}"/>
                </a:ext>
              </a:extLst>
            </p:cNvPr>
            <p:cNvSpPr/>
            <p:nvPr/>
          </p:nvSpPr>
          <p:spPr>
            <a:xfrm>
              <a:off x="3749667" y="190500"/>
              <a:ext cx="1343462" cy="1451800"/>
            </a:xfrm>
            <a:custGeom>
              <a:avLst/>
              <a:gdLst/>
              <a:ahLst/>
              <a:cxnLst/>
              <a:rect l="l" t="t" r="r" b="b"/>
              <a:pathLst>
                <a:path w="1343462" h="1451800" extrusionOk="0">
                  <a:moveTo>
                    <a:pt x="1132665" y="1449134"/>
                  </a:moveTo>
                  <a:cubicBezTo>
                    <a:pt x="1133425" y="1389317"/>
                    <a:pt x="1143689" y="1212723"/>
                    <a:pt x="1283870" y="969359"/>
                  </a:cubicBezTo>
                  <a:cubicBezTo>
                    <a:pt x="1449711" y="681419"/>
                    <a:pt x="1276837" y="0"/>
                    <a:pt x="671731" y="0"/>
                  </a:cubicBezTo>
                  <a:cubicBezTo>
                    <a:pt x="66625" y="0"/>
                    <a:pt x="-106249" y="681419"/>
                    <a:pt x="59592" y="969359"/>
                  </a:cubicBezTo>
                  <a:cubicBezTo>
                    <a:pt x="180766" y="1179767"/>
                    <a:pt x="207186" y="1366457"/>
                    <a:pt x="212698" y="1451801"/>
                  </a:cubicBezTo>
                </a:path>
              </a:pathLst>
            </a:custGeom>
            <a:solidFill>
              <a:srgbClr val="FFDF57">
                <a:alpha val="6863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86" name="Google Shape;2824;p37">
              <a:extLst>
                <a:ext uri="{FF2B5EF4-FFF2-40B4-BE49-F238E27FC236}">
                  <a16:creationId xmlns:a16="http://schemas.microsoft.com/office/drawing/2014/main" id="{A5E1D4AB-595E-433C-B300-1357C3AA2EAC}"/>
                </a:ext>
              </a:extLst>
            </p:cNvPr>
            <p:cNvGrpSpPr/>
            <p:nvPr/>
          </p:nvGrpSpPr>
          <p:grpSpPr>
            <a:xfrm>
              <a:off x="3923682" y="3244965"/>
              <a:ext cx="195764" cy="131404"/>
              <a:chOff x="5733332" y="4102215"/>
              <a:chExt cx="195764" cy="131404"/>
            </a:xfrm>
          </p:grpSpPr>
          <p:sp>
            <p:nvSpPr>
              <p:cNvPr id="211" name="Google Shape;2825;p37">
                <a:extLst>
                  <a:ext uri="{FF2B5EF4-FFF2-40B4-BE49-F238E27FC236}">
                    <a16:creationId xmlns:a16="http://schemas.microsoft.com/office/drawing/2014/main" id="{80CEDBC1-03D3-4323-86FD-D7093D60CFEA}"/>
                  </a:ext>
                </a:extLst>
              </p:cNvPr>
              <p:cNvSpPr/>
              <p:nvPr/>
            </p:nvSpPr>
            <p:spPr>
              <a:xfrm>
                <a:off x="5734887" y="4131087"/>
                <a:ext cx="177232" cy="100744"/>
              </a:xfrm>
              <a:custGeom>
                <a:avLst/>
                <a:gdLst/>
                <a:ahLst/>
                <a:cxnLst/>
                <a:rect l="l" t="t" r="r" b="b"/>
                <a:pathLst>
                  <a:path w="177232" h="100744" extrusionOk="0">
                    <a:moveTo>
                      <a:pt x="177024" y="99346"/>
                    </a:moveTo>
                    <a:lnTo>
                      <a:pt x="150604" y="74581"/>
                    </a:lnTo>
                    <a:cubicBezTo>
                      <a:pt x="147249" y="69713"/>
                      <a:pt x="143219" y="65351"/>
                      <a:pt x="138629" y="61627"/>
                    </a:cubicBezTo>
                    <a:cubicBezTo>
                      <a:pt x="136623" y="59941"/>
                      <a:pt x="134495" y="58417"/>
                      <a:pt x="132261" y="57055"/>
                    </a:cubicBezTo>
                    <a:lnTo>
                      <a:pt x="98048" y="34195"/>
                    </a:lnTo>
                    <a:lnTo>
                      <a:pt x="60698" y="17621"/>
                    </a:lnTo>
                    <a:cubicBezTo>
                      <a:pt x="58407" y="16564"/>
                      <a:pt x="56060" y="15640"/>
                      <a:pt x="53665" y="14859"/>
                    </a:cubicBezTo>
                    <a:cubicBezTo>
                      <a:pt x="48162" y="13021"/>
                      <a:pt x="42441" y="11935"/>
                      <a:pt x="36653" y="11621"/>
                    </a:cubicBezTo>
                    <a:lnTo>
                      <a:pt x="1109" y="0"/>
                    </a:lnTo>
                    <a:cubicBezTo>
                      <a:pt x="-887" y="0"/>
                      <a:pt x="254" y="3620"/>
                      <a:pt x="1109" y="5144"/>
                    </a:cubicBezTo>
                    <a:lnTo>
                      <a:pt x="4530" y="6572"/>
                    </a:lnTo>
                    <a:cubicBezTo>
                      <a:pt x="8807" y="8192"/>
                      <a:pt x="5196" y="7620"/>
                      <a:pt x="9662" y="10763"/>
                    </a:cubicBezTo>
                    <a:lnTo>
                      <a:pt x="30096" y="16002"/>
                    </a:lnTo>
                    <a:cubicBezTo>
                      <a:pt x="43106" y="15507"/>
                      <a:pt x="55984" y="18822"/>
                      <a:pt x="67160" y="25527"/>
                    </a:cubicBezTo>
                    <a:lnTo>
                      <a:pt x="94246" y="39148"/>
                    </a:lnTo>
                    <a:lnTo>
                      <a:pt x="120287" y="54864"/>
                    </a:lnTo>
                    <a:cubicBezTo>
                      <a:pt x="131729" y="61170"/>
                      <a:pt x="140853" y="70980"/>
                      <a:pt x="146327" y="82868"/>
                    </a:cubicBezTo>
                    <a:lnTo>
                      <a:pt x="160107" y="94012"/>
                    </a:lnTo>
                    <a:cubicBezTo>
                      <a:pt x="164384" y="98012"/>
                      <a:pt x="161913" y="96298"/>
                      <a:pt x="168281" y="97250"/>
                    </a:cubicBezTo>
                    <a:lnTo>
                      <a:pt x="171797" y="100298"/>
                    </a:lnTo>
                    <a:cubicBezTo>
                      <a:pt x="174363" y="100965"/>
                      <a:pt x="178165" y="101060"/>
                      <a:pt x="177024" y="99346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826;p37">
                <a:extLst>
                  <a:ext uri="{FF2B5EF4-FFF2-40B4-BE49-F238E27FC236}">
                    <a16:creationId xmlns:a16="http://schemas.microsoft.com/office/drawing/2014/main" id="{57797B51-B55A-4035-9B1B-DD91A8C1C499}"/>
                  </a:ext>
                </a:extLst>
              </p:cNvPr>
              <p:cNvSpPr/>
              <p:nvPr/>
            </p:nvSpPr>
            <p:spPr>
              <a:xfrm>
                <a:off x="5750846" y="4118425"/>
                <a:ext cx="155883" cy="109857"/>
              </a:xfrm>
              <a:custGeom>
                <a:avLst/>
                <a:gdLst/>
                <a:ahLst/>
                <a:cxnLst/>
                <a:rect l="l" t="t" r="r" b="b"/>
                <a:pathLst>
                  <a:path w="155883" h="109857" extrusionOk="0">
                    <a:moveTo>
                      <a:pt x="86746" y="59620"/>
                    </a:moveTo>
                    <a:cubicBezTo>
                      <a:pt x="88855" y="56363"/>
                      <a:pt x="91688" y="53619"/>
                      <a:pt x="95014" y="51619"/>
                    </a:cubicBezTo>
                    <a:cubicBezTo>
                      <a:pt x="99851" y="48647"/>
                      <a:pt x="105525" y="47342"/>
                      <a:pt x="111170" y="47904"/>
                    </a:cubicBezTo>
                    <a:cubicBezTo>
                      <a:pt x="117832" y="48590"/>
                      <a:pt x="124295" y="50600"/>
                      <a:pt x="130178" y="53810"/>
                    </a:cubicBezTo>
                    <a:lnTo>
                      <a:pt x="130843" y="53810"/>
                    </a:lnTo>
                    <a:lnTo>
                      <a:pt x="140347" y="58953"/>
                    </a:lnTo>
                    <a:cubicBezTo>
                      <a:pt x="142818" y="60287"/>
                      <a:pt x="145099" y="61811"/>
                      <a:pt x="147380" y="63335"/>
                    </a:cubicBezTo>
                    <a:lnTo>
                      <a:pt x="151751" y="66573"/>
                    </a:lnTo>
                    <a:cubicBezTo>
                      <a:pt x="158309" y="71812"/>
                      <a:pt x="156408" y="82099"/>
                      <a:pt x="150611" y="90290"/>
                    </a:cubicBezTo>
                    <a:cubicBezTo>
                      <a:pt x="147399" y="94863"/>
                      <a:pt x="143702" y="99082"/>
                      <a:pt x="139587" y="102863"/>
                    </a:cubicBezTo>
                    <a:cubicBezTo>
                      <a:pt x="132231" y="109264"/>
                      <a:pt x="122119" y="111455"/>
                      <a:pt x="112786" y="108674"/>
                    </a:cubicBezTo>
                    <a:cubicBezTo>
                      <a:pt x="108528" y="107331"/>
                      <a:pt x="104413" y="105540"/>
                      <a:pt x="100526" y="103340"/>
                    </a:cubicBezTo>
                    <a:cubicBezTo>
                      <a:pt x="96934" y="101235"/>
                      <a:pt x="93522" y="98815"/>
                      <a:pt x="90357" y="96101"/>
                    </a:cubicBezTo>
                    <a:cubicBezTo>
                      <a:pt x="82374" y="88624"/>
                      <a:pt x="79874" y="76965"/>
                      <a:pt x="84084" y="66859"/>
                    </a:cubicBezTo>
                    <a:cubicBezTo>
                      <a:pt x="84702" y="64354"/>
                      <a:pt x="85596" y="61925"/>
                      <a:pt x="86746" y="59620"/>
                    </a:cubicBezTo>
                    <a:close/>
                    <a:moveTo>
                      <a:pt x="8339" y="11995"/>
                    </a:moveTo>
                    <a:cubicBezTo>
                      <a:pt x="13471" y="4089"/>
                      <a:pt x="22215" y="-1912"/>
                      <a:pt x="29628" y="565"/>
                    </a:cubicBezTo>
                    <a:lnTo>
                      <a:pt x="34380" y="2375"/>
                    </a:lnTo>
                    <a:cubicBezTo>
                      <a:pt x="36784" y="3318"/>
                      <a:pt x="39132" y="4394"/>
                      <a:pt x="41412" y="5613"/>
                    </a:cubicBezTo>
                    <a:lnTo>
                      <a:pt x="50061" y="10090"/>
                    </a:lnTo>
                    <a:lnTo>
                      <a:pt x="50631" y="10090"/>
                    </a:lnTo>
                    <a:cubicBezTo>
                      <a:pt x="56067" y="12967"/>
                      <a:pt x="60772" y="17034"/>
                      <a:pt x="64412" y="21996"/>
                    </a:cubicBezTo>
                    <a:cubicBezTo>
                      <a:pt x="67424" y="26073"/>
                      <a:pt x="68688" y="31178"/>
                      <a:pt x="67928" y="36188"/>
                    </a:cubicBezTo>
                    <a:cubicBezTo>
                      <a:pt x="67358" y="39875"/>
                      <a:pt x="65932" y="43361"/>
                      <a:pt x="63746" y="46380"/>
                    </a:cubicBezTo>
                    <a:cubicBezTo>
                      <a:pt x="61969" y="48533"/>
                      <a:pt x="59964" y="50476"/>
                      <a:pt x="57759" y="52190"/>
                    </a:cubicBezTo>
                    <a:cubicBezTo>
                      <a:pt x="49652" y="60106"/>
                      <a:pt x="37972" y="63116"/>
                      <a:pt x="27062" y="60096"/>
                    </a:cubicBezTo>
                    <a:cubicBezTo>
                      <a:pt x="23241" y="58877"/>
                      <a:pt x="19544" y="57286"/>
                      <a:pt x="16037" y="55334"/>
                    </a:cubicBezTo>
                    <a:cubicBezTo>
                      <a:pt x="12645" y="53238"/>
                      <a:pt x="9461" y="50809"/>
                      <a:pt x="6534" y="48095"/>
                    </a:cubicBezTo>
                    <a:cubicBezTo>
                      <a:pt x="309" y="42285"/>
                      <a:pt x="-1687" y="33236"/>
                      <a:pt x="1497" y="25330"/>
                    </a:cubicBezTo>
                    <a:cubicBezTo>
                      <a:pt x="3274" y="20672"/>
                      <a:pt x="5574" y="16234"/>
                      <a:pt x="8339" y="12090"/>
                    </a:cubicBez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2827;p37">
                <a:extLst>
                  <a:ext uri="{FF2B5EF4-FFF2-40B4-BE49-F238E27FC236}">
                    <a16:creationId xmlns:a16="http://schemas.microsoft.com/office/drawing/2014/main" id="{4DA58B1C-DDA6-4C8A-8959-944E034F26D9}"/>
                  </a:ext>
                </a:extLst>
              </p:cNvPr>
              <p:cNvSpPr/>
              <p:nvPr/>
            </p:nvSpPr>
            <p:spPr>
              <a:xfrm>
                <a:off x="5733332" y="4130673"/>
                <a:ext cx="192169" cy="73375"/>
              </a:xfrm>
              <a:custGeom>
                <a:avLst/>
                <a:gdLst/>
                <a:ahLst/>
                <a:cxnLst/>
                <a:rect l="l" t="t" r="r" b="b"/>
                <a:pathLst>
                  <a:path w="192169" h="73375" extrusionOk="0">
                    <a:moveTo>
                      <a:pt x="15779" y="11368"/>
                    </a:moveTo>
                    <a:lnTo>
                      <a:pt x="36117" y="9463"/>
                    </a:lnTo>
                    <a:cubicBezTo>
                      <a:pt x="48995" y="8187"/>
                      <a:pt x="61967" y="10768"/>
                      <a:pt x="73372" y="16893"/>
                    </a:cubicBezTo>
                    <a:lnTo>
                      <a:pt x="185611" y="73376"/>
                    </a:lnTo>
                    <a:lnTo>
                      <a:pt x="192169" y="63851"/>
                    </a:lnTo>
                    <a:lnTo>
                      <a:pt x="66529" y="8320"/>
                    </a:lnTo>
                    <a:cubicBezTo>
                      <a:pt x="58974" y="4777"/>
                      <a:pt x="50810" y="2739"/>
                      <a:pt x="42484" y="2320"/>
                    </a:cubicBezTo>
                    <a:lnTo>
                      <a:pt x="2569" y="34"/>
                    </a:lnTo>
                    <a:cubicBezTo>
                      <a:pt x="1381" y="-176"/>
                      <a:pt x="250" y="614"/>
                      <a:pt x="31" y="1805"/>
                    </a:cubicBezTo>
                    <a:cubicBezTo>
                      <a:pt x="-73" y="2424"/>
                      <a:pt x="88" y="3063"/>
                      <a:pt x="478" y="3558"/>
                    </a:cubicBezTo>
                    <a:lnTo>
                      <a:pt x="1523" y="4987"/>
                    </a:lnTo>
                    <a:cubicBezTo>
                      <a:pt x="4869" y="9425"/>
                      <a:pt x="10248" y="11835"/>
                      <a:pt x="15779" y="11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2828;p37">
                <a:extLst>
                  <a:ext uri="{FF2B5EF4-FFF2-40B4-BE49-F238E27FC236}">
                    <a16:creationId xmlns:a16="http://schemas.microsoft.com/office/drawing/2014/main" id="{AF57A80A-F031-4E0B-BA76-C8989176E267}"/>
                  </a:ext>
                </a:extLst>
              </p:cNvPr>
              <p:cNvSpPr/>
              <p:nvPr/>
            </p:nvSpPr>
            <p:spPr>
              <a:xfrm>
                <a:off x="5757380" y="4106036"/>
                <a:ext cx="156130" cy="127583"/>
              </a:xfrm>
              <a:custGeom>
                <a:avLst/>
                <a:gdLst/>
                <a:ahLst/>
                <a:cxnLst/>
                <a:rect l="l" t="t" r="r" b="b"/>
                <a:pathLst>
                  <a:path w="156130" h="127583" extrusionOk="0">
                    <a:moveTo>
                      <a:pt x="136950" y="117539"/>
                    </a:moveTo>
                    <a:lnTo>
                      <a:pt x="128491" y="98489"/>
                    </a:lnTo>
                    <a:cubicBezTo>
                      <a:pt x="123036" y="86601"/>
                      <a:pt x="113950" y="76762"/>
                      <a:pt x="102546" y="70390"/>
                    </a:cubicBezTo>
                    <a:lnTo>
                      <a:pt x="0" y="8858"/>
                    </a:lnTo>
                    <a:lnTo>
                      <a:pt x="5797" y="0"/>
                    </a:lnTo>
                    <a:lnTo>
                      <a:pt x="114236" y="72295"/>
                    </a:lnTo>
                    <a:cubicBezTo>
                      <a:pt x="121439" y="76876"/>
                      <a:pt x="127645" y="82868"/>
                      <a:pt x="132483" y="89916"/>
                    </a:cubicBezTo>
                    <a:lnTo>
                      <a:pt x="155767" y="124016"/>
                    </a:lnTo>
                    <a:cubicBezTo>
                      <a:pt x="156908" y="125730"/>
                      <a:pt x="155197" y="127921"/>
                      <a:pt x="152916" y="127540"/>
                    </a:cubicBezTo>
                    <a:lnTo>
                      <a:pt x="150920" y="127540"/>
                    </a:lnTo>
                    <a:cubicBezTo>
                      <a:pt x="144866" y="126816"/>
                      <a:pt x="139601" y="123044"/>
                      <a:pt x="136950" y="11753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2829;p37">
                <a:extLst>
                  <a:ext uri="{FF2B5EF4-FFF2-40B4-BE49-F238E27FC236}">
                    <a16:creationId xmlns:a16="http://schemas.microsoft.com/office/drawing/2014/main" id="{C33544A3-7FA5-4ADC-B413-2CDC987EEBC8}"/>
                  </a:ext>
                </a:extLst>
              </p:cNvPr>
              <p:cNvSpPr/>
              <p:nvPr/>
            </p:nvSpPr>
            <p:spPr>
              <a:xfrm>
                <a:off x="5834686" y="4162247"/>
                <a:ext cx="73778" cy="62054"/>
              </a:xfrm>
              <a:custGeom>
                <a:avLst/>
                <a:gdLst/>
                <a:ahLst/>
                <a:cxnLst/>
                <a:rect l="l" t="t" r="r" b="b"/>
                <a:pathLst>
                  <a:path w="73778" h="62054" extrusionOk="0">
                    <a:moveTo>
                      <a:pt x="29231" y="178"/>
                    </a:moveTo>
                    <a:cubicBezTo>
                      <a:pt x="35893" y="835"/>
                      <a:pt x="42346" y="2807"/>
                      <a:pt x="48239" y="5988"/>
                    </a:cubicBezTo>
                    <a:lnTo>
                      <a:pt x="48809" y="5988"/>
                    </a:lnTo>
                    <a:lnTo>
                      <a:pt x="58313" y="11036"/>
                    </a:lnTo>
                    <a:cubicBezTo>
                      <a:pt x="60783" y="12465"/>
                      <a:pt x="63064" y="13894"/>
                      <a:pt x="65345" y="15418"/>
                    </a:cubicBezTo>
                    <a:cubicBezTo>
                      <a:pt x="67626" y="16942"/>
                      <a:pt x="68292" y="17608"/>
                      <a:pt x="69717" y="18751"/>
                    </a:cubicBezTo>
                    <a:cubicBezTo>
                      <a:pt x="76180" y="23895"/>
                      <a:pt x="74279" y="34277"/>
                      <a:pt x="68577" y="42373"/>
                    </a:cubicBezTo>
                    <a:cubicBezTo>
                      <a:pt x="65383" y="46993"/>
                      <a:pt x="61658" y="51222"/>
                      <a:pt x="57457" y="54946"/>
                    </a:cubicBezTo>
                    <a:cubicBezTo>
                      <a:pt x="50187" y="61442"/>
                      <a:pt x="40075" y="63681"/>
                      <a:pt x="30752" y="60852"/>
                    </a:cubicBezTo>
                    <a:cubicBezTo>
                      <a:pt x="26503" y="59433"/>
                      <a:pt x="22398" y="57613"/>
                      <a:pt x="18492" y="55422"/>
                    </a:cubicBezTo>
                    <a:cubicBezTo>
                      <a:pt x="14852" y="53384"/>
                      <a:pt x="11440" y="50955"/>
                      <a:pt x="8323" y="48184"/>
                    </a:cubicBezTo>
                    <a:cubicBezTo>
                      <a:pt x="301" y="40764"/>
                      <a:pt x="-2208" y="29105"/>
                      <a:pt x="2050" y="19037"/>
                    </a:cubicBezTo>
                    <a:cubicBezTo>
                      <a:pt x="2763" y="16370"/>
                      <a:pt x="3808" y="13808"/>
                      <a:pt x="5186" y="11417"/>
                    </a:cubicBezTo>
                    <a:cubicBezTo>
                      <a:pt x="7325" y="8179"/>
                      <a:pt x="10147" y="5445"/>
                      <a:pt x="13455" y="3416"/>
                    </a:cubicBezTo>
                    <a:cubicBezTo>
                      <a:pt x="18226" y="663"/>
                      <a:pt x="23757" y="-470"/>
                      <a:pt x="29231" y="178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830;p37">
                <a:extLst>
                  <a:ext uri="{FF2B5EF4-FFF2-40B4-BE49-F238E27FC236}">
                    <a16:creationId xmlns:a16="http://schemas.microsoft.com/office/drawing/2014/main" id="{AECB08B2-024A-4B6F-9BF9-D7B70A63D093}"/>
                  </a:ext>
                </a:extLst>
              </p:cNvPr>
              <p:cNvSpPr/>
              <p:nvPr/>
            </p:nvSpPr>
            <p:spPr>
              <a:xfrm>
                <a:off x="5745586" y="4102215"/>
                <a:ext cx="183510" cy="128783"/>
              </a:xfrm>
              <a:custGeom>
                <a:avLst/>
                <a:gdLst/>
                <a:ahLst/>
                <a:cxnLst/>
                <a:rect l="l" t="t" r="r" b="b"/>
                <a:pathLst>
                  <a:path w="183510" h="128783" extrusionOk="0">
                    <a:moveTo>
                      <a:pt x="14550" y="1821"/>
                    </a:moveTo>
                    <a:lnTo>
                      <a:pt x="9608" y="9632"/>
                    </a:lnTo>
                    <a:cubicBezTo>
                      <a:pt x="8753" y="10575"/>
                      <a:pt x="8753" y="12022"/>
                      <a:pt x="9608" y="12965"/>
                    </a:cubicBezTo>
                    <a:cubicBezTo>
                      <a:pt x="11347" y="14527"/>
                      <a:pt x="11822" y="17071"/>
                      <a:pt x="10748" y="19157"/>
                    </a:cubicBezTo>
                    <a:lnTo>
                      <a:pt x="2575" y="36301"/>
                    </a:lnTo>
                    <a:cubicBezTo>
                      <a:pt x="-2329" y="46274"/>
                      <a:pt x="-86" y="58304"/>
                      <a:pt x="8087" y="65829"/>
                    </a:cubicBezTo>
                    <a:lnTo>
                      <a:pt x="8087" y="65829"/>
                    </a:lnTo>
                    <a:cubicBezTo>
                      <a:pt x="14997" y="72001"/>
                      <a:pt x="23170" y="76583"/>
                      <a:pt x="32037" y="79259"/>
                    </a:cubicBezTo>
                    <a:lnTo>
                      <a:pt x="32037" y="79259"/>
                    </a:lnTo>
                    <a:cubicBezTo>
                      <a:pt x="45494" y="83374"/>
                      <a:pt x="60111" y="79717"/>
                      <a:pt x="70052" y="69734"/>
                    </a:cubicBezTo>
                    <a:lnTo>
                      <a:pt x="77655" y="62019"/>
                    </a:lnTo>
                    <a:cubicBezTo>
                      <a:pt x="79337" y="60381"/>
                      <a:pt x="80354" y="58171"/>
                      <a:pt x="80506" y="55828"/>
                    </a:cubicBezTo>
                    <a:cubicBezTo>
                      <a:pt x="81029" y="52180"/>
                      <a:pt x="84393" y="49646"/>
                      <a:pt x="88033" y="50170"/>
                    </a:cubicBezTo>
                    <a:cubicBezTo>
                      <a:pt x="88718" y="50265"/>
                      <a:pt x="89383" y="50475"/>
                      <a:pt x="90010" y="50780"/>
                    </a:cubicBezTo>
                    <a:lnTo>
                      <a:pt x="91911" y="51732"/>
                    </a:lnTo>
                    <a:lnTo>
                      <a:pt x="93811" y="52875"/>
                    </a:lnTo>
                    <a:cubicBezTo>
                      <a:pt x="96321" y="54694"/>
                      <a:pt x="96891" y="58209"/>
                      <a:pt x="95075" y="60723"/>
                    </a:cubicBezTo>
                    <a:cubicBezTo>
                      <a:pt x="94572" y="61419"/>
                      <a:pt x="93906" y="62000"/>
                      <a:pt x="93146" y="62400"/>
                    </a:cubicBezTo>
                    <a:cubicBezTo>
                      <a:pt x="91008" y="63533"/>
                      <a:pt x="89307" y="65343"/>
                      <a:pt x="88299" y="67543"/>
                    </a:cubicBezTo>
                    <a:lnTo>
                      <a:pt x="84023" y="77068"/>
                    </a:lnTo>
                    <a:cubicBezTo>
                      <a:pt x="78482" y="89508"/>
                      <a:pt x="81770" y="104119"/>
                      <a:pt x="92101" y="112978"/>
                    </a:cubicBezTo>
                    <a:lnTo>
                      <a:pt x="92101" y="112978"/>
                    </a:lnTo>
                    <a:cubicBezTo>
                      <a:pt x="99362" y="119398"/>
                      <a:pt x="107877" y="124227"/>
                      <a:pt x="117096" y="127170"/>
                    </a:cubicBezTo>
                    <a:lnTo>
                      <a:pt x="117096" y="127170"/>
                    </a:lnTo>
                    <a:cubicBezTo>
                      <a:pt x="129156" y="131066"/>
                      <a:pt x="142366" y="127780"/>
                      <a:pt x="151214" y="118693"/>
                    </a:cubicBezTo>
                    <a:lnTo>
                      <a:pt x="165470" y="103643"/>
                    </a:lnTo>
                    <a:cubicBezTo>
                      <a:pt x="167409" y="101700"/>
                      <a:pt x="170250" y="100967"/>
                      <a:pt x="172883" y="101738"/>
                    </a:cubicBezTo>
                    <a:cubicBezTo>
                      <a:pt x="174290" y="102224"/>
                      <a:pt x="175858" y="101767"/>
                      <a:pt x="176780" y="100595"/>
                    </a:cubicBezTo>
                    <a:lnTo>
                      <a:pt x="182577" y="92594"/>
                    </a:lnTo>
                    <a:cubicBezTo>
                      <a:pt x="183822" y="91108"/>
                      <a:pt x="183822" y="88937"/>
                      <a:pt x="182577" y="87451"/>
                    </a:cubicBezTo>
                    <a:cubicBezTo>
                      <a:pt x="173501" y="78412"/>
                      <a:pt x="163047" y="70887"/>
                      <a:pt x="151595" y="65162"/>
                    </a:cubicBezTo>
                    <a:lnTo>
                      <a:pt x="142091" y="60019"/>
                    </a:lnTo>
                    <a:cubicBezTo>
                      <a:pt x="135058" y="56180"/>
                      <a:pt x="127341" y="53789"/>
                      <a:pt x="119377" y="52970"/>
                    </a:cubicBezTo>
                    <a:lnTo>
                      <a:pt x="112344" y="52208"/>
                    </a:lnTo>
                    <a:cubicBezTo>
                      <a:pt x="110776" y="52284"/>
                      <a:pt x="109236" y="51732"/>
                      <a:pt x="108067" y="50684"/>
                    </a:cubicBezTo>
                    <a:cubicBezTo>
                      <a:pt x="107373" y="49703"/>
                      <a:pt x="106461" y="48884"/>
                      <a:pt x="105406" y="48303"/>
                    </a:cubicBezTo>
                    <a:lnTo>
                      <a:pt x="97613" y="44112"/>
                    </a:lnTo>
                    <a:lnTo>
                      <a:pt x="89820" y="39826"/>
                    </a:lnTo>
                    <a:cubicBezTo>
                      <a:pt x="88699" y="39254"/>
                      <a:pt x="87463" y="38930"/>
                      <a:pt x="86208" y="38873"/>
                    </a:cubicBezTo>
                    <a:cubicBezTo>
                      <a:pt x="84374" y="38826"/>
                      <a:pt x="82664" y="37949"/>
                      <a:pt x="81552" y="36492"/>
                    </a:cubicBezTo>
                    <a:lnTo>
                      <a:pt x="77750" y="31349"/>
                    </a:lnTo>
                    <a:cubicBezTo>
                      <a:pt x="73359" y="25453"/>
                      <a:pt x="67667" y="20661"/>
                      <a:pt x="61118" y="17347"/>
                    </a:cubicBezTo>
                    <a:lnTo>
                      <a:pt x="52470" y="12775"/>
                    </a:lnTo>
                    <a:cubicBezTo>
                      <a:pt x="42244" y="6698"/>
                      <a:pt x="31058" y="2412"/>
                      <a:pt x="19397" y="107"/>
                    </a:cubicBezTo>
                    <a:cubicBezTo>
                      <a:pt x="17591" y="-275"/>
                      <a:pt x="15719" y="383"/>
                      <a:pt x="14550" y="1821"/>
                    </a:cubicBezTo>
                    <a:close/>
                    <a:moveTo>
                      <a:pt x="93906" y="72020"/>
                    </a:moveTo>
                    <a:cubicBezTo>
                      <a:pt x="96045" y="68782"/>
                      <a:pt x="98867" y="66048"/>
                      <a:pt x="102175" y="64019"/>
                    </a:cubicBezTo>
                    <a:cubicBezTo>
                      <a:pt x="107012" y="61048"/>
                      <a:pt x="112696" y="59781"/>
                      <a:pt x="118331" y="60400"/>
                    </a:cubicBezTo>
                    <a:cubicBezTo>
                      <a:pt x="124993" y="61057"/>
                      <a:pt x="131447" y="63029"/>
                      <a:pt x="137339" y="66210"/>
                    </a:cubicBezTo>
                    <a:lnTo>
                      <a:pt x="137909" y="66210"/>
                    </a:lnTo>
                    <a:lnTo>
                      <a:pt x="147413" y="71258"/>
                    </a:lnTo>
                    <a:cubicBezTo>
                      <a:pt x="149884" y="72687"/>
                      <a:pt x="152165" y="74116"/>
                      <a:pt x="154446" y="75640"/>
                    </a:cubicBezTo>
                    <a:cubicBezTo>
                      <a:pt x="156727" y="77164"/>
                      <a:pt x="157392" y="77831"/>
                      <a:pt x="158817" y="78974"/>
                    </a:cubicBezTo>
                    <a:cubicBezTo>
                      <a:pt x="165280" y="84117"/>
                      <a:pt x="163379" y="94499"/>
                      <a:pt x="157677" y="102596"/>
                    </a:cubicBezTo>
                    <a:cubicBezTo>
                      <a:pt x="154484" y="107215"/>
                      <a:pt x="150758" y="111444"/>
                      <a:pt x="146558" y="115168"/>
                    </a:cubicBezTo>
                    <a:cubicBezTo>
                      <a:pt x="139287" y="121665"/>
                      <a:pt x="129175" y="123903"/>
                      <a:pt x="119852" y="121074"/>
                    </a:cubicBezTo>
                    <a:cubicBezTo>
                      <a:pt x="115604" y="119655"/>
                      <a:pt x="111498" y="117835"/>
                      <a:pt x="107592" y="115645"/>
                    </a:cubicBezTo>
                    <a:cubicBezTo>
                      <a:pt x="103952" y="113606"/>
                      <a:pt x="100540" y="111178"/>
                      <a:pt x="97423" y="108406"/>
                    </a:cubicBezTo>
                    <a:cubicBezTo>
                      <a:pt x="89402" y="100986"/>
                      <a:pt x="86893" y="89327"/>
                      <a:pt x="91150" y="79259"/>
                    </a:cubicBezTo>
                    <a:cubicBezTo>
                      <a:pt x="91768" y="76745"/>
                      <a:pt x="92690" y="74306"/>
                      <a:pt x="93906" y="72020"/>
                    </a:cubicBezTo>
                    <a:close/>
                    <a:moveTo>
                      <a:pt x="15405" y="24395"/>
                    </a:moveTo>
                    <a:cubicBezTo>
                      <a:pt x="20632" y="16585"/>
                      <a:pt x="29281" y="10584"/>
                      <a:pt x="36789" y="13060"/>
                    </a:cubicBezTo>
                    <a:cubicBezTo>
                      <a:pt x="38404" y="13546"/>
                      <a:pt x="39992" y="14118"/>
                      <a:pt x="41541" y="14775"/>
                    </a:cubicBezTo>
                    <a:cubicBezTo>
                      <a:pt x="43917" y="15727"/>
                      <a:pt x="46293" y="16871"/>
                      <a:pt x="48574" y="18014"/>
                    </a:cubicBezTo>
                    <a:lnTo>
                      <a:pt x="57222" y="22585"/>
                    </a:lnTo>
                    <a:lnTo>
                      <a:pt x="57792" y="22585"/>
                    </a:lnTo>
                    <a:cubicBezTo>
                      <a:pt x="63190" y="25519"/>
                      <a:pt x="67885" y="29577"/>
                      <a:pt x="71573" y="34492"/>
                    </a:cubicBezTo>
                    <a:cubicBezTo>
                      <a:pt x="74576" y="38607"/>
                      <a:pt x="75802" y="43750"/>
                      <a:pt x="74994" y="48779"/>
                    </a:cubicBezTo>
                    <a:cubicBezTo>
                      <a:pt x="74452" y="52437"/>
                      <a:pt x="73017" y="55904"/>
                      <a:pt x="70812" y="58876"/>
                    </a:cubicBezTo>
                    <a:cubicBezTo>
                      <a:pt x="69064" y="61076"/>
                      <a:pt x="67049" y="63057"/>
                      <a:pt x="64825" y="64781"/>
                    </a:cubicBezTo>
                    <a:cubicBezTo>
                      <a:pt x="56709" y="72677"/>
                      <a:pt x="45038" y="75687"/>
                      <a:pt x="34128" y="72687"/>
                    </a:cubicBezTo>
                    <a:cubicBezTo>
                      <a:pt x="30326" y="71458"/>
                      <a:pt x="26658" y="69830"/>
                      <a:pt x="23198" y="67829"/>
                    </a:cubicBezTo>
                    <a:cubicBezTo>
                      <a:pt x="19777" y="65810"/>
                      <a:pt x="16584" y="63410"/>
                      <a:pt x="13695" y="60685"/>
                    </a:cubicBezTo>
                    <a:cubicBezTo>
                      <a:pt x="7479" y="54828"/>
                      <a:pt x="5483" y="45760"/>
                      <a:pt x="8658" y="37825"/>
                    </a:cubicBezTo>
                    <a:cubicBezTo>
                      <a:pt x="10454" y="33158"/>
                      <a:pt x="12716" y="28691"/>
                      <a:pt x="15405" y="2449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831;p37">
                <a:extLst>
                  <a:ext uri="{FF2B5EF4-FFF2-40B4-BE49-F238E27FC236}">
                    <a16:creationId xmlns:a16="http://schemas.microsoft.com/office/drawing/2014/main" id="{FF9FE79A-9D76-470C-B432-A51AA69BC8BC}"/>
                  </a:ext>
                </a:extLst>
              </p:cNvPr>
              <p:cNvSpPr/>
              <p:nvPr/>
            </p:nvSpPr>
            <p:spPr>
              <a:xfrm>
                <a:off x="5752081" y="4128325"/>
                <a:ext cx="64221" cy="49275"/>
              </a:xfrm>
              <a:custGeom>
                <a:avLst/>
                <a:gdLst/>
                <a:ahLst/>
                <a:cxnLst/>
                <a:rect l="l" t="t" r="r" b="b"/>
                <a:pathLst>
                  <a:path w="64221" h="49275" extrusionOk="0">
                    <a:moveTo>
                      <a:pt x="57569" y="40196"/>
                    </a:moveTo>
                    <a:cubicBezTo>
                      <a:pt x="49481" y="48149"/>
                      <a:pt x="37782" y="51159"/>
                      <a:pt x="26872" y="48101"/>
                    </a:cubicBezTo>
                    <a:cubicBezTo>
                      <a:pt x="23118" y="46987"/>
                      <a:pt x="19487" y="45491"/>
                      <a:pt x="16037" y="43624"/>
                    </a:cubicBezTo>
                    <a:cubicBezTo>
                      <a:pt x="12597" y="41634"/>
                      <a:pt x="9404" y="39233"/>
                      <a:pt x="6534" y="36481"/>
                    </a:cubicBezTo>
                    <a:cubicBezTo>
                      <a:pt x="309" y="30671"/>
                      <a:pt x="-1687" y="21622"/>
                      <a:pt x="1497" y="13716"/>
                    </a:cubicBezTo>
                    <a:cubicBezTo>
                      <a:pt x="3369" y="8896"/>
                      <a:pt x="5754" y="4296"/>
                      <a:pt x="8624" y="0"/>
                    </a:cubicBezTo>
                    <a:lnTo>
                      <a:pt x="8624" y="0"/>
                    </a:lnTo>
                    <a:cubicBezTo>
                      <a:pt x="5992" y="4010"/>
                      <a:pt x="3797" y="8287"/>
                      <a:pt x="2067" y="12763"/>
                    </a:cubicBezTo>
                    <a:cubicBezTo>
                      <a:pt x="-1107" y="20698"/>
                      <a:pt x="888" y="29766"/>
                      <a:pt x="7104" y="35623"/>
                    </a:cubicBezTo>
                    <a:cubicBezTo>
                      <a:pt x="9993" y="38348"/>
                      <a:pt x="13186" y="40748"/>
                      <a:pt x="16608" y="42767"/>
                    </a:cubicBezTo>
                    <a:cubicBezTo>
                      <a:pt x="20067" y="44767"/>
                      <a:pt x="23735" y="46396"/>
                      <a:pt x="27537" y="47625"/>
                    </a:cubicBezTo>
                    <a:cubicBezTo>
                      <a:pt x="38447" y="50625"/>
                      <a:pt x="50118" y="47615"/>
                      <a:pt x="58234" y="39719"/>
                    </a:cubicBezTo>
                    <a:cubicBezTo>
                      <a:pt x="60439" y="38005"/>
                      <a:pt x="62444" y="36061"/>
                      <a:pt x="64222" y="33909"/>
                    </a:cubicBezTo>
                    <a:lnTo>
                      <a:pt x="63556" y="34099"/>
                    </a:lnTo>
                    <a:cubicBezTo>
                      <a:pt x="61827" y="36376"/>
                      <a:pt x="59812" y="38424"/>
                      <a:pt x="57569" y="40196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832;p37">
                <a:extLst>
                  <a:ext uri="{FF2B5EF4-FFF2-40B4-BE49-F238E27FC236}">
                    <a16:creationId xmlns:a16="http://schemas.microsoft.com/office/drawing/2014/main" id="{5E865561-FABF-46E4-8D51-D3AB5FA4E5FF}"/>
                  </a:ext>
                </a:extLst>
              </p:cNvPr>
              <p:cNvSpPr/>
              <p:nvPr/>
            </p:nvSpPr>
            <p:spPr>
              <a:xfrm>
                <a:off x="5833480" y="4174426"/>
                <a:ext cx="68642" cy="51616"/>
              </a:xfrm>
              <a:custGeom>
                <a:avLst/>
                <a:gdLst/>
                <a:ahLst/>
                <a:cxnLst/>
                <a:rect l="l" t="t" r="r" b="b"/>
                <a:pathLst>
                  <a:path w="68642" h="51616" extrusionOk="0">
                    <a:moveTo>
                      <a:pt x="57428" y="44577"/>
                    </a:moveTo>
                    <a:cubicBezTo>
                      <a:pt x="50139" y="51044"/>
                      <a:pt x="40027" y="53245"/>
                      <a:pt x="30722" y="50387"/>
                    </a:cubicBezTo>
                    <a:cubicBezTo>
                      <a:pt x="26465" y="49044"/>
                      <a:pt x="22350" y="47254"/>
                      <a:pt x="18463" y="45053"/>
                    </a:cubicBezTo>
                    <a:cubicBezTo>
                      <a:pt x="14870" y="42948"/>
                      <a:pt x="11458" y="40529"/>
                      <a:pt x="8293" y="37814"/>
                    </a:cubicBezTo>
                    <a:cubicBezTo>
                      <a:pt x="310" y="30337"/>
                      <a:pt x="-2189" y="18679"/>
                      <a:pt x="2021" y="8572"/>
                    </a:cubicBezTo>
                    <a:cubicBezTo>
                      <a:pt x="2772" y="5953"/>
                      <a:pt x="3827" y="3429"/>
                      <a:pt x="5157" y="1048"/>
                    </a:cubicBezTo>
                    <a:lnTo>
                      <a:pt x="5917" y="0"/>
                    </a:lnTo>
                    <a:cubicBezTo>
                      <a:pt x="4616" y="2343"/>
                      <a:pt x="3589" y="4839"/>
                      <a:pt x="2876" y="7429"/>
                    </a:cubicBezTo>
                    <a:cubicBezTo>
                      <a:pt x="-1381" y="17497"/>
                      <a:pt x="1128" y="29165"/>
                      <a:pt x="9149" y="36576"/>
                    </a:cubicBezTo>
                    <a:cubicBezTo>
                      <a:pt x="12266" y="39348"/>
                      <a:pt x="15678" y="41777"/>
                      <a:pt x="19318" y="43815"/>
                    </a:cubicBezTo>
                    <a:cubicBezTo>
                      <a:pt x="23224" y="46006"/>
                      <a:pt x="27330" y="47825"/>
                      <a:pt x="31578" y="49244"/>
                    </a:cubicBezTo>
                    <a:cubicBezTo>
                      <a:pt x="40901" y="52073"/>
                      <a:pt x="51013" y="49835"/>
                      <a:pt x="58283" y="43339"/>
                    </a:cubicBezTo>
                    <a:cubicBezTo>
                      <a:pt x="62142" y="39881"/>
                      <a:pt x="65620" y="36023"/>
                      <a:pt x="68643" y="31813"/>
                    </a:cubicBezTo>
                    <a:lnTo>
                      <a:pt x="68643" y="31813"/>
                    </a:lnTo>
                    <a:cubicBezTo>
                      <a:pt x="65440" y="36509"/>
                      <a:pt x="61667" y="40795"/>
                      <a:pt x="57428" y="44577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833;p37">
                <a:extLst>
                  <a:ext uri="{FF2B5EF4-FFF2-40B4-BE49-F238E27FC236}">
                    <a16:creationId xmlns:a16="http://schemas.microsoft.com/office/drawing/2014/main" id="{62EE6A99-3E89-4CD9-B7DE-C9857B1AD091}"/>
                  </a:ext>
                </a:extLst>
              </p:cNvPr>
              <p:cNvSpPr/>
              <p:nvPr/>
            </p:nvSpPr>
            <p:spPr>
              <a:xfrm>
                <a:off x="5752373" y="4115091"/>
                <a:ext cx="68187" cy="61619"/>
              </a:xfrm>
              <a:custGeom>
                <a:avLst/>
                <a:gdLst/>
                <a:ahLst/>
                <a:cxnLst/>
                <a:rect l="l" t="t" r="r" b="b"/>
                <a:pathLst>
                  <a:path w="68187" h="61619" extrusionOk="0">
                    <a:moveTo>
                      <a:pt x="64786" y="21997"/>
                    </a:moveTo>
                    <a:cubicBezTo>
                      <a:pt x="61098" y="17082"/>
                      <a:pt x="56403" y="13024"/>
                      <a:pt x="51005" y="10090"/>
                    </a:cubicBezTo>
                    <a:lnTo>
                      <a:pt x="50435" y="10090"/>
                    </a:lnTo>
                    <a:lnTo>
                      <a:pt x="41787" y="5518"/>
                    </a:lnTo>
                    <a:cubicBezTo>
                      <a:pt x="39506" y="4375"/>
                      <a:pt x="37130" y="3232"/>
                      <a:pt x="34754" y="2280"/>
                    </a:cubicBezTo>
                    <a:cubicBezTo>
                      <a:pt x="33205" y="1623"/>
                      <a:pt x="31617" y="1051"/>
                      <a:pt x="30002" y="565"/>
                    </a:cubicBezTo>
                    <a:cubicBezTo>
                      <a:pt x="22494" y="-1911"/>
                      <a:pt x="13845" y="4090"/>
                      <a:pt x="8618" y="11900"/>
                    </a:cubicBezTo>
                    <a:cubicBezTo>
                      <a:pt x="5767" y="16205"/>
                      <a:pt x="3382" y="20806"/>
                      <a:pt x="1490" y="25616"/>
                    </a:cubicBezTo>
                    <a:cubicBezTo>
                      <a:pt x="-1684" y="33551"/>
                      <a:pt x="312" y="42618"/>
                      <a:pt x="6527" y="48476"/>
                    </a:cubicBezTo>
                    <a:cubicBezTo>
                      <a:pt x="9417" y="51200"/>
                      <a:pt x="12610" y="53601"/>
                      <a:pt x="16031" y="55620"/>
                    </a:cubicBezTo>
                    <a:cubicBezTo>
                      <a:pt x="19491" y="57620"/>
                      <a:pt x="23159" y="59249"/>
                      <a:pt x="26960" y="60478"/>
                    </a:cubicBezTo>
                    <a:cubicBezTo>
                      <a:pt x="37871" y="63478"/>
                      <a:pt x="49542" y="60468"/>
                      <a:pt x="57658" y="52572"/>
                    </a:cubicBezTo>
                    <a:cubicBezTo>
                      <a:pt x="59882" y="50848"/>
                      <a:pt x="61896" y="48867"/>
                      <a:pt x="63645" y="46666"/>
                    </a:cubicBezTo>
                    <a:cubicBezTo>
                      <a:pt x="65850" y="43695"/>
                      <a:pt x="67285" y="40228"/>
                      <a:pt x="67827" y="36570"/>
                    </a:cubicBezTo>
                    <a:cubicBezTo>
                      <a:pt x="68825" y="31503"/>
                      <a:pt x="67732" y="26235"/>
                      <a:pt x="64786" y="21997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87" name="Google Shape;2834;p37">
              <a:extLst>
                <a:ext uri="{FF2B5EF4-FFF2-40B4-BE49-F238E27FC236}">
                  <a16:creationId xmlns:a16="http://schemas.microsoft.com/office/drawing/2014/main" id="{C27EB26F-9649-4F4E-8709-4D1405AC3DB4}"/>
                </a:ext>
              </a:extLst>
            </p:cNvPr>
            <p:cNvGrpSpPr/>
            <p:nvPr/>
          </p:nvGrpSpPr>
          <p:grpSpPr>
            <a:xfrm flipH="1">
              <a:off x="3829267" y="2465054"/>
              <a:ext cx="683694" cy="518573"/>
              <a:chOff x="6621095" y="1452181"/>
              <a:chExt cx="330894" cy="250785"/>
            </a:xfrm>
          </p:grpSpPr>
          <p:sp>
            <p:nvSpPr>
              <p:cNvPr id="206" name="Google Shape;2835;p37">
                <a:extLst>
                  <a:ext uri="{FF2B5EF4-FFF2-40B4-BE49-F238E27FC236}">
                    <a16:creationId xmlns:a16="http://schemas.microsoft.com/office/drawing/2014/main" id="{0F4EF8F2-0F0E-4C47-B78A-813B52C0925B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2836;p37">
                <a:extLst>
                  <a:ext uri="{FF2B5EF4-FFF2-40B4-BE49-F238E27FC236}">
                    <a16:creationId xmlns:a16="http://schemas.microsoft.com/office/drawing/2014/main" id="{261AE9C4-5A4D-44BC-94EF-29316A9E3153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2837;p37">
                <a:extLst>
                  <a:ext uri="{FF2B5EF4-FFF2-40B4-BE49-F238E27FC236}">
                    <a16:creationId xmlns:a16="http://schemas.microsoft.com/office/drawing/2014/main" id="{86FD3F72-2341-4C18-B740-003E369EE3B0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2838;p37">
                <a:extLst>
                  <a:ext uri="{FF2B5EF4-FFF2-40B4-BE49-F238E27FC236}">
                    <a16:creationId xmlns:a16="http://schemas.microsoft.com/office/drawing/2014/main" id="{ACA0E43C-B145-4338-9799-28016F21B130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2839;p37">
                <a:extLst>
                  <a:ext uri="{FF2B5EF4-FFF2-40B4-BE49-F238E27FC236}">
                    <a16:creationId xmlns:a16="http://schemas.microsoft.com/office/drawing/2014/main" id="{7795FC69-36CF-44BA-9880-8F690FBCAF74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88" name="Google Shape;2840;p37">
              <a:extLst>
                <a:ext uri="{FF2B5EF4-FFF2-40B4-BE49-F238E27FC236}">
                  <a16:creationId xmlns:a16="http://schemas.microsoft.com/office/drawing/2014/main" id="{A2DB4A9D-99B6-404D-A590-C95A4141E0F0}"/>
                </a:ext>
              </a:extLst>
            </p:cNvPr>
            <p:cNvSpPr/>
            <p:nvPr/>
          </p:nvSpPr>
          <p:spPr>
            <a:xfrm rot="-1803147">
              <a:off x="6082659" y="320502"/>
              <a:ext cx="40427" cy="70097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841;p37">
              <a:extLst>
                <a:ext uri="{FF2B5EF4-FFF2-40B4-BE49-F238E27FC236}">
                  <a16:creationId xmlns:a16="http://schemas.microsoft.com/office/drawing/2014/main" id="{4B237843-BD8F-48C7-84FF-0501EB618D4E}"/>
                </a:ext>
              </a:extLst>
            </p:cNvPr>
            <p:cNvSpPr/>
            <p:nvPr/>
          </p:nvSpPr>
          <p:spPr>
            <a:xfrm>
              <a:off x="5777153" y="2115925"/>
              <a:ext cx="669353" cy="387341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842;p37">
              <a:extLst>
                <a:ext uri="{FF2B5EF4-FFF2-40B4-BE49-F238E27FC236}">
                  <a16:creationId xmlns:a16="http://schemas.microsoft.com/office/drawing/2014/main" id="{76F4D18D-89C1-4CE1-B4C0-39A9D37D1FB6}"/>
                </a:ext>
              </a:extLst>
            </p:cNvPr>
            <p:cNvSpPr/>
            <p:nvPr/>
          </p:nvSpPr>
          <p:spPr>
            <a:xfrm>
              <a:off x="5964040" y="276791"/>
              <a:ext cx="375852" cy="551229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843;p37">
              <a:extLst>
                <a:ext uri="{FF2B5EF4-FFF2-40B4-BE49-F238E27FC236}">
                  <a16:creationId xmlns:a16="http://schemas.microsoft.com/office/drawing/2014/main" id="{53772BC7-A377-4D07-A23D-662FD0F144DA}"/>
                </a:ext>
              </a:extLst>
            </p:cNvPr>
            <p:cNvSpPr/>
            <p:nvPr/>
          </p:nvSpPr>
          <p:spPr>
            <a:xfrm>
              <a:off x="5952425" y="673402"/>
              <a:ext cx="70057" cy="407712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844;p37">
              <a:extLst>
                <a:ext uri="{FF2B5EF4-FFF2-40B4-BE49-F238E27FC236}">
                  <a16:creationId xmlns:a16="http://schemas.microsoft.com/office/drawing/2014/main" id="{43480DD9-AD15-4AA3-9892-ADEB3AD16261}"/>
                </a:ext>
              </a:extLst>
            </p:cNvPr>
            <p:cNvSpPr/>
            <p:nvPr/>
          </p:nvSpPr>
          <p:spPr>
            <a:xfrm>
              <a:off x="5992903" y="271657"/>
              <a:ext cx="179035" cy="222681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845;p37">
              <a:extLst>
                <a:ext uri="{FF2B5EF4-FFF2-40B4-BE49-F238E27FC236}">
                  <a16:creationId xmlns:a16="http://schemas.microsoft.com/office/drawing/2014/main" id="{4534C954-A185-465B-A9C8-7287E95F932E}"/>
                </a:ext>
              </a:extLst>
            </p:cNvPr>
            <p:cNvSpPr/>
            <p:nvPr/>
          </p:nvSpPr>
          <p:spPr>
            <a:xfrm>
              <a:off x="6027515" y="513497"/>
              <a:ext cx="222025" cy="248990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846;p37">
              <a:extLst>
                <a:ext uri="{FF2B5EF4-FFF2-40B4-BE49-F238E27FC236}">
                  <a16:creationId xmlns:a16="http://schemas.microsoft.com/office/drawing/2014/main" id="{FC6D6F87-BEE1-4F09-B71A-C5126EF0FA7F}"/>
                </a:ext>
              </a:extLst>
            </p:cNvPr>
            <p:cNvSpPr/>
            <p:nvPr/>
          </p:nvSpPr>
          <p:spPr>
            <a:xfrm>
              <a:off x="5963282" y="594790"/>
              <a:ext cx="323371" cy="372912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847;p37">
              <a:extLst>
                <a:ext uri="{FF2B5EF4-FFF2-40B4-BE49-F238E27FC236}">
                  <a16:creationId xmlns:a16="http://schemas.microsoft.com/office/drawing/2014/main" id="{86728DB6-96AD-4119-ADD4-980EAB0D9F59}"/>
                </a:ext>
              </a:extLst>
            </p:cNvPr>
            <p:cNvSpPr/>
            <p:nvPr/>
          </p:nvSpPr>
          <p:spPr>
            <a:xfrm>
              <a:off x="6020709" y="289521"/>
              <a:ext cx="238064" cy="294179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848;p37">
              <a:extLst>
                <a:ext uri="{FF2B5EF4-FFF2-40B4-BE49-F238E27FC236}">
                  <a16:creationId xmlns:a16="http://schemas.microsoft.com/office/drawing/2014/main" id="{F30B27D2-CBAD-44FE-83D5-2B824A94FE33}"/>
                </a:ext>
              </a:extLst>
            </p:cNvPr>
            <p:cNvSpPr/>
            <p:nvPr/>
          </p:nvSpPr>
          <p:spPr>
            <a:xfrm>
              <a:off x="6029967" y="288305"/>
              <a:ext cx="239492" cy="225171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849;p37">
              <a:extLst>
                <a:ext uri="{FF2B5EF4-FFF2-40B4-BE49-F238E27FC236}">
                  <a16:creationId xmlns:a16="http://schemas.microsoft.com/office/drawing/2014/main" id="{EDE63D7E-368E-4E56-A34C-759036D1D70D}"/>
                </a:ext>
              </a:extLst>
            </p:cNvPr>
            <p:cNvSpPr/>
            <p:nvPr/>
          </p:nvSpPr>
          <p:spPr>
            <a:xfrm>
              <a:off x="6069645" y="2237688"/>
              <a:ext cx="188076" cy="143860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850;p37">
              <a:extLst>
                <a:ext uri="{FF2B5EF4-FFF2-40B4-BE49-F238E27FC236}">
                  <a16:creationId xmlns:a16="http://schemas.microsoft.com/office/drawing/2014/main" id="{E2884435-2556-4CFE-A765-5301B5B80250}"/>
                </a:ext>
              </a:extLst>
            </p:cNvPr>
            <p:cNvSpPr/>
            <p:nvPr/>
          </p:nvSpPr>
          <p:spPr>
            <a:xfrm>
              <a:off x="6070415" y="2283614"/>
              <a:ext cx="187263" cy="97891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2851;p37">
              <a:extLst>
                <a:ext uri="{FF2B5EF4-FFF2-40B4-BE49-F238E27FC236}">
                  <a16:creationId xmlns:a16="http://schemas.microsoft.com/office/drawing/2014/main" id="{D6F1DC35-AD5D-4A62-BD1B-42726C9BA441}"/>
                </a:ext>
              </a:extLst>
            </p:cNvPr>
            <p:cNvSpPr/>
            <p:nvPr/>
          </p:nvSpPr>
          <p:spPr>
            <a:xfrm>
              <a:off x="5927157" y="2205996"/>
              <a:ext cx="172547" cy="133696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852;p37">
              <a:extLst>
                <a:ext uri="{FF2B5EF4-FFF2-40B4-BE49-F238E27FC236}">
                  <a16:creationId xmlns:a16="http://schemas.microsoft.com/office/drawing/2014/main" id="{DACF7D96-D1EB-4511-9520-5120D973BF67}"/>
                </a:ext>
              </a:extLst>
            </p:cNvPr>
            <p:cNvSpPr/>
            <p:nvPr/>
          </p:nvSpPr>
          <p:spPr>
            <a:xfrm>
              <a:off x="5927737" y="2249998"/>
              <a:ext cx="171800" cy="89748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853;p37">
              <a:extLst>
                <a:ext uri="{FF2B5EF4-FFF2-40B4-BE49-F238E27FC236}">
                  <a16:creationId xmlns:a16="http://schemas.microsoft.com/office/drawing/2014/main" id="{5109D444-52DE-48D8-ADFC-1CF7E4CC0C9F}"/>
                </a:ext>
              </a:extLst>
            </p:cNvPr>
            <p:cNvSpPr/>
            <p:nvPr/>
          </p:nvSpPr>
          <p:spPr>
            <a:xfrm>
              <a:off x="5955035" y="963103"/>
              <a:ext cx="368082" cy="128814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854;p37">
              <a:extLst>
                <a:ext uri="{FF2B5EF4-FFF2-40B4-BE49-F238E27FC236}">
                  <a16:creationId xmlns:a16="http://schemas.microsoft.com/office/drawing/2014/main" id="{E67F0960-9DE6-432E-B601-A52BF8277F92}"/>
                </a:ext>
              </a:extLst>
            </p:cNvPr>
            <p:cNvSpPr/>
            <p:nvPr/>
          </p:nvSpPr>
          <p:spPr>
            <a:xfrm>
              <a:off x="5939457" y="937334"/>
              <a:ext cx="391797" cy="856741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855;p37">
              <a:extLst>
                <a:ext uri="{FF2B5EF4-FFF2-40B4-BE49-F238E27FC236}">
                  <a16:creationId xmlns:a16="http://schemas.microsoft.com/office/drawing/2014/main" id="{CB08E3AC-88F4-4B6D-9CB0-14EF9F3EFBAB}"/>
                </a:ext>
              </a:extLst>
            </p:cNvPr>
            <p:cNvSpPr/>
            <p:nvPr/>
          </p:nvSpPr>
          <p:spPr>
            <a:xfrm>
              <a:off x="5733626" y="681017"/>
              <a:ext cx="564393" cy="49234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856;p37">
              <a:extLst>
                <a:ext uri="{FF2B5EF4-FFF2-40B4-BE49-F238E27FC236}">
                  <a16:creationId xmlns:a16="http://schemas.microsoft.com/office/drawing/2014/main" id="{BEEFCAB9-DD7C-478A-9E8E-75FE7EB7A426}"/>
                </a:ext>
              </a:extLst>
            </p:cNvPr>
            <p:cNvSpPr/>
            <p:nvPr/>
          </p:nvSpPr>
          <p:spPr>
            <a:xfrm>
              <a:off x="6171801" y="649512"/>
              <a:ext cx="135912" cy="159574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Google Shape;2857;p37">
              <a:extLst>
                <a:ext uri="{FF2B5EF4-FFF2-40B4-BE49-F238E27FC236}">
                  <a16:creationId xmlns:a16="http://schemas.microsoft.com/office/drawing/2014/main" id="{B8E72D89-C6AC-4236-9FE7-E4FF44B68DFC}"/>
                </a:ext>
              </a:extLst>
            </p:cNvPr>
            <p:cNvSpPr/>
            <p:nvPr/>
          </p:nvSpPr>
          <p:spPr>
            <a:xfrm>
              <a:off x="5953447" y="594810"/>
              <a:ext cx="109819" cy="11544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" name="Google Shape;518;p16"/>
          <p:cNvSpPr txBox="1">
            <a:spLocks noGrp="1"/>
          </p:cNvSpPr>
          <p:nvPr>
            <p:ph type="body" idx="1"/>
          </p:nvPr>
        </p:nvSpPr>
        <p:spPr>
          <a:xfrm>
            <a:off x="1039050" y="1755343"/>
            <a:ext cx="4742700" cy="2852882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25400" indent="0" eaLnBrk="0" fontAlgn="base" hangingPunct="0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Montserrat" panose="020B0604020202020204" charset="0"/>
              </a:rPr>
              <a:t>Data are becoming the new raw material of business."</a:t>
            </a:r>
            <a:b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</a:br>
            <a:br>
              <a:rPr kumimoji="0" lang="en-US" altLang="en-US" sz="4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Montserrat" panose="020B0604020202020204" charset="0"/>
                <a:cs typeface="Montserrat" panose="020B0604020202020204" charset="0"/>
              </a:rPr>
              <a:t>– BY CRAIG MUNDIE, SENIOR ADVISOR TO THE CEO AT MICROSOFT</a:t>
            </a:r>
            <a: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endParaRPr kumimoji="0" lang="en-US" altLang="en-US" sz="4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19" name="Google Shape;519;p16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4</a:t>
            </a:fld>
            <a:endParaRPr/>
          </a:p>
        </p:txBody>
      </p:sp>
      <p:grpSp>
        <p:nvGrpSpPr>
          <p:cNvPr id="520" name="Google Shape;520;p16"/>
          <p:cNvGrpSpPr/>
          <p:nvPr/>
        </p:nvGrpSpPr>
        <p:grpSpPr>
          <a:xfrm>
            <a:off x="6230973" y="930400"/>
            <a:ext cx="2318495" cy="3612478"/>
            <a:chOff x="6661328" y="2103554"/>
            <a:chExt cx="850574" cy="1325339"/>
          </a:xfrm>
        </p:grpSpPr>
        <p:sp>
          <p:nvSpPr>
            <p:cNvPr id="521" name="Google Shape;521;p16"/>
            <p:cNvSpPr/>
            <p:nvPr/>
          </p:nvSpPr>
          <p:spPr>
            <a:xfrm>
              <a:off x="7216759" y="3070053"/>
              <a:ext cx="247057" cy="142875"/>
            </a:xfrm>
            <a:custGeom>
              <a:avLst/>
              <a:gdLst/>
              <a:ahLst/>
              <a:cxnLst/>
              <a:rect l="l" t="t" r="r" b="b"/>
              <a:pathLst>
                <a:path w="658819" h="381000" extrusionOk="0">
                  <a:moveTo>
                    <a:pt x="658819" y="190500"/>
                  </a:moveTo>
                  <a:cubicBezTo>
                    <a:pt x="658819" y="295710"/>
                    <a:pt x="511337" y="381000"/>
                    <a:pt x="329409" y="381000"/>
                  </a:cubicBezTo>
                  <a:cubicBezTo>
                    <a:pt x="147482" y="381000"/>
                    <a:pt x="0" y="295710"/>
                    <a:pt x="0" y="190500"/>
                  </a:cubicBezTo>
                  <a:cubicBezTo>
                    <a:pt x="0" y="85290"/>
                    <a:pt x="147481" y="0"/>
                    <a:pt x="329409" y="0"/>
                  </a:cubicBezTo>
                  <a:cubicBezTo>
                    <a:pt x="511337" y="0"/>
                    <a:pt x="658819" y="85290"/>
                    <a:pt x="658819" y="190500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2" name="Google Shape;522;p16"/>
            <p:cNvSpPr/>
            <p:nvPr/>
          </p:nvSpPr>
          <p:spPr>
            <a:xfrm>
              <a:off x="7342016" y="3123138"/>
              <a:ext cx="71660" cy="55453"/>
            </a:xfrm>
            <a:custGeom>
              <a:avLst/>
              <a:gdLst/>
              <a:ahLst/>
              <a:cxnLst/>
              <a:rect l="l" t="t" r="r" b="b"/>
              <a:pathLst>
                <a:path w="191092" h="147874" extrusionOk="0">
                  <a:moveTo>
                    <a:pt x="175923" y="5"/>
                  </a:moveTo>
                  <a:cubicBezTo>
                    <a:pt x="153005" y="19055"/>
                    <a:pt x="118866" y="1625"/>
                    <a:pt x="117534" y="3339"/>
                  </a:cubicBezTo>
                  <a:cubicBezTo>
                    <a:pt x="90651" y="28352"/>
                    <a:pt x="62427" y="51879"/>
                    <a:pt x="32995" y="73824"/>
                  </a:cubicBezTo>
                  <a:cubicBezTo>
                    <a:pt x="18731" y="85064"/>
                    <a:pt x="-3522" y="100113"/>
                    <a:pt x="472" y="121449"/>
                  </a:cubicBezTo>
                  <a:cubicBezTo>
                    <a:pt x="7699" y="160121"/>
                    <a:pt x="69511" y="148214"/>
                    <a:pt x="92810" y="136403"/>
                  </a:cubicBezTo>
                  <a:cubicBezTo>
                    <a:pt x="116108" y="124592"/>
                    <a:pt x="135127" y="104971"/>
                    <a:pt x="157189" y="91255"/>
                  </a:cubicBezTo>
                  <a:cubicBezTo>
                    <a:pt x="172975" y="81730"/>
                    <a:pt x="188475" y="76396"/>
                    <a:pt x="190948" y="56489"/>
                  </a:cubicBezTo>
                  <a:cubicBezTo>
                    <a:pt x="192564" y="44678"/>
                    <a:pt x="180202" y="-566"/>
                    <a:pt x="175923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3" name="Google Shape;523;p16"/>
            <p:cNvSpPr/>
            <p:nvPr/>
          </p:nvSpPr>
          <p:spPr>
            <a:xfrm>
              <a:off x="7342406" y="3141358"/>
              <a:ext cx="71304" cy="37263"/>
            </a:xfrm>
            <a:custGeom>
              <a:avLst/>
              <a:gdLst/>
              <a:ahLst/>
              <a:cxnLst/>
              <a:rect l="l" t="t" r="r" b="b"/>
              <a:pathLst>
                <a:path w="190145" h="99367" extrusionOk="0">
                  <a:moveTo>
                    <a:pt x="189715" y="0"/>
                  </a:moveTo>
                  <a:cubicBezTo>
                    <a:pt x="186767" y="19050"/>
                    <a:pt x="171457" y="24289"/>
                    <a:pt x="155861" y="34004"/>
                  </a:cubicBezTo>
                  <a:cubicBezTo>
                    <a:pt x="133419" y="47911"/>
                    <a:pt x="113639" y="68104"/>
                    <a:pt x="90340" y="79915"/>
                  </a:cubicBezTo>
                  <a:cubicBezTo>
                    <a:pt x="68849" y="90774"/>
                    <a:pt x="15120" y="101632"/>
                    <a:pt x="0" y="74009"/>
                  </a:cubicBezTo>
                  <a:cubicBezTo>
                    <a:pt x="8178" y="111347"/>
                    <a:pt x="68849" y="99632"/>
                    <a:pt x="91957" y="87916"/>
                  </a:cubicBezTo>
                  <a:cubicBezTo>
                    <a:pt x="115065" y="76200"/>
                    <a:pt x="134275" y="56483"/>
                    <a:pt x="156336" y="42767"/>
                  </a:cubicBezTo>
                  <a:cubicBezTo>
                    <a:pt x="172122" y="33242"/>
                    <a:pt x="187623" y="27908"/>
                    <a:pt x="190095" y="8001"/>
                  </a:cubicBezTo>
                  <a:cubicBezTo>
                    <a:pt x="190229" y="5325"/>
                    <a:pt x="190095" y="2648"/>
                    <a:pt x="18971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4" name="Google Shape;524;p16"/>
            <p:cNvSpPr/>
            <p:nvPr/>
          </p:nvSpPr>
          <p:spPr>
            <a:xfrm>
              <a:off x="7268719" y="3095364"/>
              <a:ext cx="71613" cy="53417"/>
            </a:xfrm>
            <a:custGeom>
              <a:avLst/>
              <a:gdLst/>
              <a:ahLst/>
              <a:cxnLst/>
              <a:rect l="l" t="t" r="r" b="b"/>
              <a:pathLst>
                <a:path w="190969" h="142446" extrusionOk="0">
                  <a:moveTo>
                    <a:pt x="173186" y="102"/>
                  </a:moveTo>
                  <a:cubicBezTo>
                    <a:pt x="150268" y="19152"/>
                    <a:pt x="110138" y="-1613"/>
                    <a:pt x="108522" y="102"/>
                  </a:cubicBezTo>
                  <a:cubicBezTo>
                    <a:pt x="84624" y="24276"/>
                    <a:pt x="59386" y="47079"/>
                    <a:pt x="32921" y="68396"/>
                  </a:cubicBezTo>
                  <a:cubicBezTo>
                    <a:pt x="18657" y="79636"/>
                    <a:pt x="-3596" y="94685"/>
                    <a:pt x="493" y="116021"/>
                  </a:cubicBezTo>
                  <a:cubicBezTo>
                    <a:pt x="7626" y="154693"/>
                    <a:pt x="69437" y="142786"/>
                    <a:pt x="92736" y="130975"/>
                  </a:cubicBezTo>
                  <a:cubicBezTo>
                    <a:pt x="116034" y="119164"/>
                    <a:pt x="135148" y="99543"/>
                    <a:pt x="157210" y="85827"/>
                  </a:cubicBezTo>
                  <a:cubicBezTo>
                    <a:pt x="172901" y="76302"/>
                    <a:pt x="188402" y="70968"/>
                    <a:pt x="190874" y="51061"/>
                  </a:cubicBezTo>
                  <a:cubicBezTo>
                    <a:pt x="192300" y="39249"/>
                    <a:pt x="177275" y="-374"/>
                    <a:pt x="173186" y="10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5" name="Google Shape;525;p16"/>
            <p:cNvSpPr/>
            <p:nvPr/>
          </p:nvSpPr>
          <p:spPr>
            <a:xfrm>
              <a:off x="7268869" y="3112444"/>
              <a:ext cx="71304" cy="37267"/>
            </a:xfrm>
            <a:custGeom>
              <a:avLst/>
              <a:gdLst/>
              <a:ahLst/>
              <a:cxnLst/>
              <a:rect l="l" t="t" r="r" b="b"/>
              <a:pathLst>
                <a:path w="190145" h="99378" extrusionOk="0">
                  <a:moveTo>
                    <a:pt x="189715" y="0"/>
                  </a:moveTo>
                  <a:cubicBezTo>
                    <a:pt x="186767" y="19050"/>
                    <a:pt x="171457" y="24289"/>
                    <a:pt x="155861" y="34004"/>
                  </a:cubicBezTo>
                  <a:cubicBezTo>
                    <a:pt x="133418" y="48006"/>
                    <a:pt x="113639" y="68104"/>
                    <a:pt x="90340" y="79915"/>
                  </a:cubicBezTo>
                  <a:cubicBezTo>
                    <a:pt x="68849" y="90869"/>
                    <a:pt x="15120" y="101727"/>
                    <a:pt x="0" y="74104"/>
                  </a:cubicBezTo>
                  <a:cubicBezTo>
                    <a:pt x="8178" y="111347"/>
                    <a:pt x="68944" y="99631"/>
                    <a:pt x="91957" y="87916"/>
                  </a:cubicBezTo>
                  <a:cubicBezTo>
                    <a:pt x="114970" y="76200"/>
                    <a:pt x="134274" y="56579"/>
                    <a:pt x="156431" y="42767"/>
                  </a:cubicBezTo>
                  <a:cubicBezTo>
                    <a:pt x="172122" y="33242"/>
                    <a:pt x="187622" y="27908"/>
                    <a:pt x="190095" y="8001"/>
                  </a:cubicBezTo>
                  <a:cubicBezTo>
                    <a:pt x="190228" y="5324"/>
                    <a:pt x="190095" y="2648"/>
                    <a:pt x="18971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6" name="Google Shape;526;p16"/>
            <p:cNvSpPr/>
            <p:nvPr/>
          </p:nvSpPr>
          <p:spPr>
            <a:xfrm>
              <a:off x="7286737" y="2775175"/>
              <a:ext cx="123184" cy="353826"/>
            </a:xfrm>
            <a:custGeom>
              <a:avLst/>
              <a:gdLst/>
              <a:ahLst/>
              <a:cxnLst/>
              <a:rect l="l" t="t" r="r" b="b"/>
              <a:pathLst>
                <a:path w="328490" h="943536" extrusionOk="0">
                  <a:moveTo>
                    <a:pt x="324560" y="81915"/>
                  </a:moveTo>
                  <a:cubicBezTo>
                    <a:pt x="323514" y="116681"/>
                    <a:pt x="312673" y="267367"/>
                    <a:pt x="307918" y="347091"/>
                  </a:cubicBezTo>
                  <a:cubicBezTo>
                    <a:pt x="303163" y="426815"/>
                    <a:pt x="301927" y="524637"/>
                    <a:pt x="301927" y="524637"/>
                  </a:cubicBezTo>
                  <a:cubicBezTo>
                    <a:pt x="301927" y="524637"/>
                    <a:pt x="315716" y="582740"/>
                    <a:pt x="324560" y="651034"/>
                  </a:cubicBezTo>
                  <a:cubicBezTo>
                    <a:pt x="333403" y="719328"/>
                    <a:pt x="324560" y="934879"/>
                    <a:pt x="324560" y="934879"/>
                  </a:cubicBezTo>
                  <a:cubicBezTo>
                    <a:pt x="306701" y="946423"/>
                    <a:pt x="283745" y="946423"/>
                    <a:pt x="265886" y="934879"/>
                  </a:cubicBezTo>
                  <a:cubicBezTo>
                    <a:pt x="265886" y="934879"/>
                    <a:pt x="229274" y="762381"/>
                    <a:pt x="212252" y="684657"/>
                  </a:cubicBezTo>
                  <a:cubicBezTo>
                    <a:pt x="195230" y="606933"/>
                    <a:pt x="192378" y="562166"/>
                    <a:pt x="183724" y="513969"/>
                  </a:cubicBezTo>
                  <a:cubicBezTo>
                    <a:pt x="173073" y="455676"/>
                    <a:pt x="150060" y="183642"/>
                    <a:pt x="150060" y="183642"/>
                  </a:cubicBezTo>
                  <a:lnTo>
                    <a:pt x="140551" y="184214"/>
                  </a:lnTo>
                  <a:lnTo>
                    <a:pt x="116206" y="491490"/>
                  </a:lnTo>
                  <a:cubicBezTo>
                    <a:pt x="123766" y="514131"/>
                    <a:pt x="128959" y="537496"/>
                    <a:pt x="131707" y="561213"/>
                  </a:cubicBezTo>
                  <a:cubicBezTo>
                    <a:pt x="138363" y="611219"/>
                    <a:pt x="124670" y="862870"/>
                    <a:pt x="124670" y="862870"/>
                  </a:cubicBezTo>
                  <a:cubicBezTo>
                    <a:pt x="104700" y="873966"/>
                    <a:pt x="80213" y="872938"/>
                    <a:pt x="61241" y="860203"/>
                  </a:cubicBezTo>
                  <a:cubicBezTo>
                    <a:pt x="61241" y="860203"/>
                    <a:pt x="0" y="526828"/>
                    <a:pt x="0" y="476250"/>
                  </a:cubicBezTo>
                  <a:cubicBezTo>
                    <a:pt x="0" y="442722"/>
                    <a:pt x="5706" y="0"/>
                    <a:pt x="5706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7" name="Google Shape;527;p16"/>
            <p:cNvSpPr/>
            <p:nvPr/>
          </p:nvSpPr>
          <p:spPr>
            <a:xfrm>
              <a:off x="7314533" y="2554952"/>
              <a:ext cx="78868" cy="76871"/>
            </a:xfrm>
            <a:custGeom>
              <a:avLst/>
              <a:gdLst/>
              <a:ahLst/>
              <a:cxnLst/>
              <a:rect l="l" t="t" r="r" b="b"/>
              <a:pathLst>
                <a:path w="210314" h="204988" extrusionOk="0">
                  <a:moveTo>
                    <a:pt x="167279" y="0"/>
                  </a:moveTo>
                  <a:cubicBezTo>
                    <a:pt x="167279" y="0"/>
                    <a:pt x="163380" y="75629"/>
                    <a:pt x="165092" y="82391"/>
                  </a:cubicBezTo>
                  <a:cubicBezTo>
                    <a:pt x="166804" y="89154"/>
                    <a:pt x="199707" y="110966"/>
                    <a:pt x="209312" y="119158"/>
                  </a:cubicBezTo>
                  <a:cubicBezTo>
                    <a:pt x="218916" y="127349"/>
                    <a:pt x="157104" y="188214"/>
                    <a:pt x="127054" y="202025"/>
                  </a:cubicBezTo>
                  <a:cubicBezTo>
                    <a:pt x="97004" y="215836"/>
                    <a:pt x="1719" y="179451"/>
                    <a:pt x="102" y="132588"/>
                  </a:cubicBezTo>
                  <a:cubicBezTo>
                    <a:pt x="-1515" y="85725"/>
                    <a:pt x="16363" y="46387"/>
                    <a:pt x="31008" y="44291"/>
                  </a:cubicBezTo>
                  <a:cubicBezTo>
                    <a:pt x="45653" y="42196"/>
                    <a:pt x="167279" y="0"/>
                    <a:pt x="16727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8" name="Google Shape;528;p16"/>
            <p:cNvSpPr/>
            <p:nvPr/>
          </p:nvSpPr>
          <p:spPr>
            <a:xfrm>
              <a:off x="7190170" y="2579409"/>
              <a:ext cx="118999" cy="169986"/>
            </a:xfrm>
            <a:custGeom>
              <a:avLst/>
              <a:gdLst/>
              <a:ahLst/>
              <a:cxnLst/>
              <a:rect l="l" t="t" r="r" b="b"/>
              <a:pathLst>
                <a:path w="317332" h="453297" extrusionOk="0">
                  <a:moveTo>
                    <a:pt x="317332" y="2194"/>
                  </a:moveTo>
                  <a:cubicBezTo>
                    <a:pt x="317332" y="2194"/>
                    <a:pt x="296887" y="-29144"/>
                    <a:pt x="222237" y="145069"/>
                  </a:cubicBezTo>
                  <a:cubicBezTo>
                    <a:pt x="147588" y="319281"/>
                    <a:pt x="101562" y="365001"/>
                    <a:pt x="68088" y="408340"/>
                  </a:cubicBezTo>
                  <a:cubicBezTo>
                    <a:pt x="37848" y="447773"/>
                    <a:pt x="22918" y="385099"/>
                    <a:pt x="22918" y="385099"/>
                  </a:cubicBezTo>
                  <a:cubicBezTo>
                    <a:pt x="22918" y="385099"/>
                    <a:pt x="46977" y="354714"/>
                    <a:pt x="26912" y="354714"/>
                  </a:cubicBezTo>
                  <a:cubicBezTo>
                    <a:pt x="15691" y="355381"/>
                    <a:pt x="0" y="378526"/>
                    <a:pt x="0" y="378526"/>
                  </a:cubicBezTo>
                  <a:lnTo>
                    <a:pt x="25581" y="419484"/>
                  </a:lnTo>
                  <a:lnTo>
                    <a:pt x="92147" y="453298"/>
                  </a:lnTo>
                  <a:cubicBezTo>
                    <a:pt x="92147" y="453298"/>
                    <a:pt x="173644" y="378241"/>
                    <a:pt x="199985" y="331949"/>
                  </a:cubicBezTo>
                  <a:cubicBezTo>
                    <a:pt x="228514" y="295468"/>
                    <a:pt x="271211" y="223078"/>
                    <a:pt x="271211" y="223078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9" name="Google Shape;529;p16"/>
            <p:cNvSpPr/>
            <p:nvPr/>
          </p:nvSpPr>
          <p:spPr>
            <a:xfrm>
              <a:off x="7180686" y="2720915"/>
              <a:ext cx="56790" cy="37169"/>
            </a:xfrm>
            <a:custGeom>
              <a:avLst/>
              <a:gdLst/>
              <a:ahLst/>
              <a:cxnLst/>
              <a:rect l="l" t="t" r="r" b="b"/>
              <a:pathLst>
                <a:path w="151441" h="99116" extrusionOk="0">
                  <a:moveTo>
                    <a:pt x="25622" y="35807"/>
                  </a:moveTo>
                  <a:cubicBezTo>
                    <a:pt x="24861" y="35236"/>
                    <a:pt x="4986" y="12090"/>
                    <a:pt x="4986" y="12090"/>
                  </a:cubicBezTo>
                  <a:cubicBezTo>
                    <a:pt x="4986" y="12090"/>
                    <a:pt x="-6901" y="1708"/>
                    <a:pt x="6032" y="946"/>
                  </a:cubicBezTo>
                  <a:cubicBezTo>
                    <a:pt x="18965" y="184"/>
                    <a:pt x="65086" y="89"/>
                    <a:pt x="65086" y="89"/>
                  </a:cubicBezTo>
                  <a:cubicBezTo>
                    <a:pt x="69803" y="-369"/>
                    <a:pt x="74510" y="955"/>
                    <a:pt x="78305" y="3803"/>
                  </a:cubicBezTo>
                  <a:cubicBezTo>
                    <a:pt x="84105" y="8375"/>
                    <a:pt x="150957" y="93148"/>
                    <a:pt x="150957" y="93148"/>
                  </a:cubicBezTo>
                  <a:cubicBezTo>
                    <a:pt x="150957" y="93148"/>
                    <a:pt x="153905" y="98291"/>
                    <a:pt x="145252" y="98863"/>
                  </a:cubicBezTo>
                  <a:cubicBezTo>
                    <a:pt x="136598" y="99434"/>
                    <a:pt x="80587" y="98863"/>
                    <a:pt x="80587" y="98863"/>
                  </a:cubicBezTo>
                  <a:close/>
                </a:path>
              </a:pathLst>
            </a:custGeom>
            <a:solidFill>
              <a:srgbClr val="20232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0" name="Google Shape;530;p16"/>
            <p:cNvSpPr/>
            <p:nvPr/>
          </p:nvSpPr>
          <p:spPr>
            <a:xfrm>
              <a:off x="7182331" y="2728860"/>
              <a:ext cx="37082" cy="30910"/>
            </a:xfrm>
            <a:custGeom>
              <a:avLst/>
              <a:gdLst/>
              <a:ahLst/>
              <a:cxnLst/>
              <a:rect l="l" t="t" r="r" b="b"/>
              <a:pathLst>
                <a:path w="98885" h="82426" extrusionOk="0">
                  <a:moveTo>
                    <a:pt x="15807" y="295"/>
                  </a:moveTo>
                  <a:cubicBezTo>
                    <a:pt x="15807" y="295"/>
                    <a:pt x="-3878" y="-3420"/>
                    <a:pt x="687" y="15534"/>
                  </a:cubicBezTo>
                  <a:cubicBezTo>
                    <a:pt x="5251" y="34489"/>
                    <a:pt x="33495" y="54111"/>
                    <a:pt x="33495" y="54111"/>
                  </a:cubicBezTo>
                  <a:lnTo>
                    <a:pt x="62974" y="78876"/>
                  </a:lnTo>
                  <a:cubicBezTo>
                    <a:pt x="70334" y="83610"/>
                    <a:pt x="79768" y="83610"/>
                    <a:pt x="87128" y="78876"/>
                  </a:cubicBezTo>
                  <a:cubicBezTo>
                    <a:pt x="94736" y="74113"/>
                    <a:pt x="105387" y="61159"/>
                    <a:pt x="93690" y="48872"/>
                  </a:cubicBezTo>
                  <a:cubicBezTo>
                    <a:pt x="81993" y="36585"/>
                    <a:pt x="71533" y="9629"/>
                    <a:pt x="41673" y="10772"/>
                  </a:cubicBezTo>
                  <a:cubicBezTo>
                    <a:pt x="41673" y="10772"/>
                    <a:pt x="40056" y="3628"/>
                    <a:pt x="22654" y="1247"/>
                  </a:cubicBezTo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1" name="Google Shape;531;p16"/>
            <p:cNvSpPr/>
            <p:nvPr/>
          </p:nvSpPr>
          <p:spPr>
            <a:xfrm>
              <a:off x="7286654" y="2565698"/>
              <a:ext cx="128280" cy="258276"/>
            </a:xfrm>
            <a:custGeom>
              <a:avLst/>
              <a:gdLst/>
              <a:ahLst/>
              <a:cxnLst/>
              <a:rect l="l" t="t" r="r" b="b"/>
              <a:pathLst>
                <a:path w="342080" h="688737" extrusionOk="0">
                  <a:moveTo>
                    <a:pt x="250227" y="66733"/>
                  </a:moveTo>
                  <a:cubicBezTo>
                    <a:pt x="250227" y="66733"/>
                    <a:pt x="195357" y="148457"/>
                    <a:pt x="118901" y="156172"/>
                  </a:cubicBezTo>
                  <a:cubicBezTo>
                    <a:pt x="94841" y="132360"/>
                    <a:pt x="92654" y="47683"/>
                    <a:pt x="126033" y="20632"/>
                  </a:cubicBezTo>
                  <a:cubicBezTo>
                    <a:pt x="126033" y="20632"/>
                    <a:pt x="95317" y="-4229"/>
                    <a:pt x="74301" y="629"/>
                  </a:cubicBezTo>
                  <a:cubicBezTo>
                    <a:pt x="49433" y="14088"/>
                    <a:pt x="30395" y="36272"/>
                    <a:pt x="20857" y="62923"/>
                  </a:cubicBezTo>
                  <a:cubicBezTo>
                    <a:pt x="6783" y="106071"/>
                    <a:pt x="-1110" y="155792"/>
                    <a:pt x="126" y="236087"/>
                  </a:cubicBezTo>
                  <a:cubicBezTo>
                    <a:pt x="1363" y="316383"/>
                    <a:pt x="126" y="561557"/>
                    <a:pt x="126" y="561557"/>
                  </a:cubicBezTo>
                  <a:cubicBezTo>
                    <a:pt x="126" y="561557"/>
                    <a:pt x="10967" y="613468"/>
                    <a:pt x="80102" y="652044"/>
                  </a:cubicBezTo>
                  <a:cubicBezTo>
                    <a:pt x="149236" y="690620"/>
                    <a:pt x="200207" y="694335"/>
                    <a:pt x="247754" y="683381"/>
                  </a:cubicBezTo>
                  <a:cubicBezTo>
                    <a:pt x="286458" y="674333"/>
                    <a:pt x="318410" y="660712"/>
                    <a:pt x="331723" y="632613"/>
                  </a:cubicBezTo>
                  <a:cubicBezTo>
                    <a:pt x="328300" y="576320"/>
                    <a:pt x="303195" y="429540"/>
                    <a:pt x="312704" y="358769"/>
                  </a:cubicBezTo>
                  <a:cubicBezTo>
                    <a:pt x="322214" y="287999"/>
                    <a:pt x="336954" y="234944"/>
                    <a:pt x="341233" y="177794"/>
                  </a:cubicBezTo>
                  <a:cubicBezTo>
                    <a:pt x="345512" y="120644"/>
                    <a:pt x="333625" y="121692"/>
                    <a:pt x="305001" y="101594"/>
                  </a:cubicBezTo>
                  <a:cubicBezTo>
                    <a:pt x="287618" y="88650"/>
                    <a:pt x="269312" y="77001"/>
                    <a:pt x="250227" y="6673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2" name="Google Shape;532;p16"/>
            <p:cNvSpPr/>
            <p:nvPr/>
          </p:nvSpPr>
          <p:spPr>
            <a:xfrm>
              <a:off x="7391109" y="2618517"/>
              <a:ext cx="49710" cy="228160"/>
            </a:xfrm>
            <a:custGeom>
              <a:avLst/>
              <a:gdLst/>
              <a:ahLst/>
              <a:cxnLst/>
              <a:rect l="l" t="t" r="r" b="b"/>
              <a:pathLst>
                <a:path w="132559" h="608427" extrusionOk="0">
                  <a:moveTo>
                    <a:pt x="1779" y="533694"/>
                  </a:moveTo>
                  <a:cubicBezTo>
                    <a:pt x="13190" y="520931"/>
                    <a:pt x="32779" y="450160"/>
                    <a:pt x="44001" y="405488"/>
                  </a:cubicBezTo>
                  <a:cubicBezTo>
                    <a:pt x="54832" y="355339"/>
                    <a:pt x="57019" y="303694"/>
                    <a:pt x="50467" y="252802"/>
                  </a:cubicBezTo>
                  <a:cubicBezTo>
                    <a:pt x="40387" y="191842"/>
                    <a:pt x="12429" y="107451"/>
                    <a:pt x="4536" y="72494"/>
                  </a:cubicBezTo>
                  <a:cubicBezTo>
                    <a:pt x="-3357" y="37537"/>
                    <a:pt x="7104" y="22678"/>
                    <a:pt x="22604" y="8581"/>
                  </a:cubicBezTo>
                  <a:cubicBezTo>
                    <a:pt x="40767" y="-7993"/>
                    <a:pt x="67870" y="-3040"/>
                    <a:pt x="85367" y="45538"/>
                  </a:cubicBezTo>
                  <a:cubicBezTo>
                    <a:pt x="108199" y="112727"/>
                    <a:pt x="123538" y="182231"/>
                    <a:pt x="131108" y="252802"/>
                  </a:cubicBezTo>
                  <a:cubicBezTo>
                    <a:pt x="135206" y="305361"/>
                    <a:pt x="130614" y="358234"/>
                    <a:pt x="117509" y="409298"/>
                  </a:cubicBezTo>
                  <a:cubicBezTo>
                    <a:pt x="105813" y="456923"/>
                    <a:pt x="88981" y="491403"/>
                    <a:pt x="66728" y="535028"/>
                  </a:cubicBezTo>
                  <a:cubicBezTo>
                    <a:pt x="60737" y="546839"/>
                    <a:pt x="47044" y="580081"/>
                    <a:pt x="38200" y="604084"/>
                  </a:cubicBezTo>
                  <a:cubicBezTo>
                    <a:pt x="29356" y="628087"/>
                    <a:pt x="-8587" y="545315"/>
                    <a:pt x="1779" y="53369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3" name="Google Shape;533;p16"/>
            <p:cNvSpPr/>
            <p:nvPr/>
          </p:nvSpPr>
          <p:spPr>
            <a:xfrm>
              <a:off x="7311279" y="2475275"/>
              <a:ext cx="85098" cy="103818"/>
            </a:xfrm>
            <a:custGeom>
              <a:avLst/>
              <a:gdLst/>
              <a:ahLst/>
              <a:cxnLst/>
              <a:rect l="l" t="t" r="r" b="b"/>
              <a:pathLst>
                <a:path w="226927" h="276849" extrusionOk="0">
                  <a:moveTo>
                    <a:pt x="4992" y="100093"/>
                  </a:moveTo>
                  <a:lnTo>
                    <a:pt x="4992" y="100093"/>
                  </a:lnTo>
                  <a:cubicBezTo>
                    <a:pt x="14026" y="41324"/>
                    <a:pt x="56248" y="-3158"/>
                    <a:pt x="116729" y="176"/>
                  </a:cubicBezTo>
                  <a:cubicBezTo>
                    <a:pt x="180871" y="3548"/>
                    <a:pt x="230140" y="58374"/>
                    <a:pt x="226764" y="122620"/>
                  </a:cubicBezTo>
                  <a:cubicBezTo>
                    <a:pt x="224862" y="159005"/>
                    <a:pt x="206061" y="192400"/>
                    <a:pt x="175973" y="212869"/>
                  </a:cubicBezTo>
                  <a:cubicBezTo>
                    <a:pt x="173795" y="221746"/>
                    <a:pt x="170610" y="230347"/>
                    <a:pt x="166464" y="238491"/>
                  </a:cubicBezTo>
                  <a:cubicBezTo>
                    <a:pt x="145067" y="263542"/>
                    <a:pt x="80403" y="279068"/>
                    <a:pt x="61859" y="276591"/>
                  </a:cubicBezTo>
                  <a:cubicBezTo>
                    <a:pt x="37990" y="273162"/>
                    <a:pt x="25152" y="263161"/>
                    <a:pt x="13741" y="237062"/>
                  </a:cubicBezTo>
                  <a:cubicBezTo>
                    <a:pt x="-6229" y="190771"/>
                    <a:pt x="47" y="129144"/>
                    <a:pt x="4992" y="10009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4" name="Google Shape;534;p16"/>
            <p:cNvSpPr/>
            <p:nvPr/>
          </p:nvSpPr>
          <p:spPr>
            <a:xfrm>
              <a:off x="7314515" y="2466234"/>
              <a:ext cx="89964" cy="88884"/>
            </a:xfrm>
            <a:custGeom>
              <a:avLst/>
              <a:gdLst/>
              <a:ahLst/>
              <a:cxnLst/>
              <a:rect l="l" t="t" r="r" b="b"/>
              <a:pathLst>
                <a:path w="239905" h="237025" extrusionOk="0">
                  <a:moveTo>
                    <a:pt x="167327" y="237026"/>
                  </a:moveTo>
                  <a:lnTo>
                    <a:pt x="167327" y="237026"/>
                  </a:lnTo>
                  <a:lnTo>
                    <a:pt x="161811" y="185781"/>
                  </a:lnTo>
                  <a:cubicBezTo>
                    <a:pt x="161811" y="185781"/>
                    <a:pt x="203558" y="77387"/>
                    <a:pt x="104754" y="98151"/>
                  </a:cubicBezTo>
                  <a:cubicBezTo>
                    <a:pt x="39519" y="111962"/>
                    <a:pt x="23163" y="117868"/>
                    <a:pt x="3383" y="74053"/>
                  </a:cubicBezTo>
                  <a:cubicBezTo>
                    <a:pt x="-16397" y="30238"/>
                    <a:pt x="53498" y="-9100"/>
                    <a:pt x="136516" y="1853"/>
                  </a:cubicBezTo>
                  <a:cubicBezTo>
                    <a:pt x="196036" y="7797"/>
                    <a:pt x="241026" y="58537"/>
                    <a:pt x="239884" y="118439"/>
                  </a:cubicBezTo>
                  <a:cubicBezTo>
                    <a:pt x="237222" y="150729"/>
                    <a:pt x="228663" y="215975"/>
                    <a:pt x="167327" y="237026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5" name="Google Shape;535;p16"/>
            <p:cNvSpPr/>
            <p:nvPr/>
          </p:nvSpPr>
          <p:spPr>
            <a:xfrm>
              <a:off x="7384763" y="2604603"/>
              <a:ext cx="55737" cy="75876"/>
            </a:xfrm>
            <a:custGeom>
              <a:avLst/>
              <a:gdLst/>
              <a:ahLst/>
              <a:cxnLst/>
              <a:rect l="l" t="t" r="r" b="b"/>
              <a:pathLst>
                <a:path w="148633" h="202336" extrusionOk="0">
                  <a:moveTo>
                    <a:pt x="148634" y="161388"/>
                  </a:moveTo>
                  <a:cubicBezTo>
                    <a:pt x="148634" y="161388"/>
                    <a:pt x="94810" y="215109"/>
                    <a:pt x="31001" y="199488"/>
                  </a:cubicBezTo>
                  <a:cubicBezTo>
                    <a:pt x="21491" y="193297"/>
                    <a:pt x="0" y="67757"/>
                    <a:pt x="0" y="67757"/>
                  </a:cubicBezTo>
                  <a:cubicBezTo>
                    <a:pt x="0" y="67757"/>
                    <a:pt x="0" y="-1775"/>
                    <a:pt x="53253" y="35"/>
                  </a:cubicBezTo>
                  <a:cubicBezTo>
                    <a:pt x="106506" y="1844"/>
                    <a:pt x="148634" y="161388"/>
                    <a:pt x="148634" y="16138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6" name="Google Shape;536;p16"/>
            <p:cNvSpPr/>
            <p:nvPr/>
          </p:nvSpPr>
          <p:spPr>
            <a:xfrm>
              <a:off x="7269438" y="2565933"/>
              <a:ext cx="45289" cy="73030"/>
            </a:xfrm>
            <a:custGeom>
              <a:avLst/>
              <a:gdLst/>
              <a:ahLst/>
              <a:cxnLst/>
              <a:rect l="l" t="t" r="r" b="b"/>
              <a:pathLst>
                <a:path w="120770" h="194746" extrusionOk="0">
                  <a:moveTo>
                    <a:pt x="46502" y="194215"/>
                  </a:moveTo>
                  <a:cubicBezTo>
                    <a:pt x="46502" y="194215"/>
                    <a:pt x="11602" y="198596"/>
                    <a:pt x="0" y="182213"/>
                  </a:cubicBezTo>
                  <a:cubicBezTo>
                    <a:pt x="2092" y="153638"/>
                    <a:pt x="48594" y="7906"/>
                    <a:pt x="120771" y="0"/>
                  </a:cubicBezTo>
                  <a:cubicBezTo>
                    <a:pt x="103197" y="15916"/>
                    <a:pt x="88011" y="34300"/>
                    <a:pt x="75696" y="54578"/>
                  </a:cubicBezTo>
                  <a:cubicBezTo>
                    <a:pt x="49925" y="97345"/>
                    <a:pt x="46502" y="194215"/>
                    <a:pt x="46502" y="19421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7" name="Google Shape;537;p16"/>
            <p:cNvSpPr/>
            <p:nvPr/>
          </p:nvSpPr>
          <p:spPr>
            <a:xfrm>
              <a:off x="6661328" y="3286571"/>
              <a:ext cx="246169" cy="142323"/>
            </a:xfrm>
            <a:custGeom>
              <a:avLst/>
              <a:gdLst/>
              <a:ahLst/>
              <a:cxnLst/>
              <a:rect l="l" t="t" r="r" b="b"/>
              <a:pathLst>
                <a:path w="657677" h="380237" extrusionOk="0">
                  <a:moveTo>
                    <a:pt x="657678" y="190119"/>
                  </a:moveTo>
                  <a:cubicBezTo>
                    <a:pt x="657678" y="295119"/>
                    <a:pt x="510452" y="380238"/>
                    <a:pt x="328839" y="380238"/>
                  </a:cubicBezTo>
                  <a:cubicBezTo>
                    <a:pt x="147226" y="380238"/>
                    <a:pt x="0" y="295119"/>
                    <a:pt x="0" y="190119"/>
                  </a:cubicBezTo>
                  <a:cubicBezTo>
                    <a:pt x="0" y="85119"/>
                    <a:pt x="147226" y="0"/>
                    <a:pt x="328839" y="0"/>
                  </a:cubicBezTo>
                  <a:cubicBezTo>
                    <a:pt x="510452" y="0"/>
                    <a:pt x="657678" y="85119"/>
                    <a:pt x="657678" y="190119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8" name="Google Shape;538;p16"/>
            <p:cNvSpPr/>
            <p:nvPr/>
          </p:nvSpPr>
          <p:spPr>
            <a:xfrm>
              <a:off x="6681151" y="2824698"/>
              <a:ext cx="58982" cy="128668"/>
            </a:xfrm>
            <a:custGeom>
              <a:avLst/>
              <a:gdLst/>
              <a:ahLst/>
              <a:cxnLst/>
              <a:rect l="l" t="t" r="r" b="b"/>
              <a:pathLst>
                <a:path w="157580" h="343757" extrusionOk="0">
                  <a:moveTo>
                    <a:pt x="34717" y="0"/>
                  </a:moveTo>
                  <a:cubicBezTo>
                    <a:pt x="31009" y="32004"/>
                    <a:pt x="-7029" y="170021"/>
                    <a:pt x="1149" y="217361"/>
                  </a:cubicBezTo>
                  <a:cubicBezTo>
                    <a:pt x="9327" y="264700"/>
                    <a:pt x="139512" y="343757"/>
                    <a:pt x="139512" y="343757"/>
                  </a:cubicBezTo>
                  <a:lnTo>
                    <a:pt x="157580" y="262795"/>
                  </a:lnTo>
                  <a:lnTo>
                    <a:pt x="85403" y="192024"/>
                  </a:lnTo>
                  <a:lnTo>
                    <a:pt x="104898" y="57912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9" name="Google Shape;539;p16"/>
            <p:cNvSpPr/>
            <p:nvPr/>
          </p:nvSpPr>
          <p:spPr>
            <a:xfrm>
              <a:off x="6689412" y="2771791"/>
              <a:ext cx="42428" cy="81725"/>
            </a:xfrm>
            <a:custGeom>
              <a:avLst/>
              <a:gdLst/>
              <a:ahLst/>
              <a:cxnLst/>
              <a:rect l="l" t="t" r="r" b="b"/>
              <a:pathLst>
                <a:path w="113353" h="218341" extrusionOk="0">
                  <a:moveTo>
                    <a:pt x="113353" y="5238"/>
                  </a:moveTo>
                  <a:cubicBezTo>
                    <a:pt x="87120" y="-6849"/>
                    <a:pt x="56006" y="2599"/>
                    <a:pt x="40891" y="27240"/>
                  </a:cubicBezTo>
                  <a:cubicBezTo>
                    <a:pt x="21872" y="59054"/>
                    <a:pt x="1807" y="168020"/>
                    <a:pt x="0" y="186689"/>
                  </a:cubicBezTo>
                  <a:cubicBezTo>
                    <a:pt x="0" y="186689"/>
                    <a:pt x="26912" y="223836"/>
                    <a:pt x="67232" y="21764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0" name="Google Shape;540;p16"/>
            <p:cNvSpPr/>
            <p:nvPr/>
          </p:nvSpPr>
          <p:spPr>
            <a:xfrm>
              <a:off x="6782889" y="3337575"/>
              <a:ext cx="91454" cy="51556"/>
            </a:xfrm>
            <a:custGeom>
              <a:avLst/>
              <a:gdLst/>
              <a:ahLst/>
              <a:cxnLst/>
              <a:rect l="l" t="t" r="r" b="b"/>
              <a:pathLst>
                <a:path w="244333" h="137739" extrusionOk="0">
                  <a:moveTo>
                    <a:pt x="12344" y="32993"/>
                  </a:moveTo>
                  <a:cubicBezTo>
                    <a:pt x="40672" y="40842"/>
                    <a:pt x="70948" y="37175"/>
                    <a:pt x="96598" y="22802"/>
                  </a:cubicBezTo>
                  <a:cubicBezTo>
                    <a:pt x="116948" y="23468"/>
                    <a:pt x="227163" y="-23775"/>
                    <a:pt x="242093" y="15848"/>
                  </a:cubicBezTo>
                  <a:cubicBezTo>
                    <a:pt x="255216" y="50615"/>
                    <a:pt x="207479" y="82523"/>
                    <a:pt x="181993" y="89001"/>
                  </a:cubicBezTo>
                  <a:cubicBezTo>
                    <a:pt x="126363" y="102431"/>
                    <a:pt x="85186" y="130244"/>
                    <a:pt x="62839" y="135006"/>
                  </a:cubicBezTo>
                  <a:cubicBezTo>
                    <a:pt x="46197" y="138530"/>
                    <a:pt x="24801" y="140817"/>
                    <a:pt x="11297" y="127672"/>
                  </a:cubicBezTo>
                  <a:cubicBezTo>
                    <a:pt x="-4583" y="111956"/>
                    <a:pt x="-3252" y="53472"/>
                    <a:pt x="12344" y="3299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1" name="Google Shape;541;p16"/>
            <p:cNvSpPr/>
            <p:nvPr/>
          </p:nvSpPr>
          <p:spPr>
            <a:xfrm>
              <a:off x="6784412" y="3346110"/>
              <a:ext cx="89915" cy="43199"/>
            </a:xfrm>
            <a:custGeom>
              <a:avLst/>
              <a:gdLst/>
              <a:ahLst/>
              <a:cxnLst/>
              <a:rect l="l" t="t" r="r" b="b"/>
              <a:pathLst>
                <a:path w="240222" h="115414" extrusionOk="0">
                  <a:moveTo>
                    <a:pt x="58769" y="102584"/>
                  </a:moveTo>
                  <a:cubicBezTo>
                    <a:pt x="81116" y="97822"/>
                    <a:pt x="122292" y="70009"/>
                    <a:pt x="177923" y="56579"/>
                  </a:cubicBezTo>
                  <a:cubicBezTo>
                    <a:pt x="199319" y="51340"/>
                    <a:pt x="236121" y="28004"/>
                    <a:pt x="239830" y="0"/>
                  </a:cubicBezTo>
                  <a:cubicBezTo>
                    <a:pt x="244775" y="32004"/>
                    <a:pt x="201792" y="60388"/>
                    <a:pt x="177923" y="66675"/>
                  </a:cubicBezTo>
                  <a:cubicBezTo>
                    <a:pt x="122292" y="80105"/>
                    <a:pt x="81116" y="107918"/>
                    <a:pt x="58769" y="112681"/>
                  </a:cubicBezTo>
                  <a:cubicBezTo>
                    <a:pt x="42127" y="116205"/>
                    <a:pt x="20731" y="118491"/>
                    <a:pt x="7227" y="105346"/>
                  </a:cubicBezTo>
                  <a:cubicBezTo>
                    <a:pt x="3793" y="101575"/>
                    <a:pt x="1314" y="97041"/>
                    <a:pt x="0" y="92107"/>
                  </a:cubicBezTo>
                  <a:cubicBezTo>
                    <a:pt x="16840" y="104699"/>
                    <a:pt x="38626" y="108575"/>
                    <a:pt x="58769" y="102584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2" name="Google Shape;542;p16"/>
            <p:cNvSpPr/>
            <p:nvPr/>
          </p:nvSpPr>
          <p:spPr>
            <a:xfrm>
              <a:off x="6715968" y="3307485"/>
              <a:ext cx="91493" cy="51556"/>
            </a:xfrm>
            <a:custGeom>
              <a:avLst/>
              <a:gdLst/>
              <a:ahLst/>
              <a:cxnLst/>
              <a:rect l="l" t="t" r="r" b="b"/>
              <a:pathLst>
                <a:path w="244438" h="137739" extrusionOk="0">
                  <a:moveTo>
                    <a:pt x="12449" y="32993"/>
                  </a:moveTo>
                  <a:cubicBezTo>
                    <a:pt x="40778" y="40842"/>
                    <a:pt x="71053" y="37175"/>
                    <a:pt x="96703" y="22802"/>
                  </a:cubicBezTo>
                  <a:cubicBezTo>
                    <a:pt x="116959" y="23468"/>
                    <a:pt x="227174" y="-23775"/>
                    <a:pt x="242199" y="15848"/>
                  </a:cubicBezTo>
                  <a:cubicBezTo>
                    <a:pt x="255322" y="50615"/>
                    <a:pt x="207584" y="82523"/>
                    <a:pt x="182099" y="89001"/>
                  </a:cubicBezTo>
                  <a:cubicBezTo>
                    <a:pt x="126468" y="102526"/>
                    <a:pt x="85197" y="130244"/>
                    <a:pt x="62849" y="135006"/>
                  </a:cubicBezTo>
                  <a:cubicBezTo>
                    <a:pt x="46208" y="138530"/>
                    <a:pt x="24811" y="140817"/>
                    <a:pt x="11403" y="127672"/>
                  </a:cubicBezTo>
                  <a:cubicBezTo>
                    <a:pt x="-4573" y="111956"/>
                    <a:pt x="-3337" y="53758"/>
                    <a:pt x="12449" y="3299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3" name="Google Shape;543;p16"/>
            <p:cNvSpPr/>
            <p:nvPr/>
          </p:nvSpPr>
          <p:spPr>
            <a:xfrm>
              <a:off x="6717638" y="3316019"/>
              <a:ext cx="89951" cy="43199"/>
            </a:xfrm>
            <a:custGeom>
              <a:avLst/>
              <a:gdLst/>
              <a:ahLst/>
              <a:cxnLst/>
              <a:rect l="l" t="t" r="r" b="b"/>
              <a:pathLst>
                <a:path w="240317" h="115414" extrusionOk="0">
                  <a:moveTo>
                    <a:pt x="58769" y="102584"/>
                  </a:moveTo>
                  <a:cubicBezTo>
                    <a:pt x="81116" y="97822"/>
                    <a:pt x="122387" y="70009"/>
                    <a:pt x="178018" y="56579"/>
                  </a:cubicBezTo>
                  <a:cubicBezTo>
                    <a:pt x="199319" y="51340"/>
                    <a:pt x="236216" y="28004"/>
                    <a:pt x="239925" y="0"/>
                  </a:cubicBezTo>
                  <a:cubicBezTo>
                    <a:pt x="244870" y="32004"/>
                    <a:pt x="201887" y="60388"/>
                    <a:pt x="178018" y="66675"/>
                  </a:cubicBezTo>
                  <a:cubicBezTo>
                    <a:pt x="122387" y="80201"/>
                    <a:pt x="81116" y="107918"/>
                    <a:pt x="58769" y="112681"/>
                  </a:cubicBezTo>
                  <a:cubicBezTo>
                    <a:pt x="42127" y="116205"/>
                    <a:pt x="20731" y="118491"/>
                    <a:pt x="7322" y="105346"/>
                  </a:cubicBezTo>
                  <a:cubicBezTo>
                    <a:pt x="3892" y="101556"/>
                    <a:pt x="1386" y="97031"/>
                    <a:pt x="0" y="92107"/>
                  </a:cubicBezTo>
                  <a:cubicBezTo>
                    <a:pt x="16840" y="104699"/>
                    <a:pt x="38626" y="108576"/>
                    <a:pt x="58769" y="102584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4" name="Google Shape;544;p16"/>
            <p:cNvSpPr/>
            <p:nvPr/>
          </p:nvSpPr>
          <p:spPr>
            <a:xfrm>
              <a:off x="6715994" y="2973759"/>
              <a:ext cx="133983" cy="378277"/>
            </a:xfrm>
            <a:custGeom>
              <a:avLst/>
              <a:gdLst/>
              <a:ahLst/>
              <a:cxnLst/>
              <a:rect l="l" t="t" r="r" b="b"/>
              <a:pathLst>
                <a:path w="357956" h="1010624" extrusionOk="0">
                  <a:moveTo>
                    <a:pt x="10194" y="624745"/>
                  </a:moveTo>
                  <a:cubicBezTo>
                    <a:pt x="14905" y="583749"/>
                    <a:pt x="23405" y="543287"/>
                    <a:pt x="35584" y="503872"/>
                  </a:cubicBezTo>
                  <a:cubicBezTo>
                    <a:pt x="35584" y="503872"/>
                    <a:pt x="28071" y="399574"/>
                    <a:pt x="24268" y="300609"/>
                  </a:cubicBezTo>
                  <a:cubicBezTo>
                    <a:pt x="19893" y="188404"/>
                    <a:pt x="-19001" y="89630"/>
                    <a:pt x="11715" y="0"/>
                  </a:cubicBezTo>
                  <a:lnTo>
                    <a:pt x="357956" y="77057"/>
                  </a:lnTo>
                  <a:cubicBezTo>
                    <a:pt x="357956" y="77057"/>
                    <a:pt x="337035" y="524732"/>
                    <a:pt x="332376" y="578739"/>
                  </a:cubicBezTo>
                  <a:cubicBezTo>
                    <a:pt x="329842" y="620897"/>
                    <a:pt x="324665" y="662864"/>
                    <a:pt x="316875" y="704374"/>
                  </a:cubicBezTo>
                  <a:cubicBezTo>
                    <a:pt x="301090" y="791242"/>
                    <a:pt x="275414" y="997839"/>
                    <a:pt x="275414" y="997839"/>
                  </a:cubicBezTo>
                  <a:cubicBezTo>
                    <a:pt x="238897" y="1019175"/>
                    <a:pt x="190874" y="1007364"/>
                    <a:pt x="190874" y="1007364"/>
                  </a:cubicBezTo>
                  <a:cubicBezTo>
                    <a:pt x="190874" y="1007364"/>
                    <a:pt x="193537" y="745998"/>
                    <a:pt x="195914" y="683514"/>
                  </a:cubicBezTo>
                  <a:cubicBezTo>
                    <a:pt x="198767" y="607314"/>
                    <a:pt x="201049" y="612934"/>
                    <a:pt x="201049" y="612934"/>
                  </a:cubicBezTo>
                  <a:lnTo>
                    <a:pt x="189638" y="422434"/>
                  </a:lnTo>
                  <a:lnTo>
                    <a:pt x="182221" y="327755"/>
                  </a:lnTo>
                  <a:cubicBezTo>
                    <a:pt x="182221" y="327755"/>
                    <a:pt x="172711" y="397288"/>
                    <a:pt x="166435" y="459391"/>
                  </a:cubicBezTo>
                  <a:cubicBezTo>
                    <a:pt x="160919" y="513493"/>
                    <a:pt x="147416" y="562451"/>
                    <a:pt x="133342" y="663226"/>
                  </a:cubicBezTo>
                  <a:cubicBezTo>
                    <a:pt x="120694" y="750665"/>
                    <a:pt x="100154" y="926306"/>
                    <a:pt x="100154" y="926306"/>
                  </a:cubicBezTo>
                  <a:cubicBezTo>
                    <a:pt x="63637" y="947547"/>
                    <a:pt x="13997" y="929926"/>
                    <a:pt x="13997" y="929926"/>
                  </a:cubicBezTo>
                  <a:cubicBezTo>
                    <a:pt x="13997" y="929926"/>
                    <a:pt x="304" y="700564"/>
                    <a:pt x="10194" y="62474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5" name="Google Shape;545;p16"/>
            <p:cNvSpPr/>
            <p:nvPr/>
          </p:nvSpPr>
          <p:spPr>
            <a:xfrm>
              <a:off x="6733197" y="2663396"/>
              <a:ext cx="97219" cy="155678"/>
            </a:xfrm>
            <a:custGeom>
              <a:avLst/>
              <a:gdLst/>
              <a:ahLst/>
              <a:cxnLst/>
              <a:rect l="l" t="t" r="r" b="b"/>
              <a:pathLst>
                <a:path w="259735" h="415919" extrusionOk="0">
                  <a:moveTo>
                    <a:pt x="14728" y="296735"/>
                  </a:moveTo>
                  <a:cubicBezTo>
                    <a:pt x="41069" y="298068"/>
                    <a:pt x="60659" y="304831"/>
                    <a:pt x="63892" y="296735"/>
                  </a:cubicBezTo>
                  <a:cubicBezTo>
                    <a:pt x="66746" y="283124"/>
                    <a:pt x="68778" y="269351"/>
                    <a:pt x="69978" y="255492"/>
                  </a:cubicBezTo>
                  <a:cubicBezTo>
                    <a:pt x="66935" y="247776"/>
                    <a:pt x="64272" y="239585"/>
                    <a:pt x="64272" y="239585"/>
                  </a:cubicBezTo>
                  <a:cubicBezTo>
                    <a:pt x="31274" y="219201"/>
                    <a:pt x="20814" y="183388"/>
                    <a:pt x="16725" y="141763"/>
                  </a:cubicBezTo>
                  <a:cubicBezTo>
                    <a:pt x="9307" y="70516"/>
                    <a:pt x="47726" y="8413"/>
                    <a:pt x="118857" y="698"/>
                  </a:cubicBezTo>
                  <a:cubicBezTo>
                    <a:pt x="185424" y="-6350"/>
                    <a:pt x="234968" y="40798"/>
                    <a:pt x="248091" y="105473"/>
                  </a:cubicBezTo>
                  <a:cubicBezTo>
                    <a:pt x="255128" y="137382"/>
                    <a:pt x="269202" y="197675"/>
                    <a:pt x="250183" y="250158"/>
                  </a:cubicBezTo>
                  <a:cubicBezTo>
                    <a:pt x="239533" y="279495"/>
                    <a:pt x="225839" y="302831"/>
                    <a:pt x="212145" y="307308"/>
                  </a:cubicBezTo>
                  <a:cubicBezTo>
                    <a:pt x="198902" y="306889"/>
                    <a:pt x="185695" y="305708"/>
                    <a:pt x="172586" y="303784"/>
                  </a:cubicBezTo>
                  <a:lnTo>
                    <a:pt x="172586" y="303784"/>
                  </a:lnTo>
                  <a:cubicBezTo>
                    <a:pt x="172586" y="303784"/>
                    <a:pt x="169067" y="323500"/>
                    <a:pt x="166595" y="336264"/>
                  </a:cubicBezTo>
                  <a:cubicBezTo>
                    <a:pt x="164122" y="349027"/>
                    <a:pt x="165168" y="355314"/>
                    <a:pt x="190368" y="371221"/>
                  </a:cubicBezTo>
                  <a:cubicBezTo>
                    <a:pt x="215569" y="387127"/>
                    <a:pt x="152330" y="418846"/>
                    <a:pt x="110774" y="415702"/>
                  </a:cubicBezTo>
                  <a:cubicBezTo>
                    <a:pt x="69217" y="412559"/>
                    <a:pt x="22716" y="387127"/>
                    <a:pt x="9878" y="360648"/>
                  </a:cubicBezTo>
                  <a:cubicBezTo>
                    <a:pt x="-4577" y="331120"/>
                    <a:pt x="-3340" y="295878"/>
                    <a:pt x="14728" y="2967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6" name="Google Shape;546;p16"/>
            <p:cNvSpPr/>
            <p:nvPr/>
          </p:nvSpPr>
          <p:spPr>
            <a:xfrm>
              <a:off x="6701449" y="2773633"/>
              <a:ext cx="149347" cy="247668"/>
            </a:xfrm>
            <a:custGeom>
              <a:avLst/>
              <a:gdLst/>
              <a:ahLst/>
              <a:cxnLst/>
              <a:rect l="l" t="t" r="r" b="b"/>
              <a:pathLst>
                <a:path w="399004" h="661684" extrusionOk="0">
                  <a:moveTo>
                    <a:pt x="137586" y="6128"/>
                  </a:moveTo>
                  <a:cubicBezTo>
                    <a:pt x="130359" y="24416"/>
                    <a:pt x="148903" y="46704"/>
                    <a:pt x="198352" y="62230"/>
                  </a:cubicBezTo>
                  <a:cubicBezTo>
                    <a:pt x="247801" y="77756"/>
                    <a:pt x="252271" y="57753"/>
                    <a:pt x="252271" y="57753"/>
                  </a:cubicBezTo>
                  <a:cubicBezTo>
                    <a:pt x="252271" y="57753"/>
                    <a:pt x="324733" y="90900"/>
                    <a:pt x="348317" y="107379"/>
                  </a:cubicBezTo>
                  <a:cubicBezTo>
                    <a:pt x="378082" y="128143"/>
                    <a:pt x="391205" y="188341"/>
                    <a:pt x="395199" y="289878"/>
                  </a:cubicBezTo>
                  <a:cubicBezTo>
                    <a:pt x="399859" y="407321"/>
                    <a:pt x="400239" y="581628"/>
                    <a:pt x="396340" y="611727"/>
                  </a:cubicBezTo>
                  <a:cubicBezTo>
                    <a:pt x="396340" y="611727"/>
                    <a:pt x="340900" y="667068"/>
                    <a:pt x="269864" y="661257"/>
                  </a:cubicBezTo>
                  <a:cubicBezTo>
                    <a:pt x="198827" y="655447"/>
                    <a:pt x="79673" y="592487"/>
                    <a:pt x="50479" y="543909"/>
                  </a:cubicBezTo>
                  <a:cubicBezTo>
                    <a:pt x="51240" y="440849"/>
                    <a:pt x="63317" y="424085"/>
                    <a:pt x="46675" y="364744"/>
                  </a:cubicBezTo>
                  <a:cubicBezTo>
                    <a:pt x="8637" y="228918"/>
                    <a:pt x="-11523" y="173292"/>
                    <a:pt x="6925" y="82995"/>
                  </a:cubicBezTo>
                  <a:cubicBezTo>
                    <a:pt x="22236" y="8604"/>
                    <a:pt x="43632" y="-635"/>
                    <a:pt x="73492" y="32"/>
                  </a:cubicBezTo>
                  <a:cubicBezTo>
                    <a:pt x="94947" y="956"/>
                    <a:pt x="116341" y="2985"/>
                    <a:pt x="137586" y="612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7" name="Google Shape;547;p16"/>
            <p:cNvSpPr/>
            <p:nvPr/>
          </p:nvSpPr>
          <p:spPr>
            <a:xfrm>
              <a:off x="6807278" y="2804619"/>
              <a:ext cx="188299" cy="147777"/>
            </a:xfrm>
            <a:custGeom>
              <a:avLst/>
              <a:gdLst/>
              <a:ahLst/>
              <a:cxnLst/>
              <a:rect l="l" t="t" r="r" b="b"/>
              <a:pathLst>
                <a:path w="503069" h="394810" extrusionOk="0">
                  <a:moveTo>
                    <a:pt x="224008" y="304248"/>
                  </a:moveTo>
                  <a:cubicBezTo>
                    <a:pt x="165809" y="318917"/>
                    <a:pt x="152116" y="282150"/>
                    <a:pt x="144413" y="251670"/>
                  </a:cubicBezTo>
                  <a:cubicBezTo>
                    <a:pt x="125965" y="177852"/>
                    <a:pt x="115884" y="111272"/>
                    <a:pt x="102096" y="69362"/>
                  </a:cubicBezTo>
                  <a:cubicBezTo>
                    <a:pt x="85834" y="20022"/>
                    <a:pt x="68812" y="12212"/>
                    <a:pt x="45039" y="2687"/>
                  </a:cubicBezTo>
                  <a:cubicBezTo>
                    <a:pt x="16510" y="-8553"/>
                    <a:pt x="-7264" y="15260"/>
                    <a:pt x="2056" y="78125"/>
                  </a:cubicBezTo>
                  <a:cubicBezTo>
                    <a:pt x="13182" y="152420"/>
                    <a:pt x="27731" y="204617"/>
                    <a:pt x="55404" y="292628"/>
                  </a:cubicBezTo>
                  <a:cubicBezTo>
                    <a:pt x="62726" y="315583"/>
                    <a:pt x="78988" y="356350"/>
                    <a:pt x="102952" y="376067"/>
                  </a:cubicBezTo>
                  <a:cubicBezTo>
                    <a:pt x="133002" y="400451"/>
                    <a:pt x="178267" y="399403"/>
                    <a:pt x="246735" y="382353"/>
                  </a:cubicBezTo>
                  <a:cubicBezTo>
                    <a:pt x="275929" y="375019"/>
                    <a:pt x="307977" y="357588"/>
                    <a:pt x="363227" y="331776"/>
                  </a:cubicBezTo>
                  <a:cubicBezTo>
                    <a:pt x="378252" y="324822"/>
                    <a:pt x="389853" y="320060"/>
                    <a:pt x="418382" y="306725"/>
                  </a:cubicBezTo>
                  <a:cubicBezTo>
                    <a:pt x="446972" y="293856"/>
                    <a:pt x="472030" y="274245"/>
                    <a:pt x="491415" y="249575"/>
                  </a:cubicBezTo>
                  <a:cubicBezTo>
                    <a:pt x="506345" y="227953"/>
                    <a:pt x="503682" y="214142"/>
                    <a:pt x="500925" y="209284"/>
                  </a:cubicBezTo>
                  <a:cubicBezTo>
                    <a:pt x="498167" y="204426"/>
                    <a:pt x="494934" y="208046"/>
                    <a:pt x="486946" y="217095"/>
                  </a:cubicBezTo>
                  <a:cubicBezTo>
                    <a:pt x="475446" y="232497"/>
                    <a:pt x="461234" y="245670"/>
                    <a:pt x="445009" y="255956"/>
                  </a:cubicBezTo>
                  <a:cubicBezTo>
                    <a:pt x="445009" y="255956"/>
                    <a:pt x="463457" y="236906"/>
                    <a:pt x="473537" y="224524"/>
                  </a:cubicBezTo>
                  <a:cubicBezTo>
                    <a:pt x="482455" y="213561"/>
                    <a:pt x="489875" y="201445"/>
                    <a:pt x="495599" y="188520"/>
                  </a:cubicBezTo>
                  <a:cubicBezTo>
                    <a:pt x="500829" y="175851"/>
                    <a:pt x="489989" y="158706"/>
                    <a:pt x="481715" y="167755"/>
                  </a:cubicBezTo>
                  <a:cubicBezTo>
                    <a:pt x="473442" y="176804"/>
                    <a:pt x="469543" y="185853"/>
                    <a:pt x="454518" y="203950"/>
                  </a:cubicBezTo>
                  <a:cubicBezTo>
                    <a:pt x="446394" y="213542"/>
                    <a:pt x="437170" y="222143"/>
                    <a:pt x="427036" y="229572"/>
                  </a:cubicBezTo>
                  <a:cubicBezTo>
                    <a:pt x="436376" y="216895"/>
                    <a:pt x="444676" y="203483"/>
                    <a:pt x="451855" y="189472"/>
                  </a:cubicBezTo>
                  <a:cubicBezTo>
                    <a:pt x="461365" y="169946"/>
                    <a:pt x="429508" y="179947"/>
                    <a:pt x="411250" y="198997"/>
                  </a:cubicBezTo>
                  <a:cubicBezTo>
                    <a:pt x="397937" y="212808"/>
                    <a:pt x="386620" y="220809"/>
                    <a:pt x="386240" y="216999"/>
                  </a:cubicBezTo>
                  <a:cubicBezTo>
                    <a:pt x="385860" y="213189"/>
                    <a:pt x="359994" y="241097"/>
                    <a:pt x="346775" y="255099"/>
                  </a:cubicBezTo>
                  <a:cubicBezTo>
                    <a:pt x="333557" y="269101"/>
                    <a:pt x="279448" y="290246"/>
                    <a:pt x="224008" y="30424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" name="Google Shape;548;p16"/>
            <p:cNvSpPr/>
            <p:nvPr/>
          </p:nvSpPr>
          <p:spPr>
            <a:xfrm>
              <a:off x="6800502" y="2801416"/>
              <a:ext cx="57697" cy="84545"/>
            </a:xfrm>
            <a:custGeom>
              <a:avLst/>
              <a:gdLst/>
              <a:ahLst/>
              <a:cxnLst/>
              <a:rect l="l" t="t" r="r" b="b"/>
              <a:pathLst>
                <a:path w="154147" h="225876" extrusionOk="0">
                  <a:moveTo>
                    <a:pt x="41365" y="1052"/>
                  </a:moveTo>
                  <a:cubicBezTo>
                    <a:pt x="80259" y="-4758"/>
                    <a:pt x="107931" y="12768"/>
                    <a:pt x="124954" y="71823"/>
                  </a:cubicBezTo>
                  <a:cubicBezTo>
                    <a:pt x="141976" y="130878"/>
                    <a:pt x="154148" y="179360"/>
                    <a:pt x="154148" y="179360"/>
                  </a:cubicBezTo>
                  <a:cubicBezTo>
                    <a:pt x="138761" y="201611"/>
                    <a:pt x="115453" y="217117"/>
                    <a:pt x="89008" y="222699"/>
                  </a:cubicBezTo>
                  <a:cubicBezTo>
                    <a:pt x="42411" y="233939"/>
                    <a:pt x="25674" y="211745"/>
                    <a:pt x="25674" y="211745"/>
                  </a:cubicBezTo>
                  <a:cubicBezTo>
                    <a:pt x="25674" y="211745"/>
                    <a:pt x="12741" y="149833"/>
                    <a:pt x="4753" y="107732"/>
                  </a:cubicBezTo>
                  <a:cubicBezTo>
                    <a:pt x="-3235" y="65632"/>
                    <a:pt x="-6753" y="8101"/>
                    <a:pt x="41365" y="10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9" name="Google Shape;549;p16"/>
            <p:cNvSpPr/>
            <p:nvPr/>
          </p:nvSpPr>
          <p:spPr>
            <a:xfrm>
              <a:off x="6736209" y="2656556"/>
              <a:ext cx="94148" cy="104017"/>
            </a:xfrm>
            <a:custGeom>
              <a:avLst/>
              <a:gdLst/>
              <a:ahLst/>
              <a:cxnLst/>
              <a:rect l="l" t="t" r="r" b="b"/>
              <a:pathLst>
                <a:path w="251532" h="277898" extrusionOk="0">
                  <a:moveTo>
                    <a:pt x="237382" y="114605"/>
                  </a:moveTo>
                  <a:cubicBezTo>
                    <a:pt x="237382" y="114605"/>
                    <a:pt x="298814" y="20974"/>
                    <a:pt x="165681" y="1924"/>
                  </a:cubicBezTo>
                  <a:cubicBezTo>
                    <a:pt x="69635" y="-11792"/>
                    <a:pt x="7918" y="50025"/>
                    <a:pt x="786" y="117081"/>
                  </a:cubicBezTo>
                  <a:cubicBezTo>
                    <a:pt x="-6061" y="181185"/>
                    <a:pt x="33308" y="247669"/>
                    <a:pt x="61837" y="274149"/>
                  </a:cubicBezTo>
                  <a:cubicBezTo>
                    <a:pt x="75721" y="279102"/>
                    <a:pt x="105581" y="281959"/>
                    <a:pt x="144855" y="264052"/>
                  </a:cubicBezTo>
                  <a:cubicBezTo>
                    <a:pt x="146420" y="246602"/>
                    <a:pt x="147024" y="229086"/>
                    <a:pt x="146662" y="211569"/>
                  </a:cubicBezTo>
                  <a:cubicBezTo>
                    <a:pt x="146662" y="211569"/>
                    <a:pt x="99875" y="112890"/>
                    <a:pt x="237382" y="11460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0" name="Google Shape;550;p16"/>
            <p:cNvSpPr/>
            <p:nvPr/>
          </p:nvSpPr>
          <p:spPr>
            <a:xfrm>
              <a:off x="6938621" y="2869615"/>
              <a:ext cx="28491" cy="25068"/>
            </a:xfrm>
            <a:custGeom>
              <a:avLst/>
              <a:gdLst/>
              <a:ahLst/>
              <a:cxnLst/>
              <a:rect l="l" t="t" r="r" b="b"/>
              <a:pathLst>
                <a:path w="76119" h="66973" extrusionOk="0">
                  <a:moveTo>
                    <a:pt x="8709" y="56972"/>
                  </a:moveTo>
                  <a:cubicBezTo>
                    <a:pt x="8709" y="56972"/>
                    <a:pt x="-6411" y="29445"/>
                    <a:pt x="3194" y="22587"/>
                  </a:cubicBezTo>
                  <a:cubicBezTo>
                    <a:pt x="12798" y="15729"/>
                    <a:pt x="26492" y="41637"/>
                    <a:pt x="29250" y="51638"/>
                  </a:cubicBezTo>
                  <a:cubicBezTo>
                    <a:pt x="32008" y="61639"/>
                    <a:pt x="28204" y="48590"/>
                    <a:pt x="28204" y="48590"/>
                  </a:cubicBezTo>
                  <a:cubicBezTo>
                    <a:pt x="28204" y="48590"/>
                    <a:pt x="17838" y="17443"/>
                    <a:pt x="24590" y="11442"/>
                  </a:cubicBezTo>
                  <a:cubicBezTo>
                    <a:pt x="31342" y="5442"/>
                    <a:pt x="40376" y="18777"/>
                    <a:pt x="49410" y="38303"/>
                  </a:cubicBezTo>
                  <a:cubicBezTo>
                    <a:pt x="58444" y="57829"/>
                    <a:pt x="51597" y="36684"/>
                    <a:pt x="51597" y="36684"/>
                  </a:cubicBezTo>
                  <a:cubicBezTo>
                    <a:pt x="51597" y="36684"/>
                    <a:pt x="36667" y="5442"/>
                    <a:pt x="43039" y="1060"/>
                  </a:cubicBezTo>
                  <a:cubicBezTo>
                    <a:pt x="51597" y="-4655"/>
                    <a:pt x="65671" y="13823"/>
                    <a:pt x="74040" y="30492"/>
                  </a:cubicBezTo>
                  <a:cubicBezTo>
                    <a:pt x="82408" y="47161"/>
                    <a:pt x="62818" y="66973"/>
                    <a:pt x="62818" y="6697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51" name="Google Shape;551;p16"/>
            <p:cNvGrpSpPr/>
            <p:nvPr/>
          </p:nvGrpSpPr>
          <p:grpSpPr>
            <a:xfrm>
              <a:off x="6930455" y="2860622"/>
              <a:ext cx="82395" cy="49453"/>
              <a:chOff x="4865564" y="4292025"/>
              <a:chExt cx="220130" cy="132120"/>
            </a:xfrm>
          </p:grpSpPr>
          <p:sp>
            <p:nvSpPr>
              <p:cNvPr id="552" name="Google Shape;552;p16"/>
              <p:cNvSpPr/>
              <p:nvPr/>
            </p:nvSpPr>
            <p:spPr>
              <a:xfrm>
                <a:off x="4866015" y="4297264"/>
                <a:ext cx="219679" cy="126881"/>
              </a:xfrm>
              <a:custGeom>
                <a:avLst/>
                <a:gdLst/>
                <a:ahLst/>
                <a:cxnLst/>
                <a:rect l="l" t="t" r="r" b="b"/>
                <a:pathLst>
                  <a:path w="219679" h="126881" extrusionOk="0">
                    <a:moveTo>
                      <a:pt x="59268" y="125002"/>
                    </a:moveTo>
                    <a:lnTo>
                      <a:pt x="3257" y="92332"/>
                    </a:lnTo>
                    <a:cubicBezTo>
                      <a:pt x="-1593" y="89569"/>
                      <a:pt x="-927" y="84807"/>
                      <a:pt x="4589" y="81568"/>
                    </a:cubicBezTo>
                    <a:lnTo>
                      <a:pt x="140955" y="2701"/>
                    </a:lnTo>
                    <a:cubicBezTo>
                      <a:pt x="146802" y="-613"/>
                      <a:pt x="153882" y="-890"/>
                      <a:pt x="159974" y="1939"/>
                    </a:cubicBezTo>
                    <a:lnTo>
                      <a:pt x="216461" y="34610"/>
                    </a:lnTo>
                    <a:cubicBezTo>
                      <a:pt x="221215" y="37372"/>
                      <a:pt x="220645" y="42230"/>
                      <a:pt x="215129" y="45373"/>
                    </a:cubicBezTo>
                    <a:lnTo>
                      <a:pt x="77907" y="124240"/>
                    </a:lnTo>
                    <a:cubicBezTo>
                      <a:pt x="72174" y="127469"/>
                      <a:pt x="65245" y="127755"/>
                      <a:pt x="59268" y="125002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3" name="Google Shape;553;p16"/>
              <p:cNvSpPr/>
              <p:nvPr/>
            </p:nvSpPr>
            <p:spPr>
              <a:xfrm>
                <a:off x="4865564" y="4379690"/>
                <a:ext cx="6086" cy="5238"/>
              </a:xfrm>
              <a:custGeom>
                <a:avLst/>
                <a:gdLst/>
                <a:ahLst/>
                <a:cxnLst/>
                <a:rect l="l" t="t" r="r" b="b"/>
                <a:pathLst>
                  <a:path w="6086" h="5238" extrusionOk="0">
                    <a:moveTo>
                      <a:pt x="0" y="5239"/>
                    </a:moveTo>
                    <a:lnTo>
                      <a:pt x="0" y="0"/>
                    </a:lnTo>
                    <a:lnTo>
                      <a:pt x="6086" y="2286"/>
                    </a:lnTo>
                    <a:lnTo>
                      <a:pt x="0" y="5239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4" name="Google Shape;554;p16"/>
              <p:cNvSpPr/>
              <p:nvPr/>
            </p:nvSpPr>
            <p:spPr>
              <a:xfrm>
                <a:off x="5080003" y="4331398"/>
                <a:ext cx="4849" cy="4953"/>
              </a:xfrm>
              <a:custGeom>
                <a:avLst/>
                <a:gdLst/>
                <a:ahLst/>
                <a:cxnLst/>
                <a:rect l="l" t="t" r="r" b="b"/>
                <a:pathLst>
                  <a:path w="4849" h="4953" extrusionOk="0">
                    <a:moveTo>
                      <a:pt x="4850" y="4953"/>
                    </a:moveTo>
                    <a:lnTo>
                      <a:pt x="4850" y="0"/>
                    </a:lnTo>
                    <a:lnTo>
                      <a:pt x="0" y="3048"/>
                    </a:lnTo>
                    <a:lnTo>
                      <a:pt x="4850" y="4953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5" name="Google Shape;555;p16"/>
              <p:cNvSpPr/>
              <p:nvPr/>
            </p:nvSpPr>
            <p:spPr>
              <a:xfrm>
                <a:off x="4866015" y="4293038"/>
                <a:ext cx="219203" cy="126874"/>
              </a:xfrm>
              <a:custGeom>
                <a:avLst/>
                <a:gdLst/>
                <a:ahLst/>
                <a:cxnLst/>
                <a:rect l="l" t="t" r="r" b="b"/>
                <a:pathLst>
                  <a:path w="219203" h="126874" extrusionOk="0">
                    <a:moveTo>
                      <a:pt x="59268" y="124847"/>
                    </a:moveTo>
                    <a:lnTo>
                      <a:pt x="3257" y="92177"/>
                    </a:lnTo>
                    <a:cubicBezTo>
                      <a:pt x="-1593" y="89414"/>
                      <a:pt x="-927" y="84556"/>
                      <a:pt x="4589" y="81413"/>
                    </a:cubicBezTo>
                    <a:lnTo>
                      <a:pt x="140480" y="2737"/>
                    </a:lnTo>
                    <a:cubicBezTo>
                      <a:pt x="146312" y="-626"/>
                      <a:pt x="153417" y="-902"/>
                      <a:pt x="159499" y="1975"/>
                    </a:cubicBezTo>
                    <a:lnTo>
                      <a:pt x="215985" y="34646"/>
                    </a:lnTo>
                    <a:cubicBezTo>
                      <a:pt x="220740" y="37408"/>
                      <a:pt x="220169" y="42170"/>
                      <a:pt x="214654" y="45409"/>
                    </a:cubicBezTo>
                    <a:lnTo>
                      <a:pt x="78287" y="124276"/>
                    </a:lnTo>
                    <a:cubicBezTo>
                      <a:pt x="72411" y="127524"/>
                      <a:pt x="65330" y="127743"/>
                      <a:pt x="59268" y="124847"/>
                    </a:cubicBezTo>
                    <a:close/>
                  </a:path>
                </a:pathLst>
              </a:custGeom>
              <a:solidFill>
                <a:srgbClr val="616E8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6" name="Google Shape;556;p16"/>
              <p:cNvSpPr/>
              <p:nvPr/>
            </p:nvSpPr>
            <p:spPr>
              <a:xfrm rot="-1790023">
                <a:off x="4877359" y="4403357"/>
                <a:ext cx="1145" cy="2102"/>
              </a:xfrm>
              <a:custGeom>
                <a:avLst/>
                <a:gdLst/>
                <a:ahLst/>
                <a:cxnLst/>
                <a:rect l="l" t="t" r="r" b="b"/>
                <a:pathLst>
                  <a:path w="1145" h="2102" extrusionOk="0">
                    <a:moveTo>
                      <a:pt x="1145" y="1053"/>
                    </a:moveTo>
                    <a:cubicBezTo>
                      <a:pt x="1145" y="1634"/>
                      <a:pt x="889" y="2104"/>
                      <a:pt x="573" y="2104"/>
                    </a:cubicBezTo>
                    <a:cubicBezTo>
                      <a:pt x="257" y="2104"/>
                      <a:pt x="0" y="1633"/>
                      <a:pt x="0" y="1053"/>
                    </a:cubicBezTo>
                    <a:cubicBezTo>
                      <a:pt x="0" y="472"/>
                      <a:pt x="257" y="2"/>
                      <a:pt x="573" y="2"/>
                    </a:cubicBezTo>
                    <a:cubicBezTo>
                      <a:pt x="889" y="2"/>
                      <a:pt x="1145" y="472"/>
                      <a:pt x="1145" y="1053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7" name="Google Shape;557;p16"/>
              <p:cNvSpPr/>
              <p:nvPr/>
            </p:nvSpPr>
            <p:spPr>
              <a:xfrm rot="-1801764">
                <a:off x="4877140" y="4391533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8" name="Google Shape;558;p16"/>
              <p:cNvSpPr/>
              <p:nvPr/>
            </p:nvSpPr>
            <p:spPr>
              <a:xfrm rot="-1801764">
                <a:off x="4879874" y="4393221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9" name="Google Shape;559;p16"/>
              <p:cNvSpPr/>
              <p:nvPr/>
            </p:nvSpPr>
            <p:spPr>
              <a:xfrm rot="-1801764">
                <a:off x="4882642" y="4394683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0" name="Google Shape;560;p16"/>
              <p:cNvSpPr/>
              <p:nvPr/>
            </p:nvSpPr>
            <p:spPr>
              <a:xfrm rot="-1801764">
                <a:off x="4905957" y="4408254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6" y="2095"/>
                      <a:pt x="0" y="1626"/>
                      <a:pt x="0" y="1048"/>
                    </a:cubicBezTo>
                    <a:cubicBezTo>
                      <a:pt x="0" y="469"/>
                      <a:pt x="256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1" name="Google Shape;561;p16"/>
              <p:cNvSpPr/>
              <p:nvPr/>
            </p:nvSpPr>
            <p:spPr>
              <a:xfrm rot="-1801764">
                <a:off x="4908679" y="4409799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2" name="Google Shape;562;p16"/>
              <p:cNvSpPr/>
              <p:nvPr/>
            </p:nvSpPr>
            <p:spPr>
              <a:xfrm rot="-1801764">
                <a:off x="4911365" y="4411405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6" y="2095"/>
                      <a:pt x="0" y="1626"/>
                      <a:pt x="0" y="1048"/>
                    </a:cubicBezTo>
                    <a:cubicBezTo>
                      <a:pt x="0" y="469"/>
                      <a:pt x="256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3" name="Google Shape;563;p16"/>
              <p:cNvSpPr/>
              <p:nvPr/>
            </p:nvSpPr>
            <p:spPr>
              <a:xfrm rot="-1801764">
                <a:off x="4914086" y="4412950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4" name="Google Shape;564;p16"/>
              <p:cNvSpPr/>
              <p:nvPr/>
            </p:nvSpPr>
            <p:spPr>
              <a:xfrm>
                <a:off x="4890288" y="4399104"/>
                <a:ext cx="9224" cy="6794"/>
              </a:xfrm>
              <a:custGeom>
                <a:avLst/>
                <a:gdLst/>
                <a:ahLst/>
                <a:cxnLst/>
                <a:rect l="l" t="t" r="r" b="b"/>
                <a:pathLst>
                  <a:path w="9224" h="6794" extrusionOk="0">
                    <a:moveTo>
                      <a:pt x="8368" y="6684"/>
                    </a:moveTo>
                    <a:lnTo>
                      <a:pt x="856" y="2398"/>
                    </a:lnTo>
                    <a:cubicBezTo>
                      <a:pt x="322" y="1989"/>
                      <a:pt x="8" y="1360"/>
                      <a:pt x="0" y="684"/>
                    </a:cubicBezTo>
                    <a:lnTo>
                      <a:pt x="0" y="684"/>
                    </a:lnTo>
                    <a:cubicBezTo>
                      <a:pt x="0" y="112"/>
                      <a:pt x="0" y="-174"/>
                      <a:pt x="856" y="112"/>
                    </a:cubicBezTo>
                    <a:lnTo>
                      <a:pt x="8368" y="4398"/>
                    </a:lnTo>
                    <a:cubicBezTo>
                      <a:pt x="8898" y="4770"/>
                      <a:pt x="9217" y="5370"/>
                      <a:pt x="9224" y="6018"/>
                    </a:cubicBezTo>
                    <a:lnTo>
                      <a:pt x="9224" y="6018"/>
                    </a:lnTo>
                    <a:cubicBezTo>
                      <a:pt x="9224" y="6684"/>
                      <a:pt x="8844" y="6970"/>
                      <a:pt x="8368" y="6684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5" name="Google Shape;565;p16"/>
              <p:cNvSpPr/>
              <p:nvPr/>
            </p:nvSpPr>
            <p:spPr>
              <a:xfrm>
                <a:off x="5060033" y="4346638"/>
                <a:ext cx="8558" cy="6096"/>
              </a:xfrm>
              <a:custGeom>
                <a:avLst/>
                <a:gdLst/>
                <a:ahLst/>
                <a:cxnLst/>
                <a:rect l="l" t="t" r="r" b="b"/>
                <a:pathLst>
                  <a:path w="8558" h="6096" extrusionOk="0">
                    <a:moveTo>
                      <a:pt x="7703" y="2096"/>
                    </a:moveTo>
                    <a:lnTo>
                      <a:pt x="761" y="6096"/>
                    </a:lnTo>
                    <a:cubicBezTo>
                      <a:pt x="761" y="6096"/>
                      <a:pt x="0" y="6096"/>
                      <a:pt x="0" y="5525"/>
                    </a:cubicBezTo>
                    <a:lnTo>
                      <a:pt x="0" y="5525"/>
                    </a:lnTo>
                    <a:cubicBezTo>
                      <a:pt x="38" y="4934"/>
                      <a:pt x="312" y="4381"/>
                      <a:pt x="761" y="4001"/>
                    </a:cubicBezTo>
                    <a:lnTo>
                      <a:pt x="7703" y="0"/>
                    </a:lnTo>
                    <a:cubicBezTo>
                      <a:pt x="7703" y="0"/>
                      <a:pt x="8559" y="0"/>
                      <a:pt x="8559" y="571"/>
                    </a:cubicBezTo>
                    <a:lnTo>
                      <a:pt x="8559" y="571"/>
                    </a:lnTo>
                    <a:cubicBezTo>
                      <a:pt x="8554" y="1191"/>
                      <a:pt x="8230" y="1772"/>
                      <a:pt x="7703" y="2096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6" name="Google Shape;566;p16"/>
              <p:cNvSpPr/>
              <p:nvPr/>
            </p:nvSpPr>
            <p:spPr>
              <a:xfrm>
                <a:off x="5049382" y="4352829"/>
                <a:ext cx="8559" cy="6096"/>
              </a:xfrm>
              <a:custGeom>
                <a:avLst/>
                <a:gdLst/>
                <a:ahLst/>
                <a:cxnLst/>
                <a:rect l="l" t="t" r="r" b="b"/>
                <a:pathLst>
                  <a:path w="8559" h="6096" extrusionOk="0">
                    <a:moveTo>
                      <a:pt x="7703" y="2096"/>
                    </a:moveTo>
                    <a:lnTo>
                      <a:pt x="761" y="6096"/>
                    </a:lnTo>
                    <a:cubicBezTo>
                      <a:pt x="761" y="6096"/>
                      <a:pt x="1" y="6096"/>
                      <a:pt x="1" y="5525"/>
                    </a:cubicBezTo>
                    <a:lnTo>
                      <a:pt x="1" y="5525"/>
                    </a:lnTo>
                    <a:cubicBezTo>
                      <a:pt x="-16" y="4924"/>
                      <a:pt x="270" y="4353"/>
                      <a:pt x="761" y="4001"/>
                    </a:cubicBezTo>
                    <a:lnTo>
                      <a:pt x="7703" y="0"/>
                    </a:lnTo>
                    <a:cubicBezTo>
                      <a:pt x="7703" y="0"/>
                      <a:pt x="8559" y="0"/>
                      <a:pt x="8559" y="571"/>
                    </a:cubicBezTo>
                    <a:lnTo>
                      <a:pt x="8559" y="571"/>
                    </a:lnTo>
                    <a:cubicBezTo>
                      <a:pt x="8537" y="1191"/>
                      <a:pt x="8218" y="1753"/>
                      <a:pt x="7703" y="2096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7" name="Google Shape;567;p16"/>
              <p:cNvSpPr/>
              <p:nvPr/>
            </p:nvSpPr>
            <p:spPr>
              <a:xfrm>
                <a:off x="4866015" y="4292025"/>
                <a:ext cx="219679" cy="127142"/>
              </a:xfrm>
              <a:custGeom>
                <a:avLst/>
                <a:gdLst/>
                <a:ahLst/>
                <a:cxnLst/>
                <a:rect l="l" t="t" r="r" b="b"/>
                <a:pathLst>
                  <a:path w="219679" h="127142" extrusionOk="0">
                    <a:moveTo>
                      <a:pt x="59268" y="125097"/>
                    </a:moveTo>
                    <a:lnTo>
                      <a:pt x="3257" y="92427"/>
                    </a:lnTo>
                    <a:cubicBezTo>
                      <a:pt x="-1593" y="89664"/>
                      <a:pt x="-927" y="84807"/>
                      <a:pt x="4589" y="81568"/>
                    </a:cubicBezTo>
                    <a:lnTo>
                      <a:pt x="140955" y="2701"/>
                    </a:lnTo>
                    <a:cubicBezTo>
                      <a:pt x="146802" y="-613"/>
                      <a:pt x="153882" y="-890"/>
                      <a:pt x="159974" y="1939"/>
                    </a:cubicBezTo>
                    <a:lnTo>
                      <a:pt x="216461" y="34610"/>
                    </a:lnTo>
                    <a:cubicBezTo>
                      <a:pt x="221215" y="37372"/>
                      <a:pt x="220645" y="42230"/>
                      <a:pt x="215129" y="45373"/>
                    </a:cubicBezTo>
                    <a:lnTo>
                      <a:pt x="78763" y="124240"/>
                    </a:lnTo>
                    <a:cubicBezTo>
                      <a:pt x="72819" y="127784"/>
                      <a:pt x="65499" y="128098"/>
                      <a:pt x="59268" y="125097"/>
                    </a:cubicBezTo>
                    <a:close/>
                  </a:path>
                </a:pathLst>
              </a:custGeom>
              <a:solidFill>
                <a:srgbClr val="20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8" name="Google Shape;568;p16"/>
              <p:cNvSpPr/>
              <p:nvPr/>
            </p:nvSpPr>
            <p:spPr>
              <a:xfrm>
                <a:off x="4874289" y="4295203"/>
                <a:ext cx="203812" cy="117633"/>
              </a:xfrm>
              <a:custGeom>
                <a:avLst/>
                <a:gdLst/>
                <a:ahLst/>
                <a:cxnLst/>
                <a:rect l="l" t="t" r="r" b="b"/>
                <a:pathLst>
                  <a:path w="203812" h="117633" extrusionOk="0">
                    <a:moveTo>
                      <a:pt x="201245" y="32766"/>
                    </a:moveTo>
                    <a:lnTo>
                      <a:pt x="179278" y="19621"/>
                    </a:lnTo>
                    <a:lnTo>
                      <a:pt x="179278" y="19621"/>
                    </a:lnTo>
                    <a:cubicBezTo>
                      <a:pt x="176299" y="21184"/>
                      <a:pt x="172748" y="21184"/>
                      <a:pt x="169769" y="19621"/>
                    </a:cubicBezTo>
                    <a:cubicBezTo>
                      <a:pt x="167106" y="18097"/>
                      <a:pt x="167106" y="15716"/>
                      <a:pt x="169769" y="14192"/>
                    </a:cubicBezTo>
                    <a:lnTo>
                      <a:pt x="169769" y="14192"/>
                    </a:lnTo>
                    <a:lnTo>
                      <a:pt x="147802" y="1429"/>
                    </a:lnTo>
                    <a:cubicBezTo>
                      <a:pt x="143967" y="-476"/>
                      <a:pt x="139464" y="-476"/>
                      <a:pt x="135629" y="1429"/>
                    </a:cubicBezTo>
                    <a:lnTo>
                      <a:pt x="2496" y="78200"/>
                    </a:lnTo>
                    <a:cubicBezTo>
                      <a:pt x="-832" y="80200"/>
                      <a:pt x="-832" y="83344"/>
                      <a:pt x="2496" y="85249"/>
                    </a:cubicBezTo>
                    <a:lnTo>
                      <a:pt x="56035" y="116205"/>
                    </a:lnTo>
                    <a:cubicBezTo>
                      <a:pt x="59836" y="118110"/>
                      <a:pt x="64311" y="118110"/>
                      <a:pt x="68112" y="116205"/>
                    </a:cubicBezTo>
                    <a:lnTo>
                      <a:pt x="201245" y="39338"/>
                    </a:lnTo>
                    <a:cubicBezTo>
                      <a:pt x="204668" y="37814"/>
                      <a:pt x="204668" y="34671"/>
                      <a:pt x="201245" y="327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9" name="Google Shape;569;p16"/>
              <p:cNvSpPr/>
              <p:nvPr/>
            </p:nvSpPr>
            <p:spPr>
              <a:xfrm>
                <a:off x="4874289" y="4295203"/>
                <a:ext cx="203812" cy="117633"/>
              </a:xfrm>
              <a:custGeom>
                <a:avLst/>
                <a:gdLst/>
                <a:ahLst/>
                <a:cxnLst/>
                <a:rect l="l" t="t" r="r" b="b"/>
                <a:pathLst>
                  <a:path w="203812" h="117633" extrusionOk="0">
                    <a:moveTo>
                      <a:pt x="201245" y="32766"/>
                    </a:moveTo>
                    <a:lnTo>
                      <a:pt x="179278" y="19621"/>
                    </a:lnTo>
                    <a:lnTo>
                      <a:pt x="179278" y="19621"/>
                    </a:lnTo>
                    <a:cubicBezTo>
                      <a:pt x="176299" y="21184"/>
                      <a:pt x="172748" y="21184"/>
                      <a:pt x="169769" y="19621"/>
                    </a:cubicBezTo>
                    <a:cubicBezTo>
                      <a:pt x="167106" y="18097"/>
                      <a:pt x="167106" y="15716"/>
                      <a:pt x="169769" y="14192"/>
                    </a:cubicBezTo>
                    <a:lnTo>
                      <a:pt x="169769" y="14192"/>
                    </a:lnTo>
                    <a:lnTo>
                      <a:pt x="147802" y="1429"/>
                    </a:lnTo>
                    <a:cubicBezTo>
                      <a:pt x="143967" y="-476"/>
                      <a:pt x="139464" y="-476"/>
                      <a:pt x="135629" y="1429"/>
                    </a:cubicBezTo>
                    <a:lnTo>
                      <a:pt x="2496" y="78200"/>
                    </a:lnTo>
                    <a:cubicBezTo>
                      <a:pt x="-832" y="80200"/>
                      <a:pt x="-832" y="83344"/>
                      <a:pt x="2496" y="85249"/>
                    </a:cubicBezTo>
                    <a:lnTo>
                      <a:pt x="56035" y="116205"/>
                    </a:lnTo>
                    <a:cubicBezTo>
                      <a:pt x="59836" y="118110"/>
                      <a:pt x="64311" y="118110"/>
                      <a:pt x="68112" y="116205"/>
                    </a:cubicBezTo>
                    <a:lnTo>
                      <a:pt x="201245" y="39338"/>
                    </a:lnTo>
                    <a:cubicBezTo>
                      <a:pt x="204668" y="37814"/>
                      <a:pt x="204668" y="34671"/>
                      <a:pt x="201245" y="32766"/>
                    </a:cubicBezTo>
                    <a:close/>
                  </a:path>
                </a:pathLst>
              </a:custGeom>
              <a:solidFill>
                <a:srgbClr val="000000">
                  <a:alpha val="4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0" name="Google Shape;570;p16"/>
              <p:cNvSpPr/>
              <p:nvPr/>
            </p:nvSpPr>
            <p:spPr>
              <a:xfrm>
                <a:off x="5044723" y="4311872"/>
                <a:ext cx="5135" cy="2857"/>
              </a:xfrm>
              <a:custGeom>
                <a:avLst/>
                <a:gdLst/>
                <a:ahLst/>
                <a:cxnLst/>
                <a:rect l="l" t="t" r="r" b="b"/>
                <a:pathLst>
                  <a:path w="5135" h="2857" extrusionOk="0">
                    <a:moveTo>
                      <a:pt x="5135" y="1429"/>
                    </a:moveTo>
                    <a:cubicBezTo>
                      <a:pt x="5135" y="2218"/>
                      <a:pt x="3986" y="2857"/>
                      <a:pt x="2568" y="2857"/>
                    </a:cubicBezTo>
                    <a:cubicBezTo>
                      <a:pt x="1150" y="2857"/>
                      <a:pt x="0" y="2218"/>
                      <a:pt x="0" y="1429"/>
                    </a:cubicBezTo>
                    <a:cubicBezTo>
                      <a:pt x="0" y="640"/>
                      <a:pt x="1150" y="0"/>
                      <a:pt x="2568" y="0"/>
                    </a:cubicBezTo>
                    <a:cubicBezTo>
                      <a:pt x="3986" y="0"/>
                      <a:pt x="5135" y="640"/>
                      <a:pt x="5135" y="142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1" name="Google Shape;571;p16"/>
              <p:cNvSpPr/>
              <p:nvPr/>
            </p:nvSpPr>
            <p:spPr>
              <a:xfrm>
                <a:off x="5046530" y="4312698"/>
                <a:ext cx="1521" cy="1221"/>
              </a:xfrm>
              <a:custGeom>
                <a:avLst/>
                <a:gdLst/>
                <a:ahLst/>
                <a:cxnLst/>
                <a:rect l="l" t="t" r="r" b="b"/>
                <a:pathLst>
                  <a:path w="1521" h="1221" extrusionOk="0">
                    <a:moveTo>
                      <a:pt x="0" y="1079"/>
                    </a:moveTo>
                    <a:cubicBezTo>
                      <a:pt x="0" y="1079"/>
                      <a:pt x="0" y="412"/>
                      <a:pt x="0" y="221"/>
                    </a:cubicBezTo>
                    <a:cubicBezTo>
                      <a:pt x="465" y="-74"/>
                      <a:pt x="1056" y="-74"/>
                      <a:pt x="1522" y="221"/>
                    </a:cubicBezTo>
                    <a:cubicBezTo>
                      <a:pt x="1522" y="221"/>
                      <a:pt x="1522" y="793"/>
                      <a:pt x="1522" y="1079"/>
                    </a:cubicBezTo>
                    <a:cubicBezTo>
                      <a:pt x="1033" y="1269"/>
                      <a:pt x="489" y="1269"/>
                      <a:pt x="0" y="1079"/>
                    </a:cubicBezTo>
                    <a:close/>
                  </a:path>
                </a:pathLst>
              </a:custGeom>
              <a:solidFill>
                <a:srgbClr val="FFFFFF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72" name="Google Shape;572;p16"/>
            <p:cNvSpPr/>
            <p:nvPr/>
          </p:nvSpPr>
          <p:spPr>
            <a:xfrm>
              <a:off x="6948039" y="2876090"/>
              <a:ext cx="48317" cy="40269"/>
            </a:xfrm>
            <a:custGeom>
              <a:avLst/>
              <a:gdLst/>
              <a:ahLst/>
              <a:cxnLst/>
              <a:rect l="l" t="t" r="r" b="b"/>
              <a:pathLst>
                <a:path w="129087" h="107584" extrusionOk="0">
                  <a:moveTo>
                    <a:pt x="100516" y="75867"/>
                  </a:moveTo>
                  <a:cubicBezTo>
                    <a:pt x="100516" y="75867"/>
                    <a:pt x="130375" y="48911"/>
                    <a:pt x="129044" y="13192"/>
                  </a:cubicBezTo>
                  <a:cubicBezTo>
                    <a:pt x="127237" y="-11668"/>
                    <a:pt x="112212" y="6239"/>
                    <a:pt x="112212" y="6239"/>
                  </a:cubicBezTo>
                  <a:lnTo>
                    <a:pt x="97092" y="33671"/>
                  </a:lnTo>
                  <a:cubicBezTo>
                    <a:pt x="89594" y="43806"/>
                    <a:pt x="79821" y="52026"/>
                    <a:pt x="68564" y="57674"/>
                  </a:cubicBezTo>
                  <a:cubicBezTo>
                    <a:pt x="57968" y="58693"/>
                    <a:pt x="47431" y="60255"/>
                    <a:pt x="36992" y="62341"/>
                  </a:cubicBezTo>
                  <a:cubicBezTo>
                    <a:pt x="18448" y="65961"/>
                    <a:pt x="0" y="89202"/>
                    <a:pt x="0" y="89202"/>
                  </a:cubicBezTo>
                  <a:lnTo>
                    <a:pt x="23298" y="1075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3" name="Google Shape;573;p16"/>
            <p:cNvSpPr/>
            <p:nvPr/>
          </p:nvSpPr>
          <p:spPr>
            <a:xfrm>
              <a:off x="6688913" y="2310158"/>
              <a:ext cx="266346" cy="294746"/>
            </a:xfrm>
            <a:custGeom>
              <a:avLst/>
              <a:gdLst/>
              <a:ahLst/>
              <a:cxnLst/>
              <a:rect l="l" t="t" r="r" b="b"/>
              <a:pathLst>
                <a:path w="711585" h="787458" extrusionOk="0">
                  <a:moveTo>
                    <a:pt x="654254" y="325496"/>
                  </a:moveTo>
                  <a:lnTo>
                    <a:pt x="104510" y="7551"/>
                  </a:lnTo>
                  <a:cubicBezTo>
                    <a:pt x="93809" y="169"/>
                    <a:pt x="80334" y="-1936"/>
                    <a:pt x="67898" y="1836"/>
                  </a:cubicBezTo>
                  <a:lnTo>
                    <a:pt x="67898" y="1836"/>
                  </a:lnTo>
                  <a:cubicBezTo>
                    <a:pt x="65551" y="2808"/>
                    <a:pt x="63345" y="4093"/>
                    <a:pt x="61336" y="5646"/>
                  </a:cubicBezTo>
                  <a:lnTo>
                    <a:pt x="0" y="40793"/>
                  </a:lnTo>
                  <a:lnTo>
                    <a:pt x="47548" y="96705"/>
                  </a:lnTo>
                  <a:lnTo>
                    <a:pt x="47548" y="326258"/>
                  </a:lnTo>
                  <a:cubicBezTo>
                    <a:pt x="49713" y="366529"/>
                    <a:pt x="70903" y="403353"/>
                    <a:pt x="104605" y="425413"/>
                  </a:cubicBezTo>
                  <a:lnTo>
                    <a:pt x="275776" y="533140"/>
                  </a:lnTo>
                  <a:lnTo>
                    <a:pt x="322277" y="639916"/>
                  </a:lnTo>
                  <a:lnTo>
                    <a:pt x="273303" y="723069"/>
                  </a:lnTo>
                  <a:lnTo>
                    <a:pt x="341487" y="684016"/>
                  </a:lnTo>
                  <a:lnTo>
                    <a:pt x="406246" y="608674"/>
                  </a:lnTo>
                  <a:lnTo>
                    <a:pt x="612888" y="720783"/>
                  </a:lnTo>
                  <a:lnTo>
                    <a:pt x="624014" y="787458"/>
                  </a:lnTo>
                  <a:lnTo>
                    <a:pt x="693624" y="747644"/>
                  </a:lnTo>
                  <a:lnTo>
                    <a:pt x="695526" y="746500"/>
                  </a:lnTo>
                  <a:lnTo>
                    <a:pt x="696191" y="746500"/>
                  </a:lnTo>
                  <a:lnTo>
                    <a:pt x="696191" y="746500"/>
                  </a:lnTo>
                  <a:cubicBezTo>
                    <a:pt x="706983" y="737785"/>
                    <a:pt x="712695" y="724231"/>
                    <a:pt x="711407" y="710401"/>
                  </a:cubicBezTo>
                  <a:lnTo>
                    <a:pt x="711407" y="424651"/>
                  </a:lnTo>
                  <a:cubicBezTo>
                    <a:pt x="709219" y="384370"/>
                    <a:pt x="687992" y="347536"/>
                    <a:pt x="654254" y="325496"/>
                  </a:cubicBezTo>
                  <a:close/>
                </a:path>
              </a:pathLst>
            </a:custGeom>
            <a:solidFill>
              <a:srgbClr val="FF7B7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4" name="Google Shape;574;p16"/>
            <p:cNvSpPr/>
            <p:nvPr/>
          </p:nvSpPr>
          <p:spPr>
            <a:xfrm>
              <a:off x="6681190" y="2324699"/>
              <a:ext cx="248446" cy="281264"/>
            </a:xfrm>
            <a:custGeom>
              <a:avLst/>
              <a:gdLst/>
              <a:ahLst/>
              <a:cxnLst/>
              <a:rect l="l" t="t" r="r" b="b"/>
              <a:pathLst>
                <a:path w="663763" h="751441" extrusionOk="0">
                  <a:moveTo>
                    <a:pt x="606802" y="325697"/>
                  </a:moveTo>
                  <a:lnTo>
                    <a:pt x="57057" y="7848"/>
                  </a:lnTo>
                  <a:cubicBezTo>
                    <a:pt x="25485" y="-10440"/>
                    <a:pt x="0" y="4324"/>
                    <a:pt x="0" y="40805"/>
                  </a:cubicBezTo>
                  <a:lnTo>
                    <a:pt x="0" y="326555"/>
                  </a:lnTo>
                  <a:cubicBezTo>
                    <a:pt x="2165" y="366826"/>
                    <a:pt x="23356" y="403650"/>
                    <a:pt x="57057" y="425710"/>
                  </a:cubicBezTo>
                  <a:lnTo>
                    <a:pt x="228228" y="533533"/>
                  </a:lnTo>
                  <a:lnTo>
                    <a:pt x="293939" y="684314"/>
                  </a:lnTo>
                  <a:lnTo>
                    <a:pt x="358699" y="608971"/>
                  </a:lnTo>
                  <a:lnTo>
                    <a:pt x="606707" y="743654"/>
                  </a:lnTo>
                  <a:cubicBezTo>
                    <a:pt x="638278" y="761847"/>
                    <a:pt x="663764" y="747083"/>
                    <a:pt x="663764" y="710603"/>
                  </a:cubicBezTo>
                  <a:lnTo>
                    <a:pt x="663764" y="424853"/>
                  </a:lnTo>
                  <a:cubicBezTo>
                    <a:pt x="661621" y="384600"/>
                    <a:pt x="640468" y="347776"/>
                    <a:pt x="606802" y="325697"/>
                  </a:cubicBezTo>
                  <a:close/>
                </a:path>
              </a:pathLst>
            </a:custGeom>
            <a:solidFill>
              <a:srgbClr val="E26D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5" name="Google Shape;575;p16"/>
            <p:cNvSpPr/>
            <p:nvPr/>
          </p:nvSpPr>
          <p:spPr>
            <a:xfrm>
              <a:off x="7244522" y="2103554"/>
              <a:ext cx="267380" cy="295937"/>
            </a:xfrm>
            <a:custGeom>
              <a:avLst/>
              <a:gdLst/>
              <a:ahLst/>
              <a:cxnLst/>
              <a:rect l="l" t="t" r="r" b="b"/>
              <a:pathLst>
                <a:path w="713014" h="789165" extrusionOk="0">
                  <a:moveTo>
                    <a:pt x="655586" y="326155"/>
                  </a:moveTo>
                  <a:lnTo>
                    <a:pt x="104700" y="7639"/>
                  </a:lnTo>
                  <a:cubicBezTo>
                    <a:pt x="93992" y="191"/>
                    <a:pt x="80470" y="-1949"/>
                    <a:pt x="67993" y="1829"/>
                  </a:cubicBezTo>
                  <a:lnTo>
                    <a:pt x="67993" y="1829"/>
                  </a:lnTo>
                  <a:cubicBezTo>
                    <a:pt x="65625" y="2760"/>
                    <a:pt x="63419" y="4045"/>
                    <a:pt x="61432" y="5639"/>
                  </a:cubicBezTo>
                  <a:lnTo>
                    <a:pt x="0" y="40882"/>
                  </a:lnTo>
                  <a:lnTo>
                    <a:pt x="47548" y="96793"/>
                  </a:lnTo>
                  <a:lnTo>
                    <a:pt x="47548" y="326917"/>
                  </a:lnTo>
                  <a:cubicBezTo>
                    <a:pt x="49697" y="367241"/>
                    <a:pt x="70884" y="404130"/>
                    <a:pt x="104605" y="426263"/>
                  </a:cubicBezTo>
                  <a:lnTo>
                    <a:pt x="276252" y="534277"/>
                  </a:lnTo>
                  <a:lnTo>
                    <a:pt x="322848" y="641242"/>
                  </a:lnTo>
                  <a:lnTo>
                    <a:pt x="273874" y="724586"/>
                  </a:lnTo>
                  <a:lnTo>
                    <a:pt x="342248" y="685629"/>
                  </a:lnTo>
                  <a:lnTo>
                    <a:pt x="407102" y="610096"/>
                  </a:lnTo>
                  <a:lnTo>
                    <a:pt x="614029" y="722491"/>
                  </a:lnTo>
                  <a:lnTo>
                    <a:pt x="625250" y="789166"/>
                  </a:lnTo>
                  <a:lnTo>
                    <a:pt x="694955" y="749161"/>
                  </a:lnTo>
                  <a:lnTo>
                    <a:pt x="696857" y="748113"/>
                  </a:lnTo>
                  <a:lnTo>
                    <a:pt x="697523" y="748113"/>
                  </a:lnTo>
                  <a:lnTo>
                    <a:pt x="697523" y="748113"/>
                  </a:lnTo>
                  <a:cubicBezTo>
                    <a:pt x="708373" y="739436"/>
                    <a:pt x="714136" y="725863"/>
                    <a:pt x="712833" y="712013"/>
                  </a:cubicBezTo>
                  <a:lnTo>
                    <a:pt x="712833" y="426263"/>
                  </a:lnTo>
                  <a:cubicBezTo>
                    <a:pt x="710874" y="385631"/>
                    <a:pt x="689592" y="348402"/>
                    <a:pt x="655586" y="326155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6" name="Google Shape;576;p16"/>
            <p:cNvSpPr/>
            <p:nvPr/>
          </p:nvSpPr>
          <p:spPr>
            <a:xfrm>
              <a:off x="7236798" y="2118137"/>
              <a:ext cx="249375" cy="282304"/>
            </a:xfrm>
            <a:custGeom>
              <a:avLst/>
              <a:gdLst/>
              <a:ahLst/>
              <a:cxnLst/>
              <a:rect l="l" t="t" r="r" b="b"/>
              <a:pathLst>
                <a:path w="665000" h="752811" extrusionOk="0">
                  <a:moveTo>
                    <a:pt x="607848" y="326342"/>
                  </a:moveTo>
                  <a:lnTo>
                    <a:pt x="57057" y="7826"/>
                  </a:lnTo>
                  <a:cubicBezTo>
                    <a:pt x="25485" y="-10462"/>
                    <a:pt x="0" y="4397"/>
                    <a:pt x="0" y="40973"/>
                  </a:cubicBezTo>
                  <a:lnTo>
                    <a:pt x="0" y="326723"/>
                  </a:lnTo>
                  <a:cubicBezTo>
                    <a:pt x="2149" y="367046"/>
                    <a:pt x="23336" y="403936"/>
                    <a:pt x="57057" y="426069"/>
                  </a:cubicBezTo>
                  <a:lnTo>
                    <a:pt x="228799" y="534464"/>
                  </a:lnTo>
                  <a:lnTo>
                    <a:pt x="294700" y="685625"/>
                  </a:lnTo>
                  <a:lnTo>
                    <a:pt x="359555" y="610092"/>
                  </a:lnTo>
                  <a:lnTo>
                    <a:pt x="607943" y="744966"/>
                  </a:lnTo>
                  <a:cubicBezTo>
                    <a:pt x="639610" y="763254"/>
                    <a:pt x="665000" y="748490"/>
                    <a:pt x="665000" y="711914"/>
                  </a:cubicBezTo>
                  <a:lnTo>
                    <a:pt x="665000" y="426164"/>
                  </a:lnTo>
                  <a:cubicBezTo>
                    <a:pt x="662994" y="385648"/>
                    <a:pt x="641749" y="348541"/>
                    <a:pt x="607848" y="326342"/>
                  </a:cubicBez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7" name="Google Shape;577;p16"/>
            <p:cNvSpPr/>
            <p:nvPr/>
          </p:nvSpPr>
          <p:spPr>
            <a:xfrm rot="-1798898">
              <a:off x="7282126" y="2196393"/>
              <a:ext cx="24191" cy="41957"/>
            </a:xfrm>
            <a:custGeom>
              <a:avLst/>
              <a:gdLst/>
              <a:ahLst/>
              <a:cxnLst/>
              <a:rect l="l" t="t" r="r" b="b"/>
              <a:pathLst>
                <a:path w="64474" h="111823" extrusionOk="0">
                  <a:moveTo>
                    <a:pt x="64475" y="55912"/>
                  </a:moveTo>
                  <a:cubicBezTo>
                    <a:pt x="64475" y="86791"/>
                    <a:pt x="50041" y="111823"/>
                    <a:pt x="32237" y="111823"/>
                  </a:cubicBezTo>
                  <a:cubicBezTo>
                    <a:pt x="14433" y="111823"/>
                    <a:pt x="0" y="86791"/>
                    <a:pt x="0" y="55912"/>
                  </a:cubicBezTo>
                  <a:cubicBezTo>
                    <a:pt x="0" y="25033"/>
                    <a:pt x="14433" y="0"/>
                    <a:pt x="32237" y="0"/>
                  </a:cubicBezTo>
                  <a:cubicBezTo>
                    <a:pt x="50041" y="0"/>
                    <a:pt x="64475" y="25033"/>
                    <a:pt x="64475" y="559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8" name="Google Shape;578;p16"/>
            <p:cNvSpPr/>
            <p:nvPr/>
          </p:nvSpPr>
          <p:spPr>
            <a:xfrm rot="-1778992">
              <a:off x="7345395" y="2232411"/>
              <a:ext cx="24194" cy="41962"/>
            </a:xfrm>
            <a:custGeom>
              <a:avLst/>
              <a:gdLst/>
              <a:ahLst/>
              <a:cxnLst/>
              <a:rect l="l" t="t" r="r" b="b"/>
              <a:pathLst>
                <a:path w="64696" h="112208" extrusionOk="0">
                  <a:moveTo>
                    <a:pt x="64698" y="56104"/>
                  </a:moveTo>
                  <a:cubicBezTo>
                    <a:pt x="64698" y="87090"/>
                    <a:pt x="50215" y="112209"/>
                    <a:pt x="32350" y="112209"/>
                  </a:cubicBezTo>
                  <a:cubicBezTo>
                    <a:pt x="14484" y="112209"/>
                    <a:pt x="1" y="87090"/>
                    <a:pt x="1" y="56104"/>
                  </a:cubicBezTo>
                  <a:cubicBezTo>
                    <a:pt x="1" y="25119"/>
                    <a:pt x="14484" y="0"/>
                    <a:pt x="32350" y="0"/>
                  </a:cubicBezTo>
                  <a:cubicBezTo>
                    <a:pt x="50215" y="0"/>
                    <a:pt x="64698" y="25119"/>
                    <a:pt x="64698" y="5610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9" name="Google Shape;579;p16"/>
            <p:cNvSpPr/>
            <p:nvPr/>
          </p:nvSpPr>
          <p:spPr>
            <a:xfrm rot="-1798898">
              <a:off x="7404420" y="2267151"/>
              <a:ext cx="24191" cy="41957"/>
            </a:xfrm>
            <a:custGeom>
              <a:avLst/>
              <a:gdLst/>
              <a:ahLst/>
              <a:cxnLst/>
              <a:rect l="l" t="t" r="r" b="b"/>
              <a:pathLst>
                <a:path w="64474" h="111823" extrusionOk="0">
                  <a:moveTo>
                    <a:pt x="64474" y="55912"/>
                  </a:moveTo>
                  <a:cubicBezTo>
                    <a:pt x="64474" y="86791"/>
                    <a:pt x="50041" y="111823"/>
                    <a:pt x="32237" y="111823"/>
                  </a:cubicBezTo>
                  <a:cubicBezTo>
                    <a:pt x="14433" y="111823"/>
                    <a:pt x="0" y="86791"/>
                    <a:pt x="0" y="55912"/>
                  </a:cubicBezTo>
                  <a:cubicBezTo>
                    <a:pt x="0" y="25033"/>
                    <a:pt x="14433" y="0"/>
                    <a:pt x="32237" y="0"/>
                  </a:cubicBezTo>
                  <a:cubicBezTo>
                    <a:pt x="50041" y="0"/>
                    <a:pt x="64474" y="25033"/>
                    <a:pt x="64474" y="559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0" name="Google Shape;580;p16"/>
            <p:cNvSpPr/>
            <p:nvPr/>
          </p:nvSpPr>
          <p:spPr>
            <a:xfrm>
              <a:off x="7054307" y="2375460"/>
              <a:ext cx="81342" cy="108498"/>
            </a:xfrm>
            <a:custGeom>
              <a:avLst/>
              <a:gdLst/>
              <a:ahLst/>
              <a:cxnLst/>
              <a:rect l="l" t="t" r="r" b="b"/>
              <a:pathLst>
                <a:path w="216911" h="289327" extrusionOk="0">
                  <a:moveTo>
                    <a:pt x="216912" y="195983"/>
                  </a:moveTo>
                  <a:cubicBezTo>
                    <a:pt x="216912" y="129308"/>
                    <a:pt x="170030" y="47678"/>
                    <a:pt x="112307" y="14246"/>
                  </a:cubicBezTo>
                  <a:cubicBezTo>
                    <a:pt x="81496" y="-3566"/>
                    <a:pt x="53919" y="-4042"/>
                    <a:pt x="34805" y="9293"/>
                  </a:cubicBezTo>
                  <a:lnTo>
                    <a:pt x="0" y="29009"/>
                  </a:lnTo>
                  <a:lnTo>
                    <a:pt x="14835" y="34915"/>
                  </a:lnTo>
                  <a:cubicBezTo>
                    <a:pt x="9738" y="47589"/>
                    <a:pt x="7246" y="61163"/>
                    <a:pt x="7512" y="74825"/>
                  </a:cubicBezTo>
                  <a:cubicBezTo>
                    <a:pt x="7512" y="141500"/>
                    <a:pt x="54394" y="223034"/>
                    <a:pt x="112117" y="256562"/>
                  </a:cubicBezTo>
                  <a:cubicBezTo>
                    <a:pt x="121018" y="261857"/>
                    <a:pt x="130623" y="265858"/>
                    <a:pt x="140645" y="268468"/>
                  </a:cubicBezTo>
                  <a:lnTo>
                    <a:pt x="140645" y="289328"/>
                  </a:lnTo>
                  <a:lnTo>
                    <a:pt x="185530" y="263991"/>
                  </a:lnTo>
                  <a:lnTo>
                    <a:pt x="185530" y="263991"/>
                  </a:lnTo>
                  <a:lnTo>
                    <a:pt x="185530" y="263991"/>
                  </a:lnTo>
                  <a:cubicBezTo>
                    <a:pt x="205310" y="252656"/>
                    <a:pt x="216912" y="229225"/>
                    <a:pt x="216912" y="195983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1" name="Google Shape;581;p16"/>
            <p:cNvSpPr/>
            <p:nvPr/>
          </p:nvSpPr>
          <p:spPr>
            <a:xfrm rot="-1798898">
              <a:off x="7049958" y="2378905"/>
              <a:ext cx="64153" cy="111361"/>
            </a:xfrm>
            <a:custGeom>
              <a:avLst/>
              <a:gdLst/>
              <a:ahLst/>
              <a:cxnLst/>
              <a:rect l="l" t="t" r="r" b="b"/>
              <a:pathLst>
                <a:path w="170980" h="296798" extrusionOk="0">
                  <a:moveTo>
                    <a:pt x="170981" y="148399"/>
                  </a:moveTo>
                  <a:cubicBezTo>
                    <a:pt x="170981" y="230358"/>
                    <a:pt x="132706" y="296799"/>
                    <a:pt x="85491" y="296799"/>
                  </a:cubicBezTo>
                  <a:cubicBezTo>
                    <a:pt x="38276" y="296799"/>
                    <a:pt x="0" y="230358"/>
                    <a:pt x="0" y="148399"/>
                  </a:cubicBezTo>
                  <a:cubicBezTo>
                    <a:pt x="0" y="66441"/>
                    <a:pt x="38276" y="0"/>
                    <a:pt x="85491" y="0"/>
                  </a:cubicBezTo>
                  <a:cubicBezTo>
                    <a:pt x="132706" y="0"/>
                    <a:pt x="170981" y="66441"/>
                    <a:pt x="170981" y="148399"/>
                  </a:cubicBez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2" name="Google Shape;582;p16"/>
            <p:cNvSpPr/>
            <p:nvPr/>
          </p:nvSpPr>
          <p:spPr>
            <a:xfrm rot="-1798898">
              <a:off x="7061883" y="2407428"/>
              <a:ext cx="9134" cy="15868"/>
            </a:xfrm>
            <a:custGeom>
              <a:avLst/>
              <a:gdLst/>
              <a:ahLst/>
              <a:cxnLst/>
              <a:rect l="l" t="t" r="r" b="b"/>
              <a:pathLst>
                <a:path w="24344" h="42290" extrusionOk="0">
                  <a:moveTo>
                    <a:pt x="24344" y="21145"/>
                  </a:moveTo>
                  <a:cubicBezTo>
                    <a:pt x="24344" y="32824"/>
                    <a:pt x="18894" y="42291"/>
                    <a:pt x="12172" y="42291"/>
                  </a:cubicBezTo>
                  <a:cubicBezTo>
                    <a:pt x="5449" y="42291"/>
                    <a:pt x="0" y="32824"/>
                    <a:pt x="0" y="21145"/>
                  </a:cubicBezTo>
                  <a:cubicBezTo>
                    <a:pt x="0" y="9467"/>
                    <a:pt x="5450" y="0"/>
                    <a:pt x="12172" y="0"/>
                  </a:cubicBezTo>
                  <a:cubicBezTo>
                    <a:pt x="18895" y="0"/>
                    <a:pt x="24344" y="9467"/>
                    <a:pt x="24344" y="2114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3" name="Google Shape;583;p16"/>
            <p:cNvSpPr/>
            <p:nvPr/>
          </p:nvSpPr>
          <p:spPr>
            <a:xfrm rot="-1798898">
              <a:off x="7092283" y="2424967"/>
              <a:ext cx="9134" cy="15868"/>
            </a:xfrm>
            <a:custGeom>
              <a:avLst/>
              <a:gdLst/>
              <a:ahLst/>
              <a:cxnLst/>
              <a:rect l="l" t="t" r="r" b="b"/>
              <a:pathLst>
                <a:path w="24344" h="42290" extrusionOk="0">
                  <a:moveTo>
                    <a:pt x="24344" y="21145"/>
                  </a:moveTo>
                  <a:cubicBezTo>
                    <a:pt x="24344" y="32824"/>
                    <a:pt x="18894" y="42291"/>
                    <a:pt x="12172" y="42291"/>
                  </a:cubicBezTo>
                  <a:cubicBezTo>
                    <a:pt x="5449" y="42291"/>
                    <a:pt x="0" y="32824"/>
                    <a:pt x="0" y="21145"/>
                  </a:cubicBezTo>
                  <a:cubicBezTo>
                    <a:pt x="0" y="9467"/>
                    <a:pt x="5450" y="0"/>
                    <a:pt x="12172" y="0"/>
                  </a:cubicBezTo>
                  <a:cubicBezTo>
                    <a:pt x="18895" y="0"/>
                    <a:pt x="24344" y="9467"/>
                    <a:pt x="24344" y="2114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4" name="Google Shape;584;p16"/>
            <p:cNvSpPr/>
            <p:nvPr/>
          </p:nvSpPr>
          <p:spPr>
            <a:xfrm>
              <a:off x="7066445" y="2439547"/>
              <a:ext cx="31881" cy="22328"/>
            </a:xfrm>
            <a:custGeom>
              <a:avLst/>
              <a:gdLst/>
              <a:ahLst/>
              <a:cxnLst/>
              <a:rect l="l" t="t" r="r" b="b"/>
              <a:pathLst>
                <a:path w="85015" h="59542" extrusionOk="0">
                  <a:moveTo>
                    <a:pt x="0" y="0"/>
                  </a:moveTo>
                  <a:cubicBezTo>
                    <a:pt x="0" y="0"/>
                    <a:pt x="13694" y="37528"/>
                    <a:pt x="41272" y="53435"/>
                  </a:cubicBezTo>
                  <a:cubicBezTo>
                    <a:pt x="68849" y="69342"/>
                    <a:pt x="85015" y="49149"/>
                    <a:pt x="85015" y="49149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5" name="Google Shape;585;p16"/>
            <p:cNvSpPr/>
            <p:nvPr/>
          </p:nvSpPr>
          <p:spPr>
            <a:xfrm>
              <a:off x="7016984" y="2605070"/>
              <a:ext cx="22181" cy="70080"/>
            </a:xfrm>
            <a:custGeom>
              <a:avLst/>
              <a:gdLst/>
              <a:ahLst/>
              <a:cxnLst/>
              <a:rect l="l" t="t" r="r" b="b"/>
              <a:pathLst>
                <a:path w="59149" h="186880" extrusionOk="0">
                  <a:moveTo>
                    <a:pt x="0" y="152591"/>
                  </a:moveTo>
                  <a:lnTo>
                    <a:pt x="59149" y="186881"/>
                  </a:lnTo>
                  <a:lnTo>
                    <a:pt x="59149" y="34195"/>
                  </a:lnTo>
                  <a:lnTo>
                    <a:pt x="0" y="0"/>
                  </a:lnTo>
                  <a:lnTo>
                    <a:pt x="0" y="152591"/>
                  </a:lnTo>
                  <a:close/>
                </a:path>
              </a:pathLst>
            </a:custGeom>
            <a:solidFill>
              <a:srgbClr val="1155C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6" name="Google Shape;586;p16"/>
            <p:cNvSpPr/>
            <p:nvPr/>
          </p:nvSpPr>
          <p:spPr>
            <a:xfrm>
              <a:off x="7016984" y="2594731"/>
              <a:ext cx="41045" cy="23253"/>
            </a:xfrm>
            <a:custGeom>
              <a:avLst/>
              <a:gdLst/>
              <a:ahLst/>
              <a:cxnLst/>
              <a:rect l="l" t="t" r="r" b="b"/>
              <a:pathLst>
                <a:path w="109454" h="62007" extrusionOk="0">
                  <a:moveTo>
                    <a:pt x="59149" y="62008"/>
                  </a:moveTo>
                  <a:lnTo>
                    <a:pt x="0" y="27718"/>
                  </a:lnTo>
                  <a:lnTo>
                    <a:pt x="47928" y="0"/>
                  </a:lnTo>
                  <a:lnTo>
                    <a:pt x="109455" y="34480"/>
                  </a:lnTo>
                  <a:lnTo>
                    <a:pt x="59149" y="62008"/>
                  </a:lnTo>
                  <a:close/>
                </a:path>
              </a:pathLst>
            </a:custGeom>
            <a:solidFill>
              <a:srgbClr val="3C7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7" name="Google Shape;587;p16"/>
            <p:cNvSpPr/>
            <p:nvPr/>
          </p:nvSpPr>
          <p:spPr>
            <a:xfrm>
              <a:off x="7057740" y="2595705"/>
              <a:ext cx="65605" cy="105819"/>
            </a:xfrm>
            <a:custGeom>
              <a:avLst/>
              <a:gdLst/>
              <a:ahLst/>
              <a:cxnLst/>
              <a:rect l="l" t="t" r="r" b="b"/>
              <a:pathLst>
                <a:path w="174947" h="282184" extrusionOk="0">
                  <a:moveTo>
                    <a:pt x="174880" y="168275"/>
                  </a:moveTo>
                  <a:cubicBezTo>
                    <a:pt x="174376" y="153645"/>
                    <a:pt x="166502" y="140272"/>
                    <a:pt x="153959" y="132747"/>
                  </a:cubicBezTo>
                  <a:lnTo>
                    <a:pt x="84635" y="92646"/>
                  </a:lnTo>
                  <a:lnTo>
                    <a:pt x="95666" y="40545"/>
                  </a:lnTo>
                  <a:lnTo>
                    <a:pt x="95666" y="36639"/>
                  </a:lnTo>
                  <a:cubicBezTo>
                    <a:pt x="95704" y="31096"/>
                    <a:pt x="94933" y="25581"/>
                    <a:pt x="93383" y="20256"/>
                  </a:cubicBezTo>
                  <a:cubicBezTo>
                    <a:pt x="91291" y="13398"/>
                    <a:pt x="83874" y="-2889"/>
                    <a:pt x="79119" y="445"/>
                  </a:cubicBezTo>
                  <a:lnTo>
                    <a:pt x="6562" y="42450"/>
                  </a:lnTo>
                  <a:cubicBezTo>
                    <a:pt x="2187" y="43688"/>
                    <a:pt x="0" y="48736"/>
                    <a:pt x="0" y="56356"/>
                  </a:cubicBezTo>
                  <a:lnTo>
                    <a:pt x="0" y="184087"/>
                  </a:lnTo>
                  <a:cubicBezTo>
                    <a:pt x="903" y="199546"/>
                    <a:pt x="9053" y="213671"/>
                    <a:pt x="21967" y="222187"/>
                  </a:cubicBezTo>
                  <a:lnTo>
                    <a:pt x="120961" y="279337"/>
                  </a:lnTo>
                  <a:cubicBezTo>
                    <a:pt x="129710" y="284385"/>
                    <a:pt x="137412" y="282480"/>
                    <a:pt x="140741" y="275527"/>
                  </a:cubicBezTo>
                  <a:lnTo>
                    <a:pt x="173739" y="204280"/>
                  </a:lnTo>
                  <a:cubicBezTo>
                    <a:pt x="174728" y="201632"/>
                    <a:pt x="175118" y="198803"/>
                    <a:pt x="174880" y="19599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8" name="Google Shape;588;p16"/>
            <p:cNvSpPr/>
            <p:nvPr/>
          </p:nvSpPr>
          <p:spPr>
            <a:xfrm>
              <a:off x="7095932" y="2684289"/>
              <a:ext cx="13087" cy="23860"/>
            </a:xfrm>
            <a:custGeom>
              <a:avLst/>
              <a:gdLst/>
              <a:ahLst/>
              <a:cxnLst/>
              <a:rect l="l" t="t" r="r" b="b"/>
              <a:pathLst>
                <a:path w="34899" h="63627" extrusionOk="0">
                  <a:moveTo>
                    <a:pt x="0" y="63627"/>
                  </a:moveTo>
                  <a:lnTo>
                    <a:pt x="34900" y="43148"/>
                  </a:lnTo>
                  <a:lnTo>
                    <a:pt x="3138" y="0"/>
                  </a:lnTo>
                  <a:lnTo>
                    <a:pt x="0" y="63627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9" name="Google Shape;589;p16"/>
            <p:cNvSpPr/>
            <p:nvPr/>
          </p:nvSpPr>
          <p:spPr>
            <a:xfrm>
              <a:off x="7045282" y="2602986"/>
              <a:ext cx="65605" cy="105693"/>
            </a:xfrm>
            <a:custGeom>
              <a:avLst/>
              <a:gdLst/>
              <a:ahLst/>
              <a:cxnLst/>
              <a:rect l="l" t="t" r="r" b="b"/>
              <a:pathLst>
                <a:path w="174947" h="281849" extrusionOk="0">
                  <a:moveTo>
                    <a:pt x="174880" y="168254"/>
                  </a:moveTo>
                  <a:cubicBezTo>
                    <a:pt x="174319" y="153642"/>
                    <a:pt x="166464" y="140288"/>
                    <a:pt x="153959" y="132725"/>
                  </a:cubicBezTo>
                  <a:lnTo>
                    <a:pt x="84635" y="92720"/>
                  </a:lnTo>
                  <a:lnTo>
                    <a:pt x="95666" y="40523"/>
                  </a:lnTo>
                  <a:lnTo>
                    <a:pt x="95666" y="36713"/>
                  </a:lnTo>
                  <a:cubicBezTo>
                    <a:pt x="95704" y="31141"/>
                    <a:pt x="94933" y="25588"/>
                    <a:pt x="93383" y="20235"/>
                  </a:cubicBezTo>
                  <a:cubicBezTo>
                    <a:pt x="91291" y="13377"/>
                    <a:pt x="83874" y="-2815"/>
                    <a:pt x="79119" y="423"/>
                  </a:cubicBezTo>
                  <a:lnTo>
                    <a:pt x="6562" y="42429"/>
                  </a:lnTo>
                  <a:cubicBezTo>
                    <a:pt x="2187" y="43667"/>
                    <a:pt x="0" y="48810"/>
                    <a:pt x="0" y="56430"/>
                  </a:cubicBezTo>
                  <a:lnTo>
                    <a:pt x="0" y="183684"/>
                  </a:lnTo>
                  <a:cubicBezTo>
                    <a:pt x="875" y="199153"/>
                    <a:pt x="9025" y="213288"/>
                    <a:pt x="21967" y="221784"/>
                  </a:cubicBezTo>
                  <a:lnTo>
                    <a:pt x="120961" y="278934"/>
                  </a:lnTo>
                  <a:cubicBezTo>
                    <a:pt x="129710" y="284078"/>
                    <a:pt x="137412" y="282173"/>
                    <a:pt x="140741" y="275124"/>
                  </a:cubicBezTo>
                  <a:lnTo>
                    <a:pt x="173739" y="203877"/>
                  </a:lnTo>
                  <a:cubicBezTo>
                    <a:pt x="174728" y="201229"/>
                    <a:pt x="175118" y="198400"/>
                    <a:pt x="174880" y="195590"/>
                  </a:cubicBezTo>
                  <a:close/>
                </a:path>
              </a:pathLst>
            </a:custGeom>
            <a:solidFill>
              <a:srgbClr val="EFBD9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5" name="Google Shape;997;p20">
            <a:extLst>
              <a:ext uri="{FF2B5EF4-FFF2-40B4-BE49-F238E27FC236}">
                <a16:creationId xmlns:a16="http://schemas.microsoft.com/office/drawing/2014/main" id="{B296FE3F-ED5A-4497-832A-E3A57BA90C5C}"/>
              </a:ext>
            </a:extLst>
          </p:cNvPr>
          <p:cNvSpPr txBox="1">
            <a:spLocks/>
          </p:cNvSpPr>
          <p:nvPr/>
        </p:nvSpPr>
        <p:spPr>
          <a:xfrm>
            <a:off x="982820" y="369833"/>
            <a:ext cx="5640900" cy="92403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4800" dirty="0">
                <a:solidFill>
                  <a:schemeClr val="bg1"/>
                </a:solidFill>
                <a:latin typeface="Raleway Thin"/>
              </a:rPr>
              <a:t>Project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sz="4800" dirty="0">
                <a:solidFill>
                  <a:schemeClr val="bg1"/>
                </a:solidFill>
                <a:latin typeface="Raleway Thin"/>
                <a:sym typeface="Raleway Thin"/>
              </a:rPr>
              <a:t>Motivation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C7A49128-C9B6-473B-A9AE-879F03B37E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Objectives</a:t>
            </a:r>
            <a:endParaRPr dirty="0"/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5</a:t>
            </a:fld>
            <a:endParaRPr/>
          </a:p>
        </p:txBody>
      </p:sp>
      <p:grpSp>
        <p:nvGrpSpPr>
          <p:cNvPr id="348" name="Google Shape;348;p13"/>
          <p:cNvGrpSpPr/>
          <p:nvPr/>
        </p:nvGrpSpPr>
        <p:grpSpPr>
          <a:xfrm>
            <a:off x="6098100" y="419088"/>
            <a:ext cx="2706354" cy="1604434"/>
            <a:chOff x="6986665" y="3298709"/>
            <a:chExt cx="1817809" cy="1077669"/>
          </a:xfrm>
        </p:grpSpPr>
        <p:sp>
          <p:nvSpPr>
            <p:cNvPr id="349" name="Google Shape;349;p13"/>
            <p:cNvSpPr/>
            <p:nvPr/>
          </p:nvSpPr>
          <p:spPr>
            <a:xfrm>
              <a:off x="6986665" y="3342725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0" name="Google Shape;350;p13"/>
            <p:cNvSpPr/>
            <p:nvPr/>
          </p:nvSpPr>
          <p:spPr>
            <a:xfrm>
              <a:off x="7014156" y="3327342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" name="Google Shape;351;p13"/>
            <p:cNvSpPr/>
            <p:nvPr/>
          </p:nvSpPr>
          <p:spPr>
            <a:xfrm>
              <a:off x="7014156" y="3298709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" name="Google Shape;352;p13"/>
            <p:cNvSpPr/>
            <p:nvPr/>
          </p:nvSpPr>
          <p:spPr>
            <a:xfrm>
              <a:off x="7976493" y="3396565"/>
              <a:ext cx="664692" cy="383742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353;p13"/>
            <p:cNvSpPr/>
            <p:nvPr/>
          </p:nvSpPr>
          <p:spPr>
            <a:xfrm>
              <a:off x="7912754" y="3450709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4" name="Google Shape;354;p13"/>
            <p:cNvSpPr/>
            <p:nvPr/>
          </p:nvSpPr>
          <p:spPr>
            <a:xfrm>
              <a:off x="7863331" y="3479190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5" name="Google Shape;355;p13"/>
            <p:cNvSpPr/>
            <p:nvPr/>
          </p:nvSpPr>
          <p:spPr>
            <a:xfrm>
              <a:off x="7813984" y="3507747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6" name="Google Shape;356;p13"/>
            <p:cNvSpPr/>
            <p:nvPr/>
          </p:nvSpPr>
          <p:spPr>
            <a:xfrm>
              <a:off x="7451727" y="3699575"/>
              <a:ext cx="664616" cy="38374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Google Shape;357;p13"/>
            <p:cNvSpPr/>
            <p:nvPr/>
          </p:nvSpPr>
          <p:spPr>
            <a:xfrm>
              <a:off x="7387988" y="3753643"/>
              <a:ext cx="593293" cy="342595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358;p13"/>
            <p:cNvSpPr/>
            <p:nvPr/>
          </p:nvSpPr>
          <p:spPr>
            <a:xfrm>
              <a:off x="7338565" y="3782200"/>
              <a:ext cx="582091" cy="33604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359;p13"/>
            <p:cNvSpPr/>
            <p:nvPr/>
          </p:nvSpPr>
          <p:spPr>
            <a:xfrm>
              <a:off x="7289218" y="3810681"/>
              <a:ext cx="496671" cy="286816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Google Shape;360;p13"/>
            <p:cNvSpPr/>
            <p:nvPr/>
          </p:nvSpPr>
          <p:spPr>
            <a:xfrm>
              <a:off x="7582329" y="3561435"/>
              <a:ext cx="337413" cy="194766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361;p13"/>
            <p:cNvSpPr/>
            <p:nvPr/>
          </p:nvSpPr>
          <p:spPr>
            <a:xfrm>
              <a:off x="7800200" y="3687162"/>
              <a:ext cx="337413" cy="194843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Google Shape;362;p13"/>
            <p:cNvSpPr/>
            <p:nvPr/>
          </p:nvSpPr>
          <p:spPr>
            <a:xfrm>
              <a:off x="8018073" y="3812966"/>
              <a:ext cx="337413" cy="194843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" name="Google Shape;363;p13"/>
            <p:cNvSpPr/>
            <p:nvPr/>
          </p:nvSpPr>
          <p:spPr>
            <a:xfrm>
              <a:off x="7794459" y="3551002"/>
              <a:ext cx="540846" cy="312343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" name="Google Shape;364;p13"/>
            <p:cNvSpPr/>
            <p:nvPr/>
          </p:nvSpPr>
          <p:spPr>
            <a:xfrm>
              <a:off x="7824798" y="3491907"/>
              <a:ext cx="470058" cy="181410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Google Shape;365;p13"/>
            <p:cNvSpPr/>
            <p:nvPr/>
          </p:nvSpPr>
          <p:spPr>
            <a:xfrm>
              <a:off x="7794490" y="3623727"/>
              <a:ext cx="41071" cy="82677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6" name="Google Shape;366;p13"/>
            <p:cNvSpPr/>
            <p:nvPr/>
          </p:nvSpPr>
          <p:spPr>
            <a:xfrm>
              <a:off x="8298847" y="3624184"/>
              <a:ext cx="36118" cy="82219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7" name="Google Shape;367;p13"/>
            <p:cNvSpPr/>
            <p:nvPr/>
          </p:nvSpPr>
          <p:spPr>
            <a:xfrm>
              <a:off x="7842237" y="3535238"/>
              <a:ext cx="450190" cy="259842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368;p13"/>
            <p:cNvSpPr/>
            <p:nvPr/>
          </p:nvSpPr>
          <p:spPr>
            <a:xfrm>
              <a:off x="7815050" y="3673683"/>
              <a:ext cx="491790" cy="17643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" name="Google Shape;369;p13"/>
            <p:cNvSpPr/>
            <p:nvPr/>
          </p:nvSpPr>
          <p:spPr>
            <a:xfrm>
              <a:off x="7794490" y="3472184"/>
              <a:ext cx="540791" cy="312391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0" name="Google Shape;370;p13"/>
            <p:cNvSpPr/>
            <p:nvPr/>
          </p:nvSpPr>
          <p:spPr>
            <a:xfrm rot="-1800688">
              <a:off x="7461681" y="3958751"/>
              <a:ext cx="59415" cy="10283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" name="Google Shape;371;p13"/>
            <p:cNvSpPr/>
            <p:nvPr/>
          </p:nvSpPr>
          <p:spPr>
            <a:xfrm>
              <a:off x="7752377" y="3752957"/>
              <a:ext cx="148970" cy="86030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" name="Google Shape;372;p13"/>
            <p:cNvSpPr/>
            <p:nvPr/>
          </p:nvSpPr>
          <p:spPr>
            <a:xfrm>
              <a:off x="7787483" y="3773138"/>
              <a:ext cx="113842" cy="106298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3" name="Google Shape;373;p13"/>
            <p:cNvSpPr/>
            <p:nvPr/>
          </p:nvSpPr>
          <p:spPr>
            <a:xfrm>
              <a:off x="7465892" y="3799784"/>
              <a:ext cx="345033" cy="254286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4" name="Google Shape;374;p13"/>
            <p:cNvSpPr/>
            <p:nvPr/>
          </p:nvSpPr>
          <p:spPr>
            <a:xfrm rot="-1800688">
              <a:off x="7461681" y="3958751"/>
              <a:ext cx="59415" cy="10283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351800"/>
            <a:ext cx="5869459" cy="3284950"/>
          </a:xfrm>
        </p:spPr>
        <p:txBody>
          <a:bodyPr/>
          <a:lstStyle/>
          <a:p>
            <a:r>
              <a:rPr lang="en-CA" sz="1600" dirty="0"/>
              <a:t>To understand job availability in different countries: </a:t>
            </a:r>
          </a:p>
          <a:p>
            <a:pPr lvl="1"/>
            <a:r>
              <a:rPr lang="en-CA" sz="1600" dirty="0"/>
              <a:t>Canada</a:t>
            </a:r>
          </a:p>
          <a:p>
            <a:pPr lvl="1"/>
            <a:r>
              <a:rPr lang="en-CA" sz="1600" dirty="0"/>
              <a:t>United States</a:t>
            </a:r>
          </a:p>
          <a:p>
            <a:pPr lvl="1"/>
            <a:r>
              <a:rPr lang="en-CA" sz="1600" dirty="0"/>
              <a:t>Singapore</a:t>
            </a:r>
          </a:p>
          <a:p>
            <a:pPr lvl="1"/>
            <a:r>
              <a:rPr lang="en-CA" sz="1600" dirty="0"/>
              <a:t>Australia </a:t>
            </a:r>
          </a:p>
          <a:p>
            <a:r>
              <a:rPr lang="en-CA" sz="1600" dirty="0"/>
              <a:t>To understand job availability by job types: </a:t>
            </a:r>
          </a:p>
          <a:p>
            <a:pPr lvl="1"/>
            <a:r>
              <a:rPr lang="en-CA" sz="1600" dirty="0"/>
              <a:t>Data Analyst </a:t>
            </a:r>
          </a:p>
          <a:p>
            <a:pPr lvl="1"/>
            <a:r>
              <a:rPr lang="en-CA" sz="1600" dirty="0"/>
              <a:t>Data Scientist </a:t>
            </a:r>
          </a:p>
          <a:p>
            <a:pPr lvl="1"/>
            <a:r>
              <a:rPr lang="en-CA" sz="1600" dirty="0"/>
              <a:t>Data Engineer</a:t>
            </a:r>
          </a:p>
          <a:p>
            <a:pPr lvl="1"/>
            <a:r>
              <a:rPr lang="en-CA" sz="1600" dirty="0"/>
              <a:t>Machine Learning roles</a:t>
            </a:r>
          </a:p>
        </p:txBody>
      </p:sp>
    </p:spTree>
    <p:extLst>
      <p:ext uri="{BB962C8B-B14F-4D97-AF65-F5344CB8AC3E}">
        <p14:creationId xmlns:p14="http://schemas.microsoft.com/office/powerpoint/2010/main" val="482520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TL Proces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1420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extrac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transforma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loading and storage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2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408" name="Google Shape;408;p15"/>
          <p:cNvGrpSpPr/>
          <p:nvPr/>
        </p:nvGrpSpPr>
        <p:grpSpPr>
          <a:xfrm>
            <a:off x="5435079" y="912423"/>
            <a:ext cx="3239723" cy="3318665"/>
            <a:chOff x="2270525" y="117216"/>
            <a:chExt cx="4650765" cy="4762722"/>
          </a:xfrm>
        </p:grpSpPr>
        <p:sp>
          <p:nvSpPr>
            <p:cNvPr id="409" name="Google Shape;409;p15"/>
            <p:cNvSpPr/>
            <p:nvPr/>
          </p:nvSpPr>
          <p:spPr>
            <a:xfrm>
              <a:off x="2270525" y="2788917"/>
              <a:ext cx="1367464" cy="791146"/>
            </a:xfrm>
            <a:custGeom>
              <a:avLst/>
              <a:gdLst/>
              <a:ahLst/>
              <a:cxnLst/>
              <a:rect l="l" t="t" r="r" b="b"/>
              <a:pathLst>
                <a:path w="1367464" h="791146" extrusionOk="0">
                  <a:moveTo>
                    <a:pt x="1367464" y="395573"/>
                  </a:moveTo>
                  <a:cubicBezTo>
                    <a:pt x="1367464" y="614042"/>
                    <a:pt x="1061347" y="791146"/>
                    <a:pt x="683732" y="791146"/>
                  </a:cubicBezTo>
                  <a:cubicBezTo>
                    <a:pt x="306117" y="791146"/>
                    <a:pt x="0" y="614042"/>
                    <a:pt x="0" y="395573"/>
                  </a:cubicBezTo>
                  <a:cubicBezTo>
                    <a:pt x="0" y="177104"/>
                    <a:pt x="306117" y="0"/>
                    <a:pt x="683732" y="0"/>
                  </a:cubicBezTo>
                  <a:cubicBezTo>
                    <a:pt x="1061347" y="0"/>
                    <a:pt x="1367464" y="177104"/>
                    <a:pt x="1367464" y="395573"/>
                  </a:cubicBezTo>
                  <a:close/>
                </a:path>
              </a:pathLst>
            </a:custGeom>
            <a:solidFill>
              <a:srgbClr val="D6D8E5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0" name="Google Shape;410;p15"/>
            <p:cNvSpPr/>
            <p:nvPr/>
          </p:nvSpPr>
          <p:spPr>
            <a:xfrm>
              <a:off x="2565006" y="2921600"/>
              <a:ext cx="762723" cy="441198"/>
            </a:xfrm>
            <a:custGeom>
              <a:avLst/>
              <a:gdLst/>
              <a:ahLst/>
              <a:cxnLst/>
              <a:rect l="l" t="t" r="r" b="b"/>
              <a:pathLst>
                <a:path w="762723" h="441198" extrusionOk="0">
                  <a:moveTo>
                    <a:pt x="762723" y="220599"/>
                  </a:moveTo>
                  <a:cubicBezTo>
                    <a:pt x="762723" y="342432"/>
                    <a:pt x="591982" y="441198"/>
                    <a:pt x="381362" y="441198"/>
                  </a:cubicBezTo>
                  <a:cubicBezTo>
                    <a:pt x="170741" y="441198"/>
                    <a:pt x="0" y="342432"/>
                    <a:pt x="0" y="220599"/>
                  </a:cubicBezTo>
                  <a:cubicBezTo>
                    <a:pt x="0" y="98765"/>
                    <a:pt x="170741" y="0"/>
                    <a:pt x="381362" y="0"/>
                  </a:cubicBezTo>
                  <a:cubicBezTo>
                    <a:pt x="591982" y="0"/>
                    <a:pt x="762723" y="98765"/>
                    <a:pt x="762723" y="220599"/>
                  </a:cubicBezTo>
                  <a:close/>
                </a:path>
              </a:pathLst>
            </a:custGeom>
            <a:solidFill>
              <a:srgbClr val="EDEFF9">
                <a:alpha val="4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1" name="Google Shape;411;p15"/>
            <p:cNvSpPr/>
            <p:nvPr/>
          </p:nvSpPr>
          <p:spPr>
            <a:xfrm>
              <a:off x="2834012" y="3000943"/>
              <a:ext cx="217486" cy="125920"/>
            </a:xfrm>
            <a:custGeom>
              <a:avLst/>
              <a:gdLst/>
              <a:ahLst/>
              <a:cxnLst/>
              <a:rect l="l" t="t" r="r" b="b"/>
              <a:pathLst>
                <a:path w="217486" h="125920" extrusionOk="0">
                  <a:moveTo>
                    <a:pt x="217486" y="62960"/>
                  </a:moveTo>
                  <a:cubicBezTo>
                    <a:pt x="217486" y="97732"/>
                    <a:pt x="168800" y="125920"/>
                    <a:pt x="108743" y="125920"/>
                  </a:cubicBezTo>
                  <a:cubicBezTo>
                    <a:pt x="48686" y="125920"/>
                    <a:pt x="0" y="97732"/>
                    <a:pt x="0" y="62960"/>
                  </a:cubicBezTo>
                  <a:cubicBezTo>
                    <a:pt x="0" y="28188"/>
                    <a:pt x="48686" y="0"/>
                    <a:pt x="108743" y="0"/>
                  </a:cubicBezTo>
                  <a:cubicBezTo>
                    <a:pt x="168800" y="0"/>
                    <a:pt x="217486" y="28188"/>
                    <a:pt x="217486" y="62960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2" name="Google Shape;412;p15"/>
            <p:cNvSpPr/>
            <p:nvPr/>
          </p:nvSpPr>
          <p:spPr>
            <a:xfrm>
              <a:off x="2841806" y="2229228"/>
              <a:ext cx="209121" cy="823531"/>
            </a:xfrm>
            <a:custGeom>
              <a:avLst/>
              <a:gdLst/>
              <a:ahLst/>
              <a:cxnLst/>
              <a:rect l="l" t="t" r="r" b="b"/>
              <a:pathLst>
                <a:path w="209121" h="823531" extrusionOk="0">
                  <a:moveTo>
                    <a:pt x="0" y="0"/>
                  </a:moveTo>
                  <a:lnTo>
                    <a:pt x="209121" y="0"/>
                  </a:lnTo>
                  <a:lnTo>
                    <a:pt x="209121" y="823532"/>
                  </a:lnTo>
                  <a:lnTo>
                    <a:pt x="0" y="823532"/>
                  </a:ln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3" name="Google Shape;413;p15"/>
            <p:cNvSpPr/>
            <p:nvPr/>
          </p:nvSpPr>
          <p:spPr>
            <a:xfrm>
              <a:off x="2831826" y="2112223"/>
              <a:ext cx="249895" cy="580777"/>
            </a:xfrm>
            <a:custGeom>
              <a:avLst/>
              <a:gdLst/>
              <a:ahLst/>
              <a:cxnLst/>
              <a:rect l="l" t="t" r="r" b="b"/>
              <a:pathLst>
                <a:path w="249895" h="580777" extrusionOk="0">
                  <a:moveTo>
                    <a:pt x="0" y="107670"/>
                  </a:moveTo>
                  <a:cubicBezTo>
                    <a:pt x="0" y="107670"/>
                    <a:pt x="5703" y="277025"/>
                    <a:pt x="125948" y="580777"/>
                  </a:cubicBezTo>
                  <a:cubicBezTo>
                    <a:pt x="125948" y="580777"/>
                    <a:pt x="237923" y="336175"/>
                    <a:pt x="249520" y="102527"/>
                  </a:cubicBezTo>
                  <a:cubicBezTo>
                    <a:pt x="261117" y="-131122"/>
                    <a:pt x="0" y="107670"/>
                    <a:pt x="0" y="107670"/>
                  </a:cubicBezTo>
                  <a:close/>
                </a:path>
              </a:pathLst>
            </a:custGeom>
            <a:solidFill>
              <a:srgbClr val="FFBC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4" name="Google Shape;414;p15"/>
            <p:cNvSpPr/>
            <p:nvPr/>
          </p:nvSpPr>
          <p:spPr>
            <a:xfrm>
              <a:off x="2373659" y="1582290"/>
              <a:ext cx="397711" cy="625506"/>
            </a:xfrm>
            <a:custGeom>
              <a:avLst/>
              <a:gdLst/>
              <a:ahLst/>
              <a:cxnLst/>
              <a:rect l="l" t="t" r="r" b="b"/>
              <a:pathLst>
                <a:path w="397711" h="625506" extrusionOk="0">
                  <a:moveTo>
                    <a:pt x="311306" y="0"/>
                  </a:moveTo>
                  <a:lnTo>
                    <a:pt x="33079" y="271272"/>
                  </a:lnTo>
                  <a:lnTo>
                    <a:pt x="0" y="625507"/>
                  </a:lnTo>
                  <a:lnTo>
                    <a:pt x="336495" y="456438"/>
                  </a:lnTo>
                  <a:lnTo>
                    <a:pt x="397711" y="24384"/>
                  </a:lnTo>
                  <a:lnTo>
                    <a:pt x="31130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5" name="Google Shape;415;p15"/>
            <p:cNvSpPr/>
            <p:nvPr/>
          </p:nvSpPr>
          <p:spPr>
            <a:xfrm>
              <a:off x="3144177" y="1582290"/>
              <a:ext cx="397710" cy="625506"/>
            </a:xfrm>
            <a:custGeom>
              <a:avLst/>
              <a:gdLst/>
              <a:ahLst/>
              <a:cxnLst/>
              <a:rect l="l" t="t" r="r" b="b"/>
              <a:pathLst>
                <a:path w="397710" h="625506" extrusionOk="0">
                  <a:moveTo>
                    <a:pt x="86405" y="0"/>
                  </a:moveTo>
                  <a:lnTo>
                    <a:pt x="364537" y="271272"/>
                  </a:lnTo>
                  <a:lnTo>
                    <a:pt x="397711" y="625507"/>
                  </a:lnTo>
                  <a:lnTo>
                    <a:pt x="59980" y="444722"/>
                  </a:lnTo>
                  <a:lnTo>
                    <a:pt x="0" y="24384"/>
                  </a:lnTo>
                  <a:lnTo>
                    <a:pt x="8640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6" name="Google Shape;416;p15"/>
            <p:cNvSpPr/>
            <p:nvPr/>
          </p:nvSpPr>
          <p:spPr>
            <a:xfrm>
              <a:off x="2815951" y="2102641"/>
              <a:ext cx="276610" cy="160020"/>
            </a:xfrm>
            <a:custGeom>
              <a:avLst/>
              <a:gdLst/>
              <a:ahLst/>
              <a:cxnLst/>
              <a:rect l="l" t="t" r="r" b="b"/>
              <a:pathLst>
                <a:path w="276610" h="160020" extrusionOk="0">
                  <a:moveTo>
                    <a:pt x="276611" y="80010"/>
                  </a:moveTo>
                  <a:cubicBezTo>
                    <a:pt x="276611" y="124198"/>
                    <a:pt x="214689" y="160020"/>
                    <a:pt x="138305" y="160020"/>
                  </a:cubicBezTo>
                  <a:cubicBezTo>
                    <a:pt x="61921" y="160020"/>
                    <a:pt x="0" y="124198"/>
                    <a:pt x="0" y="80010"/>
                  </a:cubicBezTo>
                  <a:cubicBezTo>
                    <a:pt x="0" y="35822"/>
                    <a:pt x="61921" y="0"/>
                    <a:pt x="138305" y="0"/>
                  </a:cubicBezTo>
                  <a:cubicBezTo>
                    <a:pt x="214689" y="0"/>
                    <a:pt x="276611" y="35822"/>
                    <a:pt x="276611" y="80010"/>
                  </a:cubicBezTo>
                  <a:close/>
                </a:path>
              </a:pathLst>
            </a:custGeom>
            <a:solidFill>
              <a:srgbClr val="42495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7" name="Google Shape;417;p15"/>
            <p:cNvSpPr/>
            <p:nvPr/>
          </p:nvSpPr>
          <p:spPr>
            <a:xfrm>
              <a:off x="2744565" y="2030632"/>
              <a:ext cx="418908" cy="74675"/>
            </a:xfrm>
            <a:custGeom>
              <a:avLst/>
              <a:gdLst/>
              <a:ahLst/>
              <a:cxnLst/>
              <a:rect l="l" t="t" r="r" b="b"/>
              <a:pathLst>
                <a:path w="418908" h="74675" extrusionOk="0">
                  <a:moveTo>
                    <a:pt x="0" y="72009"/>
                  </a:moveTo>
                  <a:lnTo>
                    <a:pt x="0" y="0"/>
                  </a:lnTo>
                  <a:lnTo>
                    <a:pt x="418908" y="0"/>
                  </a:lnTo>
                  <a:lnTo>
                    <a:pt x="418908" y="74676"/>
                  </a:lnTo>
                  <a:lnTo>
                    <a:pt x="0" y="72009"/>
                  </a:lnTo>
                  <a:close/>
                </a:path>
              </a:pathLst>
            </a:custGeom>
            <a:solidFill>
              <a:srgbClr val="4949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8" name="Google Shape;418;p15"/>
            <p:cNvSpPr/>
            <p:nvPr/>
          </p:nvSpPr>
          <p:spPr>
            <a:xfrm>
              <a:off x="2744565" y="1981197"/>
              <a:ext cx="419383" cy="242697"/>
            </a:xfrm>
            <a:custGeom>
              <a:avLst/>
              <a:gdLst/>
              <a:ahLst/>
              <a:cxnLst/>
              <a:rect l="l" t="t" r="r" b="b"/>
              <a:pathLst>
                <a:path w="419383" h="242697" extrusionOk="0">
                  <a:moveTo>
                    <a:pt x="419384" y="121348"/>
                  </a:moveTo>
                  <a:cubicBezTo>
                    <a:pt x="419384" y="188367"/>
                    <a:pt x="325501" y="242697"/>
                    <a:pt x="209692" y="242697"/>
                  </a:cubicBezTo>
                  <a:cubicBezTo>
                    <a:pt x="93882" y="242697"/>
                    <a:pt x="0" y="188367"/>
                    <a:pt x="0" y="121348"/>
                  </a:cubicBezTo>
                  <a:cubicBezTo>
                    <a:pt x="0" y="54330"/>
                    <a:pt x="93882" y="0"/>
                    <a:pt x="209692" y="0"/>
                  </a:cubicBezTo>
                  <a:cubicBezTo>
                    <a:pt x="325501" y="0"/>
                    <a:pt x="419384" y="54329"/>
                    <a:pt x="419384" y="12134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9" name="Google Shape;419;p15"/>
            <p:cNvSpPr/>
            <p:nvPr/>
          </p:nvSpPr>
          <p:spPr>
            <a:xfrm>
              <a:off x="2697703" y="1845275"/>
              <a:ext cx="511777" cy="296036"/>
            </a:xfrm>
            <a:custGeom>
              <a:avLst/>
              <a:gdLst/>
              <a:ahLst/>
              <a:cxnLst/>
              <a:rect l="l" t="t" r="r" b="b"/>
              <a:pathLst>
                <a:path w="511777" h="296036" extrusionOk="0">
                  <a:moveTo>
                    <a:pt x="511777" y="148019"/>
                  </a:moveTo>
                  <a:cubicBezTo>
                    <a:pt x="511777" y="229767"/>
                    <a:pt x="397212" y="296037"/>
                    <a:pt x="255889" y="296037"/>
                  </a:cubicBezTo>
                  <a:cubicBezTo>
                    <a:pt x="114565" y="296037"/>
                    <a:pt x="0" y="229767"/>
                    <a:pt x="0" y="148019"/>
                  </a:cubicBezTo>
                  <a:cubicBezTo>
                    <a:pt x="0" y="66270"/>
                    <a:pt x="114565" y="0"/>
                    <a:pt x="255889" y="0"/>
                  </a:cubicBezTo>
                  <a:cubicBezTo>
                    <a:pt x="397212" y="0"/>
                    <a:pt x="511777" y="66270"/>
                    <a:pt x="511777" y="148019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0" name="Google Shape;420;p15"/>
            <p:cNvSpPr/>
            <p:nvPr/>
          </p:nvSpPr>
          <p:spPr>
            <a:xfrm>
              <a:off x="2681484" y="530635"/>
              <a:ext cx="548516" cy="1538895"/>
            </a:xfrm>
            <a:custGeom>
              <a:avLst/>
              <a:gdLst/>
              <a:ahLst/>
              <a:cxnLst/>
              <a:rect l="l" t="t" r="r" b="b"/>
              <a:pathLst>
                <a:path w="548516" h="1538895" extrusionOk="0">
                  <a:moveTo>
                    <a:pt x="548433" y="1199007"/>
                  </a:moveTo>
                  <a:lnTo>
                    <a:pt x="548433" y="1199007"/>
                  </a:lnTo>
                  <a:cubicBezTo>
                    <a:pt x="548433" y="1210913"/>
                    <a:pt x="548433" y="1222629"/>
                    <a:pt x="548433" y="1233964"/>
                  </a:cubicBezTo>
                  <a:cubicBezTo>
                    <a:pt x="548433" y="1243489"/>
                    <a:pt x="548433" y="1253014"/>
                    <a:pt x="548433" y="1262539"/>
                  </a:cubicBezTo>
                  <a:cubicBezTo>
                    <a:pt x="548433" y="1275398"/>
                    <a:pt x="547767" y="1287685"/>
                    <a:pt x="547292" y="1299686"/>
                  </a:cubicBezTo>
                  <a:cubicBezTo>
                    <a:pt x="547292" y="1314641"/>
                    <a:pt x="546246" y="1328833"/>
                    <a:pt x="545486" y="1342454"/>
                  </a:cubicBezTo>
                  <a:cubicBezTo>
                    <a:pt x="544725" y="1356074"/>
                    <a:pt x="544060" y="1369409"/>
                    <a:pt x="543109" y="1381697"/>
                  </a:cubicBezTo>
                  <a:cubicBezTo>
                    <a:pt x="539212" y="1435513"/>
                    <a:pt x="539307" y="1475137"/>
                    <a:pt x="532653" y="1490662"/>
                  </a:cubicBezTo>
                  <a:cubicBezTo>
                    <a:pt x="496437" y="1575530"/>
                    <a:pt x="373911" y="1528762"/>
                    <a:pt x="313456" y="1498283"/>
                  </a:cubicBezTo>
                  <a:cubicBezTo>
                    <a:pt x="291118" y="1487043"/>
                    <a:pt x="276384" y="1477804"/>
                    <a:pt x="276384" y="1477804"/>
                  </a:cubicBezTo>
                  <a:lnTo>
                    <a:pt x="270871" y="1477804"/>
                  </a:lnTo>
                  <a:cubicBezTo>
                    <a:pt x="270871" y="1477804"/>
                    <a:pt x="253381" y="1487329"/>
                    <a:pt x="227526" y="1497616"/>
                  </a:cubicBezTo>
                  <a:cubicBezTo>
                    <a:pt x="164124" y="1523333"/>
                    <a:pt x="51104" y="1568958"/>
                    <a:pt x="19735" y="1490377"/>
                  </a:cubicBezTo>
                  <a:cubicBezTo>
                    <a:pt x="14127" y="1476280"/>
                    <a:pt x="8519" y="1429703"/>
                    <a:pt x="5097" y="1380935"/>
                  </a:cubicBezTo>
                  <a:cubicBezTo>
                    <a:pt x="4241" y="1368743"/>
                    <a:pt x="3481" y="1355693"/>
                    <a:pt x="2721" y="1341787"/>
                  </a:cubicBezTo>
                  <a:cubicBezTo>
                    <a:pt x="1960" y="1327880"/>
                    <a:pt x="1580" y="1314069"/>
                    <a:pt x="1010" y="1299115"/>
                  </a:cubicBezTo>
                  <a:cubicBezTo>
                    <a:pt x="1010" y="1287208"/>
                    <a:pt x="344" y="1274921"/>
                    <a:pt x="59" y="1262158"/>
                  </a:cubicBezTo>
                  <a:cubicBezTo>
                    <a:pt x="59" y="1252633"/>
                    <a:pt x="59" y="1243108"/>
                    <a:pt x="59" y="1233583"/>
                  </a:cubicBezTo>
                  <a:lnTo>
                    <a:pt x="59" y="1233583"/>
                  </a:lnTo>
                  <a:lnTo>
                    <a:pt x="59" y="1198626"/>
                  </a:lnTo>
                  <a:lnTo>
                    <a:pt x="59" y="1198626"/>
                  </a:lnTo>
                  <a:cubicBezTo>
                    <a:pt x="-1652" y="866299"/>
                    <a:pt x="33518" y="334899"/>
                    <a:pt x="149676" y="108109"/>
                  </a:cubicBezTo>
                  <a:cubicBezTo>
                    <a:pt x="183230" y="42481"/>
                    <a:pt x="223534" y="2381"/>
                    <a:pt x="271727" y="0"/>
                  </a:cubicBezTo>
                  <a:lnTo>
                    <a:pt x="271727" y="0"/>
                  </a:lnTo>
                  <a:lnTo>
                    <a:pt x="277240" y="0"/>
                  </a:lnTo>
                  <a:lnTo>
                    <a:pt x="277240" y="0"/>
                  </a:lnTo>
                  <a:cubicBezTo>
                    <a:pt x="324768" y="2476"/>
                    <a:pt x="365546" y="42386"/>
                    <a:pt x="399196" y="107728"/>
                  </a:cubicBezTo>
                  <a:cubicBezTo>
                    <a:pt x="513737" y="333661"/>
                    <a:pt x="550524" y="862965"/>
                    <a:pt x="548433" y="1199007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1" name="Google Shape;421;p15"/>
            <p:cNvSpPr/>
            <p:nvPr/>
          </p:nvSpPr>
          <p:spPr>
            <a:xfrm>
              <a:off x="2858251" y="1222531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9"/>
                    <a:pt x="96671" y="193739"/>
                  </a:cubicBezTo>
                  <a:cubicBezTo>
                    <a:pt x="43281" y="193739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2" name="Google Shape;422;p15"/>
            <p:cNvSpPr/>
            <p:nvPr/>
          </p:nvSpPr>
          <p:spPr>
            <a:xfrm>
              <a:off x="2844088" y="1208338"/>
              <a:ext cx="221668" cy="222122"/>
            </a:xfrm>
            <a:custGeom>
              <a:avLst/>
              <a:gdLst/>
              <a:ahLst/>
              <a:cxnLst/>
              <a:rect l="l" t="t" r="r" b="b"/>
              <a:pathLst>
                <a:path w="221668" h="222122" extrusionOk="0">
                  <a:moveTo>
                    <a:pt x="110834" y="222123"/>
                  </a:moveTo>
                  <a:cubicBezTo>
                    <a:pt x="49623" y="222123"/>
                    <a:pt x="0" y="172402"/>
                    <a:pt x="0" y="111061"/>
                  </a:cubicBezTo>
                  <a:cubicBezTo>
                    <a:pt x="0" y="49720"/>
                    <a:pt x="49623" y="0"/>
                    <a:pt x="110834" y="0"/>
                  </a:cubicBezTo>
                  <a:cubicBezTo>
                    <a:pt x="172046" y="0"/>
                    <a:pt x="221669" y="49720"/>
                    <a:pt x="221669" y="111061"/>
                  </a:cubicBezTo>
                  <a:cubicBezTo>
                    <a:pt x="221617" y="172374"/>
                    <a:pt x="172025" y="222066"/>
                    <a:pt x="110834" y="222123"/>
                  </a:cubicBezTo>
                  <a:close/>
                  <a:moveTo>
                    <a:pt x="110834" y="28384"/>
                  </a:moveTo>
                  <a:cubicBezTo>
                    <a:pt x="65267" y="28327"/>
                    <a:pt x="28284" y="65303"/>
                    <a:pt x="28231" y="110966"/>
                  </a:cubicBezTo>
                  <a:cubicBezTo>
                    <a:pt x="28179" y="156629"/>
                    <a:pt x="65077" y="193681"/>
                    <a:pt x="110644" y="193738"/>
                  </a:cubicBezTo>
                  <a:cubicBezTo>
                    <a:pt x="156212" y="193796"/>
                    <a:pt x="193195" y="156820"/>
                    <a:pt x="193247" y="111157"/>
                  </a:cubicBezTo>
                  <a:cubicBezTo>
                    <a:pt x="193247" y="111128"/>
                    <a:pt x="193247" y="111090"/>
                    <a:pt x="193247" y="111061"/>
                  </a:cubicBezTo>
                  <a:cubicBezTo>
                    <a:pt x="193195" y="65456"/>
                    <a:pt x="156343" y="28489"/>
                    <a:pt x="110834" y="28384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3" name="Google Shape;423;p15"/>
            <p:cNvSpPr/>
            <p:nvPr/>
          </p:nvSpPr>
          <p:spPr>
            <a:xfrm>
              <a:off x="2858251" y="937733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8"/>
                    <a:pt x="96671" y="193738"/>
                  </a:cubicBezTo>
                  <a:cubicBezTo>
                    <a:pt x="43281" y="193738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4" name="Google Shape;424;p15"/>
            <p:cNvSpPr/>
            <p:nvPr/>
          </p:nvSpPr>
          <p:spPr>
            <a:xfrm>
              <a:off x="2843898" y="923636"/>
              <a:ext cx="221858" cy="222313"/>
            </a:xfrm>
            <a:custGeom>
              <a:avLst/>
              <a:gdLst/>
              <a:ahLst/>
              <a:cxnLst/>
              <a:rect l="l" t="t" r="r" b="b"/>
              <a:pathLst>
                <a:path w="221858" h="222313" extrusionOk="0">
                  <a:moveTo>
                    <a:pt x="111025" y="222314"/>
                  </a:moveTo>
                  <a:cubicBezTo>
                    <a:pt x="49760" y="222371"/>
                    <a:pt x="52" y="172641"/>
                    <a:pt x="0" y="111252"/>
                  </a:cubicBezTo>
                  <a:cubicBezTo>
                    <a:pt x="-52" y="49861"/>
                    <a:pt x="49570" y="52"/>
                    <a:pt x="110834" y="0"/>
                  </a:cubicBezTo>
                  <a:cubicBezTo>
                    <a:pt x="172062" y="-52"/>
                    <a:pt x="221754" y="49614"/>
                    <a:pt x="221859" y="110966"/>
                  </a:cubicBezTo>
                  <a:cubicBezTo>
                    <a:pt x="221911" y="172374"/>
                    <a:pt x="172305" y="222209"/>
                    <a:pt x="111025" y="222314"/>
                  </a:cubicBezTo>
                  <a:close/>
                  <a:moveTo>
                    <a:pt x="111025" y="28575"/>
                  </a:moveTo>
                  <a:cubicBezTo>
                    <a:pt x="65457" y="28523"/>
                    <a:pt x="28474" y="65496"/>
                    <a:pt x="28422" y="111157"/>
                  </a:cubicBezTo>
                  <a:cubicBezTo>
                    <a:pt x="28369" y="156820"/>
                    <a:pt x="65267" y="193872"/>
                    <a:pt x="110834" y="193929"/>
                  </a:cubicBezTo>
                  <a:cubicBezTo>
                    <a:pt x="156402" y="193986"/>
                    <a:pt x="193385" y="157010"/>
                    <a:pt x="193437" y="111347"/>
                  </a:cubicBezTo>
                  <a:cubicBezTo>
                    <a:pt x="193437" y="111283"/>
                    <a:pt x="193437" y="111221"/>
                    <a:pt x="193437" y="111157"/>
                  </a:cubicBezTo>
                  <a:cubicBezTo>
                    <a:pt x="193490" y="65496"/>
                    <a:pt x="156592" y="28437"/>
                    <a:pt x="111025" y="28385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5" name="Google Shape;425;p15"/>
            <p:cNvSpPr/>
            <p:nvPr/>
          </p:nvSpPr>
          <p:spPr>
            <a:xfrm>
              <a:off x="2680593" y="1921189"/>
              <a:ext cx="549324" cy="167997"/>
            </a:xfrm>
            <a:custGeom>
              <a:avLst/>
              <a:gdLst/>
              <a:ahLst/>
              <a:cxnLst/>
              <a:rect l="l" t="t" r="r" b="b"/>
              <a:pathLst>
                <a:path w="549324" h="167997" extrusionOk="0">
                  <a:moveTo>
                    <a:pt x="549324" y="0"/>
                  </a:moveTo>
                  <a:cubicBezTo>
                    <a:pt x="549324" y="11906"/>
                    <a:pt x="549324" y="23622"/>
                    <a:pt x="549324" y="35052"/>
                  </a:cubicBezTo>
                  <a:cubicBezTo>
                    <a:pt x="539819" y="66484"/>
                    <a:pt x="513964" y="96583"/>
                    <a:pt x="471949" y="120777"/>
                  </a:cubicBezTo>
                  <a:cubicBezTo>
                    <a:pt x="363016" y="183737"/>
                    <a:pt x="186784" y="183737"/>
                    <a:pt x="77375" y="120777"/>
                  </a:cubicBezTo>
                  <a:cubicBezTo>
                    <a:pt x="35361" y="96393"/>
                    <a:pt x="9601" y="66199"/>
                    <a:pt x="0" y="35052"/>
                  </a:cubicBezTo>
                  <a:lnTo>
                    <a:pt x="0" y="35052"/>
                  </a:lnTo>
                  <a:lnTo>
                    <a:pt x="0" y="95"/>
                  </a:lnTo>
                  <a:cubicBezTo>
                    <a:pt x="9506" y="32099"/>
                    <a:pt x="35170" y="62579"/>
                    <a:pt x="77755" y="87249"/>
                  </a:cubicBezTo>
                  <a:cubicBezTo>
                    <a:pt x="186784" y="150209"/>
                    <a:pt x="363396" y="150209"/>
                    <a:pt x="472329" y="87249"/>
                  </a:cubicBezTo>
                  <a:cubicBezTo>
                    <a:pt x="514059" y="62293"/>
                    <a:pt x="540484" y="31909"/>
                    <a:pt x="54932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6" name="Google Shape;426;p15"/>
            <p:cNvSpPr/>
            <p:nvPr/>
          </p:nvSpPr>
          <p:spPr>
            <a:xfrm>
              <a:off x="2680308" y="1976244"/>
              <a:ext cx="548753" cy="165782"/>
            </a:xfrm>
            <a:custGeom>
              <a:avLst/>
              <a:gdLst/>
              <a:ahLst/>
              <a:cxnLst/>
              <a:rect l="l" t="t" r="r" b="b"/>
              <a:pathLst>
                <a:path w="548753" h="165782" extrusionOk="0">
                  <a:moveTo>
                    <a:pt x="548754" y="381"/>
                  </a:moveTo>
                  <a:cubicBezTo>
                    <a:pt x="548754" y="13145"/>
                    <a:pt x="548088" y="25527"/>
                    <a:pt x="547613" y="37433"/>
                  </a:cubicBezTo>
                  <a:cubicBezTo>
                    <a:pt x="536967" y="67151"/>
                    <a:pt x="511682" y="95441"/>
                    <a:pt x="471569" y="118491"/>
                  </a:cubicBezTo>
                  <a:cubicBezTo>
                    <a:pt x="362636" y="181546"/>
                    <a:pt x="186403" y="181546"/>
                    <a:pt x="76995" y="118491"/>
                  </a:cubicBezTo>
                  <a:cubicBezTo>
                    <a:pt x="36976" y="95250"/>
                    <a:pt x="11692" y="66770"/>
                    <a:pt x="951" y="36862"/>
                  </a:cubicBezTo>
                  <a:cubicBezTo>
                    <a:pt x="951" y="24955"/>
                    <a:pt x="285" y="12668"/>
                    <a:pt x="0" y="0"/>
                  </a:cubicBezTo>
                  <a:cubicBezTo>
                    <a:pt x="9506" y="31051"/>
                    <a:pt x="35456" y="60579"/>
                    <a:pt x="76900" y="84582"/>
                  </a:cubicBezTo>
                  <a:cubicBezTo>
                    <a:pt x="185928" y="147638"/>
                    <a:pt x="362541" y="147638"/>
                    <a:pt x="471474" y="84582"/>
                  </a:cubicBezTo>
                  <a:cubicBezTo>
                    <a:pt x="513108" y="60674"/>
                    <a:pt x="538773" y="31242"/>
                    <a:pt x="548754" y="38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7" name="Google Shape;427;p15"/>
            <p:cNvSpPr/>
            <p:nvPr/>
          </p:nvSpPr>
          <p:spPr>
            <a:xfrm>
              <a:off x="2683349" y="1877470"/>
              <a:ext cx="542765" cy="158087"/>
            </a:xfrm>
            <a:custGeom>
              <a:avLst/>
              <a:gdLst/>
              <a:ahLst/>
              <a:cxnLst/>
              <a:rect l="l" t="t" r="r" b="b"/>
              <a:pathLst>
                <a:path w="542765" h="158087" extrusionOk="0">
                  <a:moveTo>
                    <a:pt x="542765" y="762"/>
                  </a:moveTo>
                  <a:cubicBezTo>
                    <a:pt x="531264" y="28670"/>
                    <a:pt x="506549" y="55245"/>
                    <a:pt x="468812" y="76962"/>
                  </a:cubicBezTo>
                  <a:cubicBezTo>
                    <a:pt x="359879" y="139922"/>
                    <a:pt x="183647" y="139922"/>
                    <a:pt x="74238" y="76962"/>
                  </a:cubicBezTo>
                  <a:cubicBezTo>
                    <a:pt x="36216" y="54864"/>
                    <a:pt x="11502" y="28194"/>
                    <a:pt x="0" y="0"/>
                  </a:cubicBezTo>
                  <a:cubicBezTo>
                    <a:pt x="760" y="13906"/>
                    <a:pt x="1521" y="26956"/>
                    <a:pt x="2376" y="39148"/>
                  </a:cubicBezTo>
                  <a:cubicBezTo>
                    <a:pt x="14639" y="65437"/>
                    <a:pt x="38592" y="90202"/>
                    <a:pt x="74238" y="110871"/>
                  </a:cubicBezTo>
                  <a:cubicBezTo>
                    <a:pt x="120732" y="136255"/>
                    <a:pt x="172028" y="151571"/>
                    <a:pt x="224806" y="155829"/>
                  </a:cubicBezTo>
                  <a:cubicBezTo>
                    <a:pt x="253246" y="158601"/>
                    <a:pt x="281876" y="158820"/>
                    <a:pt x="310355" y="156496"/>
                  </a:cubicBezTo>
                  <a:cubicBezTo>
                    <a:pt x="365732" y="152991"/>
                    <a:pt x="419677" y="137417"/>
                    <a:pt x="468432" y="110871"/>
                  </a:cubicBezTo>
                  <a:cubicBezTo>
                    <a:pt x="503793" y="90392"/>
                    <a:pt x="527652" y="65913"/>
                    <a:pt x="540009" y="399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8" name="Google Shape;428;p15"/>
            <p:cNvSpPr/>
            <p:nvPr/>
          </p:nvSpPr>
          <p:spPr>
            <a:xfrm>
              <a:off x="2829449" y="530444"/>
              <a:ext cx="249519" cy="126863"/>
            </a:xfrm>
            <a:custGeom>
              <a:avLst/>
              <a:gdLst/>
              <a:ahLst/>
              <a:cxnLst/>
              <a:rect l="l" t="t" r="r" b="b"/>
              <a:pathLst>
                <a:path w="249519" h="126863" extrusionOk="0">
                  <a:moveTo>
                    <a:pt x="249520" y="108109"/>
                  </a:moveTo>
                  <a:cubicBezTo>
                    <a:pt x="168218" y="133115"/>
                    <a:pt x="81302" y="133115"/>
                    <a:pt x="0" y="108109"/>
                  </a:cubicBezTo>
                  <a:cubicBezTo>
                    <a:pt x="33555" y="42481"/>
                    <a:pt x="73858" y="2381"/>
                    <a:pt x="122051" y="0"/>
                  </a:cubicBezTo>
                  <a:lnTo>
                    <a:pt x="122051" y="0"/>
                  </a:lnTo>
                  <a:lnTo>
                    <a:pt x="127564" y="0"/>
                  </a:lnTo>
                  <a:lnTo>
                    <a:pt x="127564" y="0"/>
                  </a:lnTo>
                  <a:cubicBezTo>
                    <a:pt x="175567" y="2857"/>
                    <a:pt x="215870" y="42767"/>
                    <a:pt x="249520" y="108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9" name="Google Shape;429;p15"/>
            <p:cNvSpPr/>
            <p:nvPr/>
          </p:nvSpPr>
          <p:spPr>
            <a:xfrm>
              <a:off x="2934010" y="1583052"/>
              <a:ext cx="47432" cy="623982"/>
            </a:xfrm>
            <a:custGeom>
              <a:avLst/>
              <a:gdLst/>
              <a:ahLst/>
              <a:cxnLst/>
              <a:rect l="l" t="t" r="r" b="b"/>
              <a:pathLst>
                <a:path w="47432" h="623982" extrusionOk="0">
                  <a:moveTo>
                    <a:pt x="0" y="0"/>
                  </a:moveTo>
                  <a:lnTo>
                    <a:pt x="47433" y="0"/>
                  </a:lnTo>
                  <a:lnTo>
                    <a:pt x="47433" y="623983"/>
                  </a:lnTo>
                  <a:lnTo>
                    <a:pt x="0" y="6239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30" name="Google Shape;430;p15"/>
            <p:cNvGrpSpPr/>
            <p:nvPr/>
          </p:nvGrpSpPr>
          <p:grpSpPr>
            <a:xfrm>
              <a:off x="4031993" y="117216"/>
              <a:ext cx="2889297" cy="3901793"/>
              <a:chOff x="5533368" y="1047716"/>
              <a:chExt cx="2889297" cy="3901793"/>
            </a:xfrm>
          </p:grpSpPr>
          <p:sp>
            <p:nvSpPr>
              <p:cNvPr id="431" name="Google Shape;431;p15"/>
              <p:cNvSpPr/>
              <p:nvPr/>
            </p:nvSpPr>
            <p:spPr>
              <a:xfrm>
                <a:off x="6153722" y="4072604"/>
                <a:ext cx="1090544" cy="630910"/>
              </a:xfrm>
              <a:custGeom>
                <a:avLst/>
                <a:gdLst/>
                <a:ahLst/>
                <a:cxnLst/>
                <a:rect l="l" t="t" r="r" b="b"/>
                <a:pathLst>
                  <a:path w="1090544" h="630910" extrusionOk="0">
                    <a:moveTo>
                      <a:pt x="578197" y="615410"/>
                    </a:moveTo>
                    <a:lnTo>
                      <a:pt x="26877" y="296418"/>
                    </a:lnTo>
                    <a:cubicBezTo>
                      <a:pt x="-12951" y="273367"/>
                      <a:pt x="-7913" y="233172"/>
                      <a:pt x="37998" y="206597"/>
                    </a:cubicBezTo>
                    <a:lnTo>
                      <a:pt x="395216" y="0"/>
                    </a:lnTo>
                    <a:lnTo>
                      <a:pt x="1090545" y="402241"/>
                    </a:lnTo>
                    <a:lnTo>
                      <a:pt x="733327" y="608933"/>
                    </a:lnTo>
                    <a:cubicBezTo>
                      <a:pt x="687320" y="635508"/>
                      <a:pt x="617930" y="638365"/>
                      <a:pt x="578197" y="615410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2" name="Google Shape;432;p15"/>
              <p:cNvSpPr/>
              <p:nvPr/>
            </p:nvSpPr>
            <p:spPr>
              <a:xfrm>
                <a:off x="6193969" y="4048886"/>
                <a:ext cx="1090601" cy="630901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01" extrusionOk="0">
                    <a:moveTo>
                      <a:pt x="578158" y="615410"/>
                    </a:moveTo>
                    <a:lnTo>
                      <a:pt x="26838" y="296323"/>
                    </a:lnTo>
                    <a:cubicBezTo>
                      <a:pt x="-12895" y="273368"/>
                      <a:pt x="-7952" y="233172"/>
                      <a:pt x="37960" y="206597"/>
                    </a:cubicBezTo>
                    <a:lnTo>
                      <a:pt x="395272" y="0"/>
                    </a:lnTo>
                    <a:lnTo>
                      <a:pt x="1090601" y="402241"/>
                    </a:lnTo>
                    <a:lnTo>
                      <a:pt x="733764" y="608838"/>
                    </a:lnTo>
                    <a:cubicBezTo>
                      <a:pt x="687377" y="635508"/>
                      <a:pt x="617891" y="638366"/>
                      <a:pt x="578158" y="61541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3" name="Google Shape;433;p15"/>
              <p:cNvSpPr/>
              <p:nvPr/>
            </p:nvSpPr>
            <p:spPr>
              <a:xfrm>
                <a:off x="7252346" y="4430077"/>
                <a:ext cx="32128" cy="21050"/>
              </a:xfrm>
              <a:custGeom>
                <a:avLst/>
                <a:gdLst/>
                <a:ahLst/>
                <a:cxnLst/>
                <a:rect l="l" t="t" r="r" b="b"/>
                <a:pathLst>
                  <a:path w="32128" h="21050" extrusionOk="0">
                    <a:moveTo>
                      <a:pt x="32129" y="21050"/>
                    </a:moveTo>
                    <a:lnTo>
                      <a:pt x="32129" y="0"/>
                    </a:lnTo>
                    <a:lnTo>
                      <a:pt x="0" y="18574"/>
                    </a:lnTo>
                    <a:lnTo>
                      <a:pt x="32129" y="2105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4" name="Google Shape;434;p15"/>
              <p:cNvSpPr/>
              <p:nvPr/>
            </p:nvSpPr>
            <p:spPr>
              <a:xfrm>
                <a:off x="6193906" y="4285773"/>
                <a:ext cx="32984" cy="21431"/>
              </a:xfrm>
              <a:custGeom>
                <a:avLst/>
                <a:gdLst/>
                <a:ahLst/>
                <a:cxnLst/>
                <a:rect l="l" t="t" r="r" b="b"/>
                <a:pathLst>
                  <a:path w="32984" h="21431" extrusionOk="0">
                    <a:moveTo>
                      <a:pt x="0" y="21431"/>
                    </a:moveTo>
                    <a:lnTo>
                      <a:pt x="0" y="0"/>
                    </a:lnTo>
                    <a:lnTo>
                      <a:pt x="32984" y="13716"/>
                    </a:lnTo>
                    <a:lnTo>
                      <a:pt x="0" y="214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5" name="Google Shape;435;p15"/>
              <p:cNvSpPr/>
              <p:nvPr/>
            </p:nvSpPr>
            <p:spPr>
              <a:xfrm>
                <a:off x="6193969" y="4027741"/>
                <a:ext cx="1090601" cy="630949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49" extrusionOk="0">
                    <a:moveTo>
                      <a:pt x="578158" y="615410"/>
                    </a:moveTo>
                    <a:lnTo>
                      <a:pt x="26838" y="296418"/>
                    </a:lnTo>
                    <a:cubicBezTo>
                      <a:pt x="-12895" y="273368"/>
                      <a:pt x="-7952" y="233267"/>
                      <a:pt x="37960" y="206693"/>
                    </a:cubicBezTo>
                    <a:lnTo>
                      <a:pt x="395272" y="0"/>
                    </a:lnTo>
                    <a:lnTo>
                      <a:pt x="1090601" y="402336"/>
                    </a:lnTo>
                    <a:lnTo>
                      <a:pt x="733764" y="608934"/>
                    </a:lnTo>
                    <a:cubicBezTo>
                      <a:pt x="687377" y="635508"/>
                      <a:pt x="617891" y="638461"/>
                      <a:pt x="578158" y="615410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6" name="Google Shape;436;p15"/>
              <p:cNvSpPr/>
              <p:nvPr/>
            </p:nvSpPr>
            <p:spPr>
              <a:xfrm>
                <a:off x="6504927" y="3742563"/>
                <a:ext cx="779547" cy="687514"/>
              </a:xfrm>
              <a:custGeom>
                <a:avLst/>
                <a:gdLst/>
                <a:ahLst/>
                <a:cxnLst/>
                <a:rect l="l" t="t" r="r" b="b"/>
                <a:pathLst>
                  <a:path w="779547" h="687514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0"/>
                    </a:lnTo>
                    <a:lnTo>
                      <a:pt x="779548" y="687514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" name="Google Shape;437;p15"/>
              <p:cNvSpPr/>
              <p:nvPr/>
            </p:nvSpPr>
            <p:spPr>
              <a:xfrm>
                <a:off x="7254152" y="4405788"/>
                <a:ext cx="30322" cy="36004"/>
              </a:xfrm>
              <a:custGeom>
                <a:avLst/>
                <a:gdLst/>
                <a:ahLst/>
                <a:cxnLst/>
                <a:rect l="l" t="t" r="r" b="b"/>
                <a:pathLst>
                  <a:path w="30322" h="36004" extrusionOk="0">
                    <a:moveTo>
                      <a:pt x="9981" y="36004"/>
                    </a:moveTo>
                    <a:lnTo>
                      <a:pt x="30323" y="2428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8" name="Google Shape;438;p15"/>
              <p:cNvSpPr/>
              <p:nvPr/>
            </p:nvSpPr>
            <p:spPr>
              <a:xfrm>
                <a:off x="6482779" y="3753326"/>
                <a:ext cx="781258" cy="688466"/>
              </a:xfrm>
              <a:custGeom>
                <a:avLst/>
                <a:gdLst/>
                <a:ahLst/>
                <a:cxnLst/>
                <a:rect l="l" t="t" r="r" b="b"/>
                <a:pathLst>
                  <a:path w="781258" h="688466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1"/>
                    </a:lnTo>
                    <a:lnTo>
                      <a:pt x="781259" y="688467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9" name="Google Shape;439;p15"/>
              <p:cNvSpPr/>
              <p:nvPr/>
            </p:nvSpPr>
            <p:spPr>
              <a:xfrm>
                <a:off x="5563120" y="1047716"/>
                <a:ext cx="2859545" cy="3884751"/>
              </a:xfrm>
              <a:custGeom>
                <a:avLst/>
                <a:gdLst/>
                <a:ahLst/>
                <a:cxnLst/>
                <a:rect l="l" t="t" r="r" b="b"/>
                <a:pathLst>
                  <a:path w="2859545" h="3884751" extrusionOk="0">
                    <a:moveTo>
                      <a:pt x="2790441" y="3876709"/>
                    </a:moveTo>
                    <a:lnTo>
                      <a:pt x="69105" y="2302131"/>
                    </a:lnTo>
                    <a:cubicBezTo>
                      <a:pt x="31083" y="2280033"/>
                      <a:pt x="0" y="2220787"/>
                      <a:pt x="0" y="2169829"/>
                    </a:cubicBezTo>
                    <a:lnTo>
                      <a:pt x="0" y="60708"/>
                    </a:lnTo>
                    <a:cubicBezTo>
                      <a:pt x="0" y="9654"/>
                      <a:pt x="30988" y="-13778"/>
                      <a:pt x="69105" y="8320"/>
                    </a:cubicBezTo>
                    <a:lnTo>
                      <a:pt x="2790441" y="1582517"/>
                    </a:lnTo>
                    <a:cubicBezTo>
                      <a:pt x="2828463" y="1604615"/>
                      <a:pt x="2859546" y="1663861"/>
                      <a:pt x="2859546" y="1714819"/>
                    </a:cubicBezTo>
                    <a:lnTo>
                      <a:pt x="2859546" y="3823940"/>
                    </a:lnTo>
                    <a:cubicBezTo>
                      <a:pt x="2859261" y="3874899"/>
                      <a:pt x="2828463" y="3898330"/>
                      <a:pt x="2790441" y="3876709"/>
                    </a:cubicBez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0" name="Google Shape;440;p15"/>
              <p:cNvSpPr/>
              <p:nvPr/>
            </p:nvSpPr>
            <p:spPr>
              <a:xfrm>
                <a:off x="8367249" y="4838795"/>
                <a:ext cx="30132" cy="106965"/>
              </a:xfrm>
              <a:custGeom>
                <a:avLst/>
                <a:gdLst/>
                <a:ahLst/>
                <a:cxnLst/>
                <a:rect l="l" t="t" r="r" b="b"/>
                <a:pathLst>
                  <a:path w="30132" h="106965" extrusionOk="0">
                    <a:moveTo>
                      <a:pt x="0" y="106966"/>
                    </a:moveTo>
                    <a:lnTo>
                      <a:pt x="30132" y="89535"/>
                    </a:lnTo>
                    <a:lnTo>
                      <a:pt x="17110" y="0"/>
                    </a:lnTo>
                    <a:lnTo>
                      <a:pt x="0" y="106966"/>
                    </a:ln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1" name="Google Shape;441;p15"/>
              <p:cNvSpPr/>
              <p:nvPr/>
            </p:nvSpPr>
            <p:spPr>
              <a:xfrm>
                <a:off x="5558272" y="1051845"/>
                <a:ext cx="72337" cy="31155"/>
              </a:xfrm>
              <a:custGeom>
                <a:avLst/>
                <a:gdLst/>
                <a:ahLst/>
                <a:cxnLst/>
                <a:rect l="l" t="t" r="r" b="b"/>
                <a:pathLst>
                  <a:path w="72337" h="31155" extrusionOk="0">
                    <a:moveTo>
                      <a:pt x="0" y="17240"/>
                    </a:moveTo>
                    <a:lnTo>
                      <a:pt x="29657" y="0"/>
                    </a:lnTo>
                    <a:lnTo>
                      <a:pt x="72337" y="24479"/>
                    </a:lnTo>
                    <a:cubicBezTo>
                      <a:pt x="72337" y="24479"/>
                      <a:pt x="26901" y="31433"/>
                      <a:pt x="25760" y="31147"/>
                    </a:cubicBezTo>
                    <a:cubicBezTo>
                      <a:pt x="24619" y="30861"/>
                      <a:pt x="0" y="17240"/>
                      <a:pt x="0" y="1724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2" name="Google Shape;442;p15"/>
              <p:cNvSpPr/>
              <p:nvPr/>
            </p:nvSpPr>
            <p:spPr>
              <a:xfrm>
                <a:off x="5538216" y="1062192"/>
                <a:ext cx="2859165" cy="3884558"/>
              </a:xfrm>
              <a:custGeom>
                <a:avLst/>
                <a:gdLst/>
                <a:ahLst/>
                <a:cxnLst/>
                <a:rect l="l" t="t" r="r" b="b"/>
                <a:pathLst>
                  <a:path w="2859165" h="3884558" extrusionOk="0">
                    <a:moveTo>
                      <a:pt x="2790061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789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893" y="-13776"/>
                      <a:pt x="69105" y="8322"/>
                    </a:cubicBezTo>
                    <a:lnTo>
                      <a:pt x="2790061" y="1582519"/>
                    </a:lnTo>
                    <a:cubicBezTo>
                      <a:pt x="2828083" y="1604617"/>
                      <a:pt x="2859166" y="1663862"/>
                      <a:pt x="2859166" y="1714821"/>
                    </a:cubicBezTo>
                    <a:lnTo>
                      <a:pt x="2859166" y="3824132"/>
                    </a:lnTo>
                    <a:cubicBezTo>
                      <a:pt x="2859166" y="3874900"/>
                      <a:pt x="2828273" y="3898332"/>
                      <a:pt x="2790061" y="3876234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3" name="Google Shape;443;p15"/>
              <p:cNvSpPr/>
              <p:nvPr/>
            </p:nvSpPr>
            <p:spPr>
              <a:xfrm>
                <a:off x="5533368" y="1064955"/>
                <a:ext cx="2859260" cy="3884554"/>
              </a:xfrm>
              <a:custGeom>
                <a:avLst/>
                <a:gdLst/>
                <a:ahLst/>
                <a:cxnLst/>
                <a:rect l="l" t="t" r="r" b="b"/>
                <a:pathLst>
                  <a:path w="2859260" h="3884554" extrusionOk="0">
                    <a:moveTo>
                      <a:pt x="2790156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694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988" y="-13776"/>
                      <a:pt x="69105" y="8322"/>
                    </a:cubicBezTo>
                    <a:lnTo>
                      <a:pt x="2790156" y="1582995"/>
                    </a:lnTo>
                    <a:cubicBezTo>
                      <a:pt x="2828178" y="1604998"/>
                      <a:pt x="2859261" y="1664243"/>
                      <a:pt x="2859261" y="1715297"/>
                    </a:cubicBezTo>
                    <a:lnTo>
                      <a:pt x="2859261" y="3823847"/>
                    </a:lnTo>
                    <a:cubicBezTo>
                      <a:pt x="2859261" y="3874900"/>
                      <a:pt x="2828273" y="3898332"/>
                      <a:pt x="2790156" y="3876234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4" name="Google Shape;444;p15"/>
              <p:cNvSpPr/>
              <p:nvPr/>
            </p:nvSpPr>
            <p:spPr>
              <a:xfrm>
                <a:off x="5568443" y="1110406"/>
                <a:ext cx="2788159" cy="3702480"/>
              </a:xfrm>
              <a:custGeom>
                <a:avLst/>
                <a:gdLst/>
                <a:ahLst/>
                <a:cxnLst/>
                <a:rect l="l" t="t" r="r" b="b"/>
                <a:pathLst>
                  <a:path w="2788159" h="3702480" extrusionOk="0">
                    <a:moveTo>
                      <a:pt x="2786734" y="3702481"/>
                    </a:moveTo>
                    <a:lnTo>
                      <a:pt x="0" y="2089993"/>
                    </a:lnTo>
                    <a:lnTo>
                      <a:pt x="951" y="23640"/>
                    </a:lnTo>
                    <a:cubicBezTo>
                      <a:pt x="951" y="2494"/>
                      <a:pt x="15779" y="-6078"/>
                      <a:pt x="34030" y="4590"/>
                    </a:cubicBezTo>
                    <a:lnTo>
                      <a:pt x="2755080" y="1578691"/>
                    </a:lnTo>
                    <a:cubicBezTo>
                      <a:pt x="2774529" y="1591407"/>
                      <a:pt x="2786800" y="1612610"/>
                      <a:pt x="2788160" y="163584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5" name="Google Shape;445;p15"/>
              <p:cNvSpPr/>
              <p:nvPr/>
            </p:nvSpPr>
            <p:spPr>
              <a:xfrm>
                <a:off x="5762166" y="1403396"/>
                <a:ext cx="919754" cy="618313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13" extrusionOk="0">
                    <a:moveTo>
                      <a:pt x="906256" y="616665"/>
                    </a:moveTo>
                    <a:lnTo>
                      <a:pt x="13498" y="100220"/>
                    </a:lnTo>
                    <a:cubicBezTo>
                      <a:pt x="5142" y="94185"/>
                      <a:pt x="133" y="84538"/>
                      <a:pt x="0" y="74217"/>
                    </a:cubicBezTo>
                    <a:lnTo>
                      <a:pt x="0" y="11828"/>
                    </a:lnTo>
                    <a:cubicBezTo>
                      <a:pt x="0" y="2303"/>
                      <a:pt x="5988" y="-2745"/>
                      <a:pt x="13498" y="1541"/>
                    </a:cubicBezTo>
                    <a:lnTo>
                      <a:pt x="906256" y="517986"/>
                    </a:lnTo>
                    <a:cubicBezTo>
                      <a:pt x="914574" y="524052"/>
                      <a:pt x="919574" y="533680"/>
                      <a:pt x="919754" y="543990"/>
                    </a:cubicBezTo>
                    <a:lnTo>
                      <a:pt x="919754" y="606378"/>
                    </a:lnTo>
                    <a:cubicBezTo>
                      <a:pt x="919754" y="616380"/>
                      <a:pt x="913671" y="621047"/>
                      <a:pt x="906256" y="61666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6" name="Google Shape;446;p15"/>
              <p:cNvSpPr/>
              <p:nvPr/>
            </p:nvSpPr>
            <p:spPr>
              <a:xfrm>
                <a:off x="5766158" y="1584712"/>
                <a:ext cx="686298" cy="451951"/>
              </a:xfrm>
              <a:custGeom>
                <a:avLst/>
                <a:gdLst/>
                <a:ahLst/>
                <a:cxnLst/>
                <a:rect l="l" t="t" r="r" b="b"/>
                <a:pathLst>
                  <a:path w="686298" h="451951" extrusionOk="0">
                    <a:moveTo>
                      <a:pt x="672991" y="450304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057"/>
                    </a:lnTo>
                    <a:cubicBezTo>
                      <a:pt x="681261" y="389103"/>
                      <a:pt x="686194" y="398708"/>
                      <a:pt x="686299" y="408965"/>
                    </a:cubicBezTo>
                    <a:lnTo>
                      <a:pt x="686299" y="440017"/>
                    </a:lnTo>
                    <a:cubicBezTo>
                      <a:pt x="686299" y="450018"/>
                      <a:pt x="680405" y="454685"/>
                      <a:pt x="672991" y="45030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7" name="Google Shape;447;p15"/>
              <p:cNvSpPr/>
              <p:nvPr/>
            </p:nvSpPr>
            <p:spPr>
              <a:xfrm>
                <a:off x="5766158" y="1702632"/>
                <a:ext cx="686488" cy="45175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759" extrusionOk="0">
                    <a:moveTo>
                      <a:pt x="672991" y="450018"/>
                    </a:moveTo>
                    <a:lnTo>
                      <a:pt x="13593" y="69018"/>
                    </a:lnTo>
                    <a:cubicBezTo>
                      <a:pt x="5199" y="63044"/>
                      <a:pt x="152" y="53422"/>
                      <a:pt x="0" y="43110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343"/>
                    </a:lnTo>
                    <a:cubicBezTo>
                      <a:pt x="681337" y="389344"/>
                      <a:pt x="686337" y="398964"/>
                      <a:pt x="686489" y="409251"/>
                    </a:cubicBezTo>
                    <a:lnTo>
                      <a:pt x="686489" y="440302"/>
                    </a:lnTo>
                    <a:cubicBezTo>
                      <a:pt x="686299" y="450018"/>
                      <a:pt x="680405" y="454495"/>
                      <a:pt x="672991" y="45001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8" name="Google Shape;448;p15"/>
              <p:cNvSpPr/>
              <p:nvPr/>
            </p:nvSpPr>
            <p:spPr>
              <a:xfrm>
                <a:off x="5766158" y="1820170"/>
                <a:ext cx="562156" cy="379997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97" extrusionOk="0">
                    <a:moveTo>
                      <a:pt x="548564" y="378390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548564" y="311048"/>
                    </a:lnTo>
                    <a:cubicBezTo>
                      <a:pt x="556948" y="317077"/>
                      <a:pt x="561985" y="326717"/>
                      <a:pt x="562157" y="337051"/>
                    </a:cubicBezTo>
                    <a:lnTo>
                      <a:pt x="562157" y="368103"/>
                    </a:lnTo>
                    <a:cubicBezTo>
                      <a:pt x="562157" y="378104"/>
                      <a:pt x="556073" y="382676"/>
                      <a:pt x="548564" y="37839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9" name="Google Shape;449;p15"/>
              <p:cNvSpPr/>
              <p:nvPr/>
            </p:nvSpPr>
            <p:spPr>
              <a:xfrm>
                <a:off x="5762166" y="2639293"/>
                <a:ext cx="919754" cy="618340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40" extrusionOk="0">
                    <a:moveTo>
                      <a:pt x="906256" y="616732"/>
                    </a:moveTo>
                    <a:lnTo>
                      <a:pt x="13498" y="100287"/>
                    </a:lnTo>
                    <a:cubicBezTo>
                      <a:pt x="5142" y="94248"/>
                      <a:pt x="133" y="84609"/>
                      <a:pt x="0" y="74284"/>
                    </a:cubicBezTo>
                    <a:lnTo>
                      <a:pt x="0" y="11895"/>
                    </a:lnTo>
                    <a:cubicBezTo>
                      <a:pt x="0" y="1894"/>
                      <a:pt x="5988" y="-2678"/>
                      <a:pt x="13498" y="1608"/>
                    </a:cubicBezTo>
                    <a:lnTo>
                      <a:pt x="906256" y="518053"/>
                    </a:lnTo>
                    <a:cubicBezTo>
                      <a:pt x="914574" y="524121"/>
                      <a:pt x="919574" y="533751"/>
                      <a:pt x="919754" y="544057"/>
                    </a:cubicBezTo>
                    <a:lnTo>
                      <a:pt x="919754" y="606445"/>
                    </a:lnTo>
                    <a:cubicBezTo>
                      <a:pt x="919754" y="616447"/>
                      <a:pt x="913671" y="621019"/>
                      <a:pt x="906256" y="61673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0" name="Google Shape;450;p15"/>
              <p:cNvSpPr/>
              <p:nvPr/>
            </p:nvSpPr>
            <p:spPr>
              <a:xfrm>
                <a:off x="5766158" y="2821069"/>
                <a:ext cx="686488" cy="45151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519" extrusionOk="0">
                    <a:moveTo>
                      <a:pt x="672991" y="449910"/>
                    </a:moveTo>
                    <a:lnTo>
                      <a:pt x="13593" y="68910"/>
                    </a:lnTo>
                    <a:cubicBezTo>
                      <a:pt x="5209" y="62881"/>
                      <a:pt x="171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672991" y="382664"/>
                    </a:lnTo>
                    <a:cubicBezTo>
                      <a:pt x="681308" y="388731"/>
                      <a:pt x="686308" y="398361"/>
                      <a:pt x="686489" y="408667"/>
                    </a:cubicBezTo>
                    <a:lnTo>
                      <a:pt x="686489" y="439719"/>
                    </a:lnTo>
                    <a:cubicBezTo>
                      <a:pt x="686299" y="449625"/>
                      <a:pt x="680405" y="454197"/>
                      <a:pt x="672991" y="44991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1" name="Google Shape;451;p15"/>
              <p:cNvSpPr/>
              <p:nvPr/>
            </p:nvSpPr>
            <p:spPr>
              <a:xfrm>
                <a:off x="5766158" y="2938486"/>
                <a:ext cx="686488" cy="451826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826" extrusionOk="0">
                    <a:moveTo>
                      <a:pt x="672991" y="450223"/>
                    </a:moveTo>
                    <a:lnTo>
                      <a:pt x="13593" y="68747"/>
                    </a:lnTo>
                    <a:cubicBezTo>
                      <a:pt x="5228" y="62756"/>
                      <a:pt x="190" y="53145"/>
                      <a:pt x="0" y="42839"/>
                    </a:cubicBezTo>
                    <a:lnTo>
                      <a:pt x="0" y="11787"/>
                    </a:lnTo>
                    <a:cubicBezTo>
                      <a:pt x="0" y="2262"/>
                      <a:pt x="6084" y="-2786"/>
                      <a:pt x="13593" y="1595"/>
                    </a:cubicBezTo>
                    <a:lnTo>
                      <a:pt x="672991" y="382595"/>
                    </a:lnTo>
                    <a:cubicBezTo>
                      <a:pt x="681308" y="388663"/>
                      <a:pt x="686308" y="398293"/>
                      <a:pt x="686489" y="408599"/>
                    </a:cubicBezTo>
                    <a:lnTo>
                      <a:pt x="686489" y="439650"/>
                    </a:lnTo>
                    <a:cubicBezTo>
                      <a:pt x="686299" y="449937"/>
                      <a:pt x="680405" y="454509"/>
                      <a:pt x="672991" y="45022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2" name="Google Shape;452;p15"/>
              <p:cNvSpPr/>
              <p:nvPr/>
            </p:nvSpPr>
            <p:spPr>
              <a:xfrm>
                <a:off x="5766158" y="3056051"/>
                <a:ext cx="562156" cy="379920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20" extrusionOk="0">
                    <a:moveTo>
                      <a:pt x="548564" y="378378"/>
                    </a:moveTo>
                    <a:lnTo>
                      <a:pt x="13593" y="68910"/>
                    </a:lnTo>
                    <a:cubicBezTo>
                      <a:pt x="5199" y="62900"/>
                      <a:pt x="152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548564" y="311131"/>
                    </a:lnTo>
                    <a:cubicBezTo>
                      <a:pt x="556948" y="317161"/>
                      <a:pt x="561985" y="326800"/>
                      <a:pt x="562157" y="337134"/>
                    </a:cubicBezTo>
                    <a:lnTo>
                      <a:pt x="562157" y="368186"/>
                    </a:lnTo>
                    <a:cubicBezTo>
                      <a:pt x="562157" y="378187"/>
                      <a:pt x="556073" y="382473"/>
                      <a:pt x="548564" y="37837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3" name="Google Shape;453;p15"/>
              <p:cNvSpPr/>
              <p:nvPr/>
            </p:nvSpPr>
            <p:spPr>
              <a:xfrm>
                <a:off x="6897600" y="3332192"/>
                <a:ext cx="1250451" cy="1162368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62368" extrusionOk="0">
                    <a:moveTo>
                      <a:pt x="9696" y="77186"/>
                    </a:moveTo>
                    <a:cubicBezTo>
                      <a:pt x="9696" y="77186"/>
                      <a:pt x="108173" y="160053"/>
                      <a:pt x="250376" y="46896"/>
                    </a:cubicBezTo>
                    <a:cubicBezTo>
                      <a:pt x="351895" y="-36543"/>
                      <a:pt x="442672" y="11082"/>
                      <a:pt x="493242" y="39657"/>
                    </a:cubicBezTo>
                    <a:cubicBezTo>
                      <a:pt x="543811" y="68232"/>
                      <a:pt x="616813" y="85758"/>
                      <a:pt x="755879" y="337409"/>
                    </a:cubicBezTo>
                    <a:cubicBezTo>
                      <a:pt x="755879" y="337409"/>
                      <a:pt x="801125" y="416276"/>
                      <a:pt x="875839" y="459519"/>
                    </a:cubicBezTo>
                    <a:cubicBezTo>
                      <a:pt x="950552" y="502763"/>
                      <a:pt x="986483" y="481617"/>
                      <a:pt x="1045227" y="392844"/>
                    </a:cubicBezTo>
                    <a:cubicBezTo>
                      <a:pt x="1103971" y="304071"/>
                      <a:pt x="1142469" y="205773"/>
                      <a:pt x="1250452" y="269972"/>
                    </a:cubicBezTo>
                    <a:lnTo>
                      <a:pt x="1250452" y="1162369"/>
                    </a:lnTo>
                    <a:lnTo>
                      <a:pt x="0" y="439707"/>
                    </a:lnTo>
                    <a:lnTo>
                      <a:pt x="0" y="71375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4" name="Google Shape;454;p15"/>
              <p:cNvSpPr/>
              <p:nvPr/>
            </p:nvSpPr>
            <p:spPr>
              <a:xfrm>
                <a:off x="5766443" y="2003281"/>
                <a:ext cx="882682" cy="1029375"/>
              </a:xfrm>
              <a:custGeom>
                <a:avLst/>
                <a:gdLst/>
                <a:ahLst/>
                <a:cxnLst/>
                <a:rect l="l" t="t" r="r" b="b"/>
                <a:pathLst>
                  <a:path w="882682" h="1029375" extrusionOk="0">
                    <a:moveTo>
                      <a:pt x="869090" y="1027764"/>
                    </a:moveTo>
                    <a:lnTo>
                      <a:pt x="13593" y="532464"/>
                    </a:lnTo>
                    <a:cubicBezTo>
                      <a:pt x="5209" y="526435"/>
                      <a:pt x="171" y="516796"/>
                      <a:pt x="0" y="506461"/>
                    </a:cubicBezTo>
                    <a:lnTo>
                      <a:pt x="0" y="11828"/>
                    </a:lnTo>
                    <a:cubicBezTo>
                      <a:pt x="0" y="2303"/>
                      <a:pt x="6084" y="-2745"/>
                      <a:pt x="13593" y="1541"/>
                    </a:cubicBezTo>
                    <a:lnTo>
                      <a:pt x="869090" y="496841"/>
                    </a:lnTo>
                    <a:cubicBezTo>
                      <a:pt x="877474" y="502870"/>
                      <a:pt x="882512" y="512510"/>
                      <a:pt x="882683" y="522844"/>
                    </a:cubicBezTo>
                    <a:lnTo>
                      <a:pt x="882683" y="1017668"/>
                    </a:lnTo>
                    <a:cubicBezTo>
                      <a:pt x="882683" y="1027479"/>
                      <a:pt x="876599" y="1032051"/>
                      <a:pt x="869090" y="102776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5" name="Google Shape;455;p15"/>
              <p:cNvSpPr/>
              <p:nvPr/>
            </p:nvSpPr>
            <p:spPr>
              <a:xfrm>
                <a:off x="6897600" y="3388613"/>
                <a:ext cx="1250451" cy="1106424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06424" extrusionOk="0">
                    <a:moveTo>
                      <a:pt x="0" y="0"/>
                    </a:moveTo>
                    <a:lnTo>
                      <a:pt x="0" y="383096"/>
                    </a:lnTo>
                    <a:lnTo>
                      <a:pt x="1250452" y="1106424"/>
                    </a:lnTo>
                    <a:lnTo>
                      <a:pt x="1250452" y="214027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6" name="Google Shape;456;p15"/>
              <p:cNvSpPr/>
              <p:nvPr/>
            </p:nvSpPr>
            <p:spPr>
              <a:xfrm>
                <a:off x="7389036" y="3376326"/>
                <a:ext cx="9505" cy="678751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678751" extrusionOk="0">
                    <a:moveTo>
                      <a:pt x="0" y="0"/>
                    </a:moveTo>
                    <a:lnTo>
                      <a:pt x="0" y="678752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7" name="Google Shape;457;p15"/>
              <p:cNvSpPr/>
              <p:nvPr/>
            </p:nvSpPr>
            <p:spPr>
              <a:xfrm>
                <a:off x="7771633" y="3805618"/>
                <a:ext cx="9505" cy="470725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470725" extrusionOk="0">
                    <a:moveTo>
                      <a:pt x="0" y="0"/>
                    </a:moveTo>
                    <a:lnTo>
                      <a:pt x="0" y="470725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8" name="Google Shape;458;p15"/>
              <p:cNvSpPr/>
              <p:nvPr/>
            </p:nvSpPr>
            <p:spPr>
              <a:xfrm>
                <a:off x="6897600" y="3332663"/>
                <a:ext cx="1250451" cy="479359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479359" extrusionOk="0">
                    <a:moveTo>
                      <a:pt x="0" y="70905"/>
                    </a:moveTo>
                    <a:cubicBezTo>
                      <a:pt x="221859" y="208732"/>
                      <a:pt x="253227" y="-102831"/>
                      <a:pt x="494953" y="36996"/>
                    </a:cubicBezTo>
                    <a:cubicBezTo>
                      <a:pt x="736678" y="176823"/>
                      <a:pt x="703314" y="359036"/>
                      <a:pt x="881732" y="462288"/>
                    </a:cubicBezTo>
                    <a:cubicBezTo>
                      <a:pt x="1060151" y="565538"/>
                      <a:pt x="1064333" y="162250"/>
                      <a:pt x="1250452" y="269978"/>
                    </a:cubicBezTo>
                  </a:path>
                </a:pathLst>
              </a:custGeom>
              <a:noFill/>
              <a:ln w="14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9" name="Google Shape;459;p15"/>
              <p:cNvSpPr/>
              <p:nvPr/>
            </p:nvSpPr>
            <p:spPr>
              <a:xfrm rot="-1801764">
                <a:off x="7364922" y="3334621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0" name="Google Shape;460;p15"/>
              <p:cNvSpPr/>
              <p:nvPr/>
            </p:nvSpPr>
            <p:spPr>
              <a:xfrm rot="-1790023">
                <a:off x="8141346" y="3571007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4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4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1" name="Google Shape;461;p15"/>
              <p:cNvSpPr/>
              <p:nvPr/>
            </p:nvSpPr>
            <p:spPr>
              <a:xfrm rot="-1790023">
                <a:off x="7763340" y="3766404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3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3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2" name="Google Shape;462;p15"/>
              <p:cNvSpPr/>
              <p:nvPr/>
            </p:nvSpPr>
            <p:spPr>
              <a:xfrm rot="-1801764">
                <a:off x="6873548" y="3361832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3" name="Google Shape;463;p15"/>
              <p:cNvSpPr/>
              <p:nvPr/>
            </p:nvSpPr>
            <p:spPr>
              <a:xfrm>
                <a:off x="6868038" y="2430219"/>
                <a:ext cx="78705" cy="316778"/>
              </a:xfrm>
              <a:custGeom>
                <a:avLst/>
                <a:gdLst/>
                <a:ahLst/>
                <a:cxnLst/>
                <a:rect l="l" t="t" r="r" b="b"/>
                <a:pathLst>
                  <a:path w="78705" h="316778" extrusionOk="0">
                    <a:moveTo>
                      <a:pt x="64828" y="315171"/>
                    </a:moveTo>
                    <a:lnTo>
                      <a:pt x="13593" y="285548"/>
                    </a:lnTo>
                    <a:cubicBezTo>
                      <a:pt x="5209" y="279519"/>
                      <a:pt x="171" y="269880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193" y="37136"/>
                      <a:pt x="78335" y="46566"/>
                      <a:pt x="78706" y="56758"/>
                    </a:cubicBezTo>
                    <a:lnTo>
                      <a:pt x="78706" y="304884"/>
                    </a:lnTo>
                    <a:cubicBezTo>
                      <a:pt x="78706" y="314885"/>
                      <a:pt x="72337" y="319457"/>
                      <a:pt x="64828" y="3151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4" name="Google Shape;464;p15"/>
              <p:cNvSpPr/>
              <p:nvPr/>
            </p:nvSpPr>
            <p:spPr>
              <a:xfrm>
                <a:off x="6986477" y="2241366"/>
                <a:ext cx="78420" cy="57392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73928" extrusionOk="0">
                    <a:moveTo>
                      <a:pt x="64828" y="572319"/>
                    </a:moveTo>
                    <a:lnTo>
                      <a:pt x="13593" y="542601"/>
                    </a:lnTo>
                    <a:cubicBezTo>
                      <a:pt x="5199" y="536629"/>
                      <a:pt x="152" y="527009"/>
                      <a:pt x="0" y="516693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4828" y="31299"/>
                    </a:lnTo>
                    <a:cubicBezTo>
                      <a:pt x="73211" y="37328"/>
                      <a:pt x="78249" y="46967"/>
                      <a:pt x="78421" y="57302"/>
                    </a:cubicBezTo>
                    <a:lnTo>
                      <a:pt x="78421" y="562127"/>
                    </a:lnTo>
                    <a:cubicBezTo>
                      <a:pt x="78041" y="572033"/>
                      <a:pt x="71957" y="576605"/>
                      <a:pt x="64828" y="57231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5" name="Google Shape;465;p15"/>
              <p:cNvSpPr/>
              <p:nvPr/>
            </p:nvSpPr>
            <p:spPr>
              <a:xfrm>
                <a:off x="7222119" y="2426981"/>
                <a:ext cx="78420" cy="524860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24860" extrusionOk="0">
                    <a:moveTo>
                      <a:pt x="64828" y="523197"/>
                    </a:moveTo>
                    <a:lnTo>
                      <a:pt x="13593" y="493574"/>
                    </a:lnTo>
                    <a:cubicBezTo>
                      <a:pt x="5181" y="487583"/>
                      <a:pt x="124" y="477915"/>
                      <a:pt x="0" y="467571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231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513005"/>
                    </a:lnTo>
                    <a:cubicBezTo>
                      <a:pt x="78421" y="523006"/>
                      <a:pt x="72337" y="527578"/>
                      <a:pt x="64828" y="52319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6" name="Google Shape;466;p15"/>
              <p:cNvSpPr/>
              <p:nvPr/>
            </p:nvSpPr>
            <p:spPr>
              <a:xfrm>
                <a:off x="7340177" y="2573447"/>
                <a:ext cx="78420" cy="446687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446687" extrusionOk="0">
                    <a:moveTo>
                      <a:pt x="64827" y="445025"/>
                    </a:moveTo>
                    <a:lnTo>
                      <a:pt x="13593" y="415402"/>
                    </a:lnTo>
                    <a:cubicBezTo>
                      <a:pt x="5209" y="409373"/>
                      <a:pt x="171" y="399734"/>
                      <a:pt x="0" y="389399"/>
                    </a:cubicBezTo>
                    <a:lnTo>
                      <a:pt x="0" y="11828"/>
                    </a:lnTo>
                    <a:cubicBezTo>
                      <a:pt x="0" y="2303"/>
                      <a:pt x="6083" y="-2745"/>
                      <a:pt x="13593" y="1541"/>
                    </a:cubicBezTo>
                    <a:lnTo>
                      <a:pt x="64827" y="31259"/>
                    </a:lnTo>
                    <a:cubicBezTo>
                      <a:pt x="73221" y="37231"/>
                      <a:pt x="78268" y="46851"/>
                      <a:pt x="78421" y="57167"/>
                    </a:cubicBezTo>
                    <a:lnTo>
                      <a:pt x="78421" y="434738"/>
                    </a:lnTo>
                    <a:cubicBezTo>
                      <a:pt x="78421" y="444835"/>
                      <a:pt x="72337" y="449406"/>
                      <a:pt x="64827" y="44502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7" name="Google Shape;467;p15"/>
              <p:cNvSpPr/>
              <p:nvPr/>
            </p:nvSpPr>
            <p:spPr>
              <a:xfrm>
                <a:off x="7575249" y="2900319"/>
                <a:ext cx="78325" cy="255777"/>
              </a:xfrm>
              <a:custGeom>
                <a:avLst/>
                <a:gdLst/>
                <a:ahLst/>
                <a:cxnLst/>
                <a:rect l="l" t="t" r="r" b="b"/>
                <a:pathLst>
                  <a:path w="78325" h="255777" extrusionOk="0">
                    <a:moveTo>
                      <a:pt x="64828" y="254170"/>
                    </a:moveTo>
                    <a:lnTo>
                      <a:pt x="13498" y="224547"/>
                    </a:lnTo>
                    <a:cubicBezTo>
                      <a:pt x="5143" y="218508"/>
                      <a:pt x="133" y="208869"/>
                      <a:pt x="0" y="198544"/>
                    </a:cubicBezTo>
                    <a:lnTo>
                      <a:pt x="0" y="11949"/>
                    </a:lnTo>
                    <a:cubicBezTo>
                      <a:pt x="0" y="1853"/>
                      <a:pt x="5989" y="-2719"/>
                      <a:pt x="13498" y="1662"/>
                    </a:cubicBezTo>
                    <a:lnTo>
                      <a:pt x="64828" y="31285"/>
                    </a:lnTo>
                    <a:cubicBezTo>
                      <a:pt x="73145" y="37352"/>
                      <a:pt x="78145" y="46982"/>
                      <a:pt x="78325" y="57288"/>
                    </a:cubicBezTo>
                    <a:lnTo>
                      <a:pt x="78325" y="243883"/>
                    </a:lnTo>
                    <a:cubicBezTo>
                      <a:pt x="78325" y="253884"/>
                      <a:pt x="72242" y="258456"/>
                      <a:pt x="64828" y="2541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8" name="Google Shape;468;p15"/>
              <p:cNvSpPr/>
              <p:nvPr/>
            </p:nvSpPr>
            <p:spPr>
              <a:xfrm>
                <a:off x="7693593" y="2520557"/>
                <a:ext cx="78420" cy="70383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703833" extrusionOk="0">
                    <a:moveTo>
                      <a:pt x="64447" y="702226"/>
                    </a:moveTo>
                    <a:lnTo>
                      <a:pt x="13593" y="672508"/>
                    </a:lnTo>
                    <a:cubicBezTo>
                      <a:pt x="5199" y="666536"/>
                      <a:pt x="152" y="656916"/>
                      <a:pt x="0" y="646600"/>
                    </a:cubicBezTo>
                    <a:lnTo>
                      <a:pt x="0" y="11949"/>
                    </a:lnTo>
                    <a:cubicBezTo>
                      <a:pt x="0" y="1853"/>
                      <a:pt x="6083" y="-2719"/>
                      <a:pt x="13593" y="1662"/>
                    </a:cubicBezTo>
                    <a:lnTo>
                      <a:pt x="64828" y="31285"/>
                    </a:lnTo>
                    <a:cubicBezTo>
                      <a:pt x="73221" y="37305"/>
                      <a:pt x="78268" y="46954"/>
                      <a:pt x="78421" y="57288"/>
                    </a:cubicBezTo>
                    <a:lnTo>
                      <a:pt x="78421" y="691939"/>
                    </a:lnTo>
                    <a:cubicBezTo>
                      <a:pt x="78040" y="701940"/>
                      <a:pt x="71957" y="706512"/>
                      <a:pt x="64447" y="70222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9" name="Google Shape;469;p15"/>
              <p:cNvSpPr/>
              <p:nvPr/>
            </p:nvSpPr>
            <p:spPr>
              <a:xfrm>
                <a:off x="7981135" y="3135165"/>
                <a:ext cx="78420" cy="25581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255818" extrusionOk="0">
                    <a:moveTo>
                      <a:pt x="64828" y="254211"/>
                    </a:moveTo>
                    <a:lnTo>
                      <a:pt x="13593" y="224493"/>
                    </a:lnTo>
                    <a:cubicBezTo>
                      <a:pt x="5199" y="218521"/>
                      <a:pt x="152" y="208900"/>
                      <a:pt x="0" y="19858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240" y="37317"/>
                      <a:pt x="78297" y="46985"/>
                      <a:pt x="78421" y="57329"/>
                    </a:cubicBezTo>
                    <a:lnTo>
                      <a:pt x="78421" y="243924"/>
                    </a:lnTo>
                    <a:cubicBezTo>
                      <a:pt x="78421" y="253925"/>
                      <a:pt x="72337" y="258497"/>
                      <a:pt x="64828" y="25421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0" name="Google Shape;470;p15"/>
              <p:cNvSpPr/>
              <p:nvPr/>
            </p:nvSpPr>
            <p:spPr>
              <a:xfrm>
                <a:off x="8099193" y="3142308"/>
                <a:ext cx="78420" cy="31696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316963" extrusionOk="0">
                    <a:moveTo>
                      <a:pt x="64828" y="315266"/>
                    </a:moveTo>
                    <a:lnTo>
                      <a:pt x="13593" y="285548"/>
                    </a:lnTo>
                    <a:cubicBezTo>
                      <a:pt x="5181" y="279557"/>
                      <a:pt x="124" y="269889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4" y="-2678"/>
                      <a:pt x="13593" y="1608"/>
                    </a:cubicBezTo>
                    <a:lnTo>
                      <a:pt x="64828" y="31230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305360"/>
                    </a:lnTo>
                    <a:cubicBezTo>
                      <a:pt x="78421" y="315266"/>
                      <a:pt x="72337" y="319648"/>
                      <a:pt x="64828" y="31526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471" name="Google Shape;471;p15"/>
            <p:cNvSpPr/>
            <p:nvPr/>
          </p:nvSpPr>
          <p:spPr>
            <a:xfrm>
              <a:off x="2810939" y="4355647"/>
              <a:ext cx="905825" cy="524291"/>
            </a:xfrm>
            <a:custGeom>
              <a:avLst/>
              <a:gdLst/>
              <a:ahLst/>
              <a:cxnLst/>
              <a:rect l="l" t="t" r="r" b="b"/>
              <a:pathLst>
                <a:path w="905825" h="524291" extrusionOk="0">
                  <a:moveTo>
                    <a:pt x="456810" y="505052"/>
                  </a:moveTo>
                  <a:lnTo>
                    <a:pt x="32483" y="259879"/>
                  </a:lnTo>
                  <a:cubicBezTo>
                    <a:pt x="-15615" y="231970"/>
                    <a:pt x="-9626" y="183679"/>
                    <a:pt x="45981" y="151294"/>
                  </a:cubicBezTo>
                  <a:lnTo>
                    <a:pt x="261376" y="26611"/>
                  </a:lnTo>
                  <a:cubicBezTo>
                    <a:pt x="316889" y="-5488"/>
                    <a:pt x="400632" y="-9298"/>
                    <a:pt x="449015" y="19277"/>
                  </a:cubicBezTo>
                  <a:lnTo>
                    <a:pt x="873342" y="264832"/>
                  </a:lnTo>
                  <a:cubicBezTo>
                    <a:pt x="921440" y="292645"/>
                    <a:pt x="915451" y="341032"/>
                    <a:pt x="859844" y="373322"/>
                  </a:cubicBezTo>
                  <a:lnTo>
                    <a:pt x="644449" y="498004"/>
                  </a:lnTo>
                  <a:cubicBezTo>
                    <a:pt x="588937" y="529627"/>
                    <a:pt x="505193" y="533627"/>
                    <a:pt x="456810" y="505052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2" name="Google Shape;472;p15"/>
            <p:cNvSpPr/>
            <p:nvPr/>
          </p:nvSpPr>
          <p:spPr>
            <a:xfrm>
              <a:off x="2999385" y="3858955"/>
              <a:ext cx="906089" cy="910207"/>
            </a:xfrm>
            <a:custGeom>
              <a:avLst/>
              <a:gdLst/>
              <a:ahLst/>
              <a:cxnLst/>
              <a:rect l="l" t="t" r="r" b="b"/>
              <a:pathLst>
                <a:path w="906089" h="910207" extrusionOk="0">
                  <a:moveTo>
                    <a:pt x="906089" y="695706"/>
                  </a:moveTo>
                  <a:lnTo>
                    <a:pt x="906089" y="102203"/>
                  </a:lnTo>
                  <a:lnTo>
                    <a:pt x="23" y="0"/>
                  </a:lnTo>
                  <a:lnTo>
                    <a:pt x="23" y="597218"/>
                  </a:lnTo>
                  <a:lnTo>
                    <a:pt x="23" y="597218"/>
                  </a:lnTo>
                  <a:cubicBezTo>
                    <a:pt x="-547" y="615506"/>
                    <a:pt x="9528" y="632936"/>
                    <a:pt x="32342" y="645891"/>
                  </a:cubicBezTo>
                  <a:lnTo>
                    <a:pt x="456668" y="891445"/>
                  </a:lnTo>
                  <a:cubicBezTo>
                    <a:pt x="504766" y="919258"/>
                    <a:pt x="588795" y="915734"/>
                    <a:pt x="644307" y="883634"/>
                  </a:cubicBezTo>
                  <a:lnTo>
                    <a:pt x="859702" y="758952"/>
                  </a:lnTo>
                  <a:cubicBezTo>
                    <a:pt x="890975" y="740855"/>
                    <a:pt x="906565" y="717518"/>
                    <a:pt x="905614" y="6957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3" name="Google Shape;473;p15"/>
            <p:cNvSpPr/>
            <p:nvPr/>
          </p:nvSpPr>
          <p:spPr>
            <a:xfrm>
              <a:off x="2999385" y="3718383"/>
              <a:ext cx="905566" cy="524522"/>
            </a:xfrm>
            <a:custGeom>
              <a:avLst/>
              <a:gdLst/>
              <a:ahLst/>
              <a:cxnLst/>
              <a:rect l="l" t="t" r="r" b="b"/>
              <a:pathLst>
                <a:path w="905566" h="524522" extrusionOk="0">
                  <a:moveTo>
                    <a:pt x="905519" y="307545"/>
                  </a:moveTo>
                  <a:lnTo>
                    <a:pt x="905519" y="242775"/>
                  </a:lnTo>
                  <a:lnTo>
                    <a:pt x="835843" y="242775"/>
                  </a:lnTo>
                  <a:lnTo>
                    <a:pt x="448874" y="18842"/>
                  </a:lnTo>
                  <a:cubicBezTo>
                    <a:pt x="400776" y="-9066"/>
                    <a:pt x="316747" y="-5542"/>
                    <a:pt x="261235" y="26557"/>
                  </a:cubicBezTo>
                  <a:lnTo>
                    <a:pt x="45839" y="151716"/>
                  </a:lnTo>
                  <a:cubicBezTo>
                    <a:pt x="42009" y="153897"/>
                    <a:pt x="38296" y="156279"/>
                    <a:pt x="34718" y="158860"/>
                  </a:cubicBezTo>
                  <a:lnTo>
                    <a:pt x="23" y="141048"/>
                  </a:lnTo>
                  <a:cubicBezTo>
                    <a:pt x="23" y="141048"/>
                    <a:pt x="23" y="209533"/>
                    <a:pt x="23" y="211819"/>
                  </a:cubicBezTo>
                  <a:lnTo>
                    <a:pt x="23" y="211819"/>
                  </a:lnTo>
                  <a:cubicBezTo>
                    <a:pt x="-547" y="229916"/>
                    <a:pt x="9528" y="247347"/>
                    <a:pt x="32342" y="260301"/>
                  </a:cubicBezTo>
                  <a:lnTo>
                    <a:pt x="456668" y="505760"/>
                  </a:lnTo>
                  <a:cubicBezTo>
                    <a:pt x="504766" y="533573"/>
                    <a:pt x="588795" y="530049"/>
                    <a:pt x="644307" y="497950"/>
                  </a:cubicBezTo>
                  <a:lnTo>
                    <a:pt x="859702" y="373363"/>
                  </a:lnTo>
                  <a:cubicBezTo>
                    <a:pt x="891926" y="354313"/>
                    <a:pt x="907230" y="330500"/>
                    <a:pt x="905424" y="308021"/>
                  </a:cubicBezTo>
                  <a:close/>
                </a:path>
              </a:pathLst>
            </a:custGeom>
            <a:solidFill>
              <a:srgbClr val="EDF0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4" name="Google Shape;474;p15"/>
            <p:cNvSpPr/>
            <p:nvPr/>
          </p:nvSpPr>
          <p:spPr>
            <a:xfrm>
              <a:off x="2999243" y="3647851"/>
              <a:ext cx="905825" cy="524031"/>
            </a:xfrm>
            <a:custGeom>
              <a:avLst/>
              <a:gdLst/>
              <a:ahLst/>
              <a:cxnLst/>
              <a:rect l="l" t="t" r="r" b="b"/>
              <a:pathLst>
                <a:path w="905825" h="524031" extrusionOk="0">
                  <a:moveTo>
                    <a:pt x="456810" y="505236"/>
                  </a:moveTo>
                  <a:lnTo>
                    <a:pt x="32483" y="259777"/>
                  </a:lnTo>
                  <a:cubicBezTo>
                    <a:pt x="-15615" y="231964"/>
                    <a:pt x="-9626" y="183577"/>
                    <a:pt x="45981" y="151192"/>
                  </a:cubicBezTo>
                  <a:lnTo>
                    <a:pt x="261376" y="26605"/>
                  </a:lnTo>
                  <a:cubicBezTo>
                    <a:pt x="316889" y="-5589"/>
                    <a:pt x="400917" y="-9018"/>
                    <a:pt x="449015" y="18795"/>
                  </a:cubicBezTo>
                  <a:lnTo>
                    <a:pt x="873342" y="264254"/>
                  </a:lnTo>
                  <a:cubicBezTo>
                    <a:pt x="921440" y="292067"/>
                    <a:pt x="915451" y="340454"/>
                    <a:pt x="859844" y="372839"/>
                  </a:cubicBezTo>
                  <a:lnTo>
                    <a:pt x="644449" y="497426"/>
                  </a:lnTo>
                  <a:cubicBezTo>
                    <a:pt x="588937" y="529620"/>
                    <a:pt x="504908" y="533050"/>
                    <a:pt x="456810" y="505236"/>
                  </a:cubicBezTo>
                  <a:close/>
                </a:path>
              </a:pathLst>
            </a:custGeom>
            <a:solidFill>
              <a:srgbClr val="E2E5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5" name="Google Shape;475;p15"/>
            <p:cNvSpPr/>
            <p:nvPr/>
          </p:nvSpPr>
          <p:spPr>
            <a:xfrm>
              <a:off x="3230772" y="3780524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293" y="12575"/>
                    <a:pt x="13716" y="14395"/>
                    <a:pt x="11312" y="16424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6" name="Google Shape;476;p15"/>
            <p:cNvSpPr/>
            <p:nvPr/>
          </p:nvSpPr>
          <p:spPr>
            <a:xfrm>
              <a:off x="3230772" y="3756847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8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8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15"/>
            <p:cNvSpPr/>
            <p:nvPr/>
          </p:nvSpPr>
          <p:spPr>
            <a:xfrm>
              <a:off x="3393243" y="3872036"/>
              <a:ext cx="129623" cy="74995"/>
            </a:xfrm>
            <a:custGeom>
              <a:avLst/>
              <a:gdLst/>
              <a:ahLst/>
              <a:cxnLst/>
              <a:rect l="l" t="t" r="r" b="b"/>
              <a:pathLst>
                <a:path w="129623" h="74995" extrusionOk="0">
                  <a:moveTo>
                    <a:pt x="128018" y="45689"/>
                  </a:moveTo>
                  <a:cubicBezTo>
                    <a:pt x="124482" y="53623"/>
                    <a:pt x="118341" y="60110"/>
                    <a:pt x="110623" y="64072"/>
                  </a:cubicBezTo>
                  <a:cubicBezTo>
                    <a:pt x="81812" y="78636"/>
                    <a:pt x="47801" y="78636"/>
                    <a:pt x="18990" y="64072"/>
                  </a:cubicBezTo>
                  <a:cubicBezTo>
                    <a:pt x="11271" y="60110"/>
                    <a:pt x="5131" y="53623"/>
                    <a:pt x="1595" y="45689"/>
                  </a:cubicBezTo>
                  <a:cubicBezTo>
                    <a:pt x="-3158" y="33497"/>
                    <a:pt x="2735" y="20448"/>
                    <a:pt x="18990" y="10923"/>
                  </a:cubicBezTo>
                  <a:cubicBezTo>
                    <a:pt x="47801" y="-3641"/>
                    <a:pt x="81812" y="-3641"/>
                    <a:pt x="110623" y="10923"/>
                  </a:cubicBezTo>
                  <a:cubicBezTo>
                    <a:pt x="126972" y="19971"/>
                    <a:pt x="132771" y="33021"/>
                    <a:pt x="128018" y="4568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" name="Google Shape;478;p15"/>
            <p:cNvSpPr/>
            <p:nvPr/>
          </p:nvSpPr>
          <p:spPr>
            <a:xfrm>
              <a:off x="3395112" y="3888323"/>
              <a:ext cx="126148" cy="58707"/>
            </a:xfrm>
            <a:custGeom>
              <a:avLst/>
              <a:gdLst/>
              <a:ahLst/>
              <a:cxnLst/>
              <a:rect l="l" t="t" r="r" b="b"/>
              <a:pathLst>
                <a:path w="126148" h="58707" extrusionOk="0">
                  <a:moveTo>
                    <a:pt x="126149" y="29401"/>
                  </a:moveTo>
                  <a:cubicBezTo>
                    <a:pt x="122613" y="37336"/>
                    <a:pt x="116472" y="43822"/>
                    <a:pt x="108754" y="47784"/>
                  </a:cubicBezTo>
                  <a:cubicBezTo>
                    <a:pt x="79942" y="62348"/>
                    <a:pt x="45932" y="62348"/>
                    <a:pt x="17120" y="47784"/>
                  </a:cubicBezTo>
                  <a:cubicBezTo>
                    <a:pt x="6959" y="47051"/>
                    <a:pt x="-683" y="38202"/>
                    <a:pt x="48" y="28030"/>
                  </a:cubicBezTo>
                  <a:cubicBezTo>
                    <a:pt x="704" y="18867"/>
                    <a:pt x="7976" y="11580"/>
                    <a:pt x="17120" y="10923"/>
                  </a:cubicBezTo>
                  <a:cubicBezTo>
                    <a:pt x="45932" y="-3641"/>
                    <a:pt x="79942" y="-3641"/>
                    <a:pt x="108754" y="10923"/>
                  </a:cubicBezTo>
                  <a:cubicBezTo>
                    <a:pt x="116491" y="14904"/>
                    <a:pt x="122632" y="21429"/>
                    <a:pt x="126149" y="2940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9" name="Google Shape;479;p15"/>
            <p:cNvSpPr/>
            <p:nvPr/>
          </p:nvSpPr>
          <p:spPr>
            <a:xfrm>
              <a:off x="3543979" y="3964737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321" y="12585"/>
                    <a:pt x="13745" y="14366"/>
                    <a:pt x="11312" y="16328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0" name="Google Shape;480;p15"/>
            <p:cNvSpPr/>
            <p:nvPr/>
          </p:nvSpPr>
          <p:spPr>
            <a:xfrm>
              <a:off x="3543979" y="3941061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9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9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1" name="Google Shape;481;p15"/>
            <p:cNvSpPr/>
            <p:nvPr/>
          </p:nvSpPr>
          <p:spPr>
            <a:xfrm>
              <a:off x="5673026" y="4464079"/>
              <a:ext cx="468241" cy="270891"/>
            </a:xfrm>
            <a:custGeom>
              <a:avLst/>
              <a:gdLst/>
              <a:ahLst/>
              <a:cxnLst/>
              <a:rect l="l" t="t" r="r" b="b"/>
              <a:pathLst>
                <a:path w="468241" h="270891" extrusionOk="0">
                  <a:moveTo>
                    <a:pt x="468242" y="135445"/>
                  </a:moveTo>
                  <a:cubicBezTo>
                    <a:pt x="468242" y="210250"/>
                    <a:pt x="363422" y="270891"/>
                    <a:pt x="234121" y="270891"/>
                  </a:cubicBezTo>
                  <a:cubicBezTo>
                    <a:pt x="104819" y="270891"/>
                    <a:pt x="0" y="210250"/>
                    <a:pt x="0" y="135445"/>
                  </a:cubicBezTo>
                  <a:cubicBezTo>
                    <a:pt x="0" y="60641"/>
                    <a:pt x="104819" y="0"/>
                    <a:pt x="234121" y="0"/>
                  </a:cubicBezTo>
                  <a:cubicBezTo>
                    <a:pt x="363422" y="0"/>
                    <a:pt x="468242" y="60641"/>
                    <a:pt x="468242" y="1354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2" name="Google Shape;482;p15"/>
            <p:cNvSpPr/>
            <p:nvPr/>
          </p:nvSpPr>
          <p:spPr>
            <a:xfrm>
              <a:off x="5819482" y="3280817"/>
              <a:ext cx="243195" cy="356577"/>
            </a:xfrm>
            <a:custGeom>
              <a:avLst/>
              <a:gdLst/>
              <a:ahLst/>
              <a:cxnLst/>
              <a:rect l="l" t="t" r="r" b="b"/>
              <a:pathLst>
                <a:path w="243195" h="356577" extrusionOk="0">
                  <a:moveTo>
                    <a:pt x="85669" y="11781"/>
                  </a:moveTo>
                  <a:cubicBezTo>
                    <a:pt x="95174" y="-3744"/>
                    <a:pt x="169318" y="-14031"/>
                    <a:pt x="193652" y="48738"/>
                  </a:cubicBezTo>
                  <a:cubicBezTo>
                    <a:pt x="203157" y="72551"/>
                    <a:pt x="201446" y="133416"/>
                    <a:pt x="209145" y="171611"/>
                  </a:cubicBezTo>
                  <a:cubicBezTo>
                    <a:pt x="216845" y="209806"/>
                    <a:pt x="235000" y="231523"/>
                    <a:pt x="241559" y="262479"/>
                  </a:cubicBezTo>
                  <a:cubicBezTo>
                    <a:pt x="248118" y="293436"/>
                    <a:pt x="237472" y="345442"/>
                    <a:pt x="162854" y="354681"/>
                  </a:cubicBezTo>
                  <a:cubicBezTo>
                    <a:pt x="88236" y="363921"/>
                    <a:pt x="30917" y="337632"/>
                    <a:pt x="13332" y="313819"/>
                  </a:cubicBezTo>
                  <a:cubicBezTo>
                    <a:pt x="-4253" y="290007"/>
                    <a:pt x="-4634" y="239334"/>
                    <a:pt x="13332" y="212092"/>
                  </a:cubicBezTo>
                  <a:cubicBezTo>
                    <a:pt x="31297" y="184851"/>
                    <a:pt x="45556" y="162848"/>
                    <a:pt x="45080" y="127415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3" name="Google Shape;483;p15"/>
            <p:cNvSpPr/>
            <p:nvPr/>
          </p:nvSpPr>
          <p:spPr>
            <a:xfrm>
              <a:off x="5837923" y="3277536"/>
              <a:ext cx="116085" cy="143945"/>
            </a:xfrm>
            <a:custGeom>
              <a:avLst/>
              <a:gdLst/>
              <a:ahLst/>
              <a:cxnLst/>
              <a:rect l="l" t="t" r="r" b="b"/>
              <a:pathLst>
                <a:path w="116085" h="143945" extrusionOk="0">
                  <a:moveTo>
                    <a:pt x="116086" y="4300"/>
                  </a:moveTo>
                  <a:cubicBezTo>
                    <a:pt x="116086" y="4300"/>
                    <a:pt x="60383" y="-11798"/>
                    <a:pt x="26639" y="18301"/>
                  </a:cubicBezTo>
                  <a:cubicBezTo>
                    <a:pt x="3978" y="39285"/>
                    <a:pt x="-5176" y="71137"/>
                    <a:pt x="2875" y="100979"/>
                  </a:cubicBezTo>
                  <a:cubicBezTo>
                    <a:pt x="7343" y="118600"/>
                    <a:pt x="16373" y="142603"/>
                    <a:pt x="30346" y="143936"/>
                  </a:cubicBezTo>
                  <a:cubicBezTo>
                    <a:pt x="44319" y="145270"/>
                    <a:pt x="116086" y="4300"/>
                    <a:pt x="116086" y="4300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4" name="Google Shape;484;p15"/>
            <p:cNvSpPr/>
            <p:nvPr/>
          </p:nvSpPr>
          <p:spPr>
            <a:xfrm>
              <a:off x="5860663" y="3433950"/>
              <a:ext cx="143677" cy="161015"/>
            </a:xfrm>
            <a:custGeom>
              <a:avLst/>
              <a:gdLst/>
              <a:ahLst/>
              <a:cxnLst/>
              <a:rect l="l" t="t" r="r" b="b"/>
              <a:pathLst>
                <a:path w="143677" h="161015" extrusionOk="0">
                  <a:moveTo>
                    <a:pt x="114638" y="0"/>
                  </a:moveTo>
                  <a:cubicBezTo>
                    <a:pt x="114638" y="0"/>
                    <a:pt x="110931" y="62103"/>
                    <a:pt x="112072" y="66675"/>
                  </a:cubicBezTo>
                  <a:cubicBezTo>
                    <a:pt x="113212" y="71247"/>
                    <a:pt x="136406" y="76200"/>
                    <a:pt x="142965" y="81153"/>
                  </a:cubicBezTo>
                  <a:cubicBezTo>
                    <a:pt x="149524" y="86106"/>
                    <a:pt x="109220" y="149638"/>
                    <a:pt x="88783" y="158972"/>
                  </a:cubicBezTo>
                  <a:cubicBezTo>
                    <a:pt x="68346" y="168307"/>
                    <a:pt x="4944" y="144399"/>
                    <a:pt x="477" y="112871"/>
                  </a:cubicBezTo>
                  <a:cubicBezTo>
                    <a:pt x="-3515" y="83725"/>
                    <a:pt x="18632" y="61151"/>
                    <a:pt x="27187" y="53245"/>
                  </a:cubicBezTo>
                  <a:cubicBezTo>
                    <a:pt x="32995" y="52692"/>
                    <a:pt x="38841" y="52531"/>
                    <a:pt x="44678" y="52769"/>
                  </a:cubicBezTo>
                  <a:lnTo>
                    <a:pt x="46579" y="22670"/>
                  </a:lnTo>
                  <a:cubicBezTo>
                    <a:pt x="74335" y="13811"/>
                    <a:pt x="114638" y="0"/>
                    <a:pt x="114638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5" name="Google Shape;485;p15"/>
            <p:cNvSpPr/>
            <p:nvPr/>
          </p:nvSpPr>
          <p:spPr>
            <a:xfrm>
              <a:off x="5729287" y="3551002"/>
              <a:ext cx="121787" cy="284211"/>
            </a:xfrm>
            <a:custGeom>
              <a:avLst/>
              <a:gdLst/>
              <a:ahLst/>
              <a:cxnLst/>
              <a:rect l="l" t="t" r="r" b="b"/>
              <a:pathLst>
                <a:path w="121787" h="284211" extrusionOk="0">
                  <a:moveTo>
                    <a:pt x="96303" y="391"/>
                  </a:moveTo>
                  <a:cubicBezTo>
                    <a:pt x="96303" y="-1418"/>
                    <a:pt x="86797" y="3630"/>
                    <a:pt x="86797" y="3725"/>
                  </a:cubicBezTo>
                  <a:cubicBezTo>
                    <a:pt x="86797" y="3820"/>
                    <a:pt x="82330" y="163269"/>
                    <a:pt x="74535" y="177747"/>
                  </a:cubicBezTo>
                  <a:lnTo>
                    <a:pt x="74535" y="177747"/>
                  </a:lnTo>
                  <a:cubicBezTo>
                    <a:pt x="54669" y="211560"/>
                    <a:pt x="2103" y="268901"/>
                    <a:pt x="772" y="275283"/>
                  </a:cubicBezTo>
                  <a:cubicBezTo>
                    <a:pt x="-3125" y="294333"/>
                    <a:pt x="8092" y="277283"/>
                    <a:pt x="26152" y="275283"/>
                  </a:cubicBezTo>
                  <a:cubicBezTo>
                    <a:pt x="36323" y="274044"/>
                    <a:pt x="96113" y="213466"/>
                    <a:pt x="109516" y="199654"/>
                  </a:cubicBezTo>
                  <a:lnTo>
                    <a:pt x="110371" y="200131"/>
                  </a:lnTo>
                  <a:lnTo>
                    <a:pt x="110371" y="198607"/>
                  </a:lnTo>
                  <a:lnTo>
                    <a:pt x="112082" y="196797"/>
                  </a:lnTo>
                  <a:cubicBezTo>
                    <a:pt x="112424" y="192482"/>
                    <a:pt x="112424" y="188158"/>
                    <a:pt x="112082" y="183843"/>
                  </a:cubicBezTo>
                  <a:cubicBezTo>
                    <a:pt x="137272" y="10583"/>
                    <a:pt x="106664" y="-942"/>
                    <a:pt x="96303" y="39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" name="Google Shape;486;p15"/>
            <p:cNvSpPr/>
            <p:nvPr/>
          </p:nvSpPr>
          <p:spPr>
            <a:xfrm>
              <a:off x="5818929" y="3486611"/>
              <a:ext cx="209320" cy="241045"/>
            </a:xfrm>
            <a:custGeom>
              <a:avLst/>
              <a:gdLst/>
              <a:ahLst/>
              <a:cxnLst/>
              <a:rect l="l" t="t" r="r" b="b"/>
              <a:pathLst>
                <a:path w="209320" h="241045" extrusionOk="0">
                  <a:moveTo>
                    <a:pt x="164832" y="20110"/>
                  </a:moveTo>
                  <a:cubicBezTo>
                    <a:pt x="182322" y="22777"/>
                    <a:pt x="202189" y="32111"/>
                    <a:pt x="204945" y="41636"/>
                  </a:cubicBezTo>
                  <a:cubicBezTo>
                    <a:pt x="212141" y="76098"/>
                    <a:pt x="210439" y="111835"/>
                    <a:pt x="200002" y="145459"/>
                  </a:cubicBezTo>
                  <a:cubicBezTo>
                    <a:pt x="184889" y="185464"/>
                    <a:pt x="174718" y="210895"/>
                    <a:pt x="165973" y="228136"/>
                  </a:cubicBezTo>
                  <a:cubicBezTo>
                    <a:pt x="165973" y="228136"/>
                    <a:pt x="90594" y="260521"/>
                    <a:pt x="29758" y="222706"/>
                  </a:cubicBezTo>
                  <a:cubicBezTo>
                    <a:pt x="29758" y="222706"/>
                    <a:pt x="25576" y="179844"/>
                    <a:pt x="25291" y="156889"/>
                  </a:cubicBezTo>
                  <a:cubicBezTo>
                    <a:pt x="-30792" y="107835"/>
                    <a:pt x="17211" y="47351"/>
                    <a:pt x="64739" y="393"/>
                  </a:cubicBezTo>
                  <a:cubicBezTo>
                    <a:pt x="70433" y="-131"/>
                    <a:pt x="76155" y="-131"/>
                    <a:pt x="81849" y="393"/>
                  </a:cubicBezTo>
                  <a:cubicBezTo>
                    <a:pt x="81849" y="393"/>
                    <a:pt x="39454" y="50685"/>
                    <a:pt x="68921" y="79260"/>
                  </a:cubicBezTo>
                  <a:cubicBezTo>
                    <a:pt x="132133" y="59638"/>
                    <a:pt x="144680" y="31063"/>
                    <a:pt x="164832" y="2011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7" name="Google Shape;487;p15"/>
            <p:cNvSpPr/>
            <p:nvPr/>
          </p:nvSpPr>
          <p:spPr>
            <a:xfrm>
              <a:off x="5856166" y="3289038"/>
              <a:ext cx="154042" cy="190250"/>
            </a:xfrm>
            <a:custGeom>
              <a:avLst/>
              <a:gdLst/>
              <a:ahLst/>
              <a:cxnLst/>
              <a:rect l="l" t="t" r="r" b="b"/>
              <a:pathLst>
                <a:path w="154042" h="190250" extrusionOk="0">
                  <a:moveTo>
                    <a:pt x="3263" y="67854"/>
                  </a:moveTo>
                  <a:lnTo>
                    <a:pt x="3263" y="67854"/>
                  </a:lnTo>
                  <a:cubicBezTo>
                    <a:pt x="9442" y="27945"/>
                    <a:pt x="38244" y="-2250"/>
                    <a:pt x="79308" y="132"/>
                  </a:cubicBezTo>
                  <a:cubicBezTo>
                    <a:pt x="122872" y="2484"/>
                    <a:pt x="156274" y="39784"/>
                    <a:pt x="153926" y="83437"/>
                  </a:cubicBezTo>
                  <a:cubicBezTo>
                    <a:pt x="152586" y="108288"/>
                    <a:pt x="139668" y="131053"/>
                    <a:pt x="119041" y="144912"/>
                  </a:cubicBezTo>
                  <a:cubicBezTo>
                    <a:pt x="117624" y="150960"/>
                    <a:pt x="115486" y="156808"/>
                    <a:pt x="112672" y="162342"/>
                  </a:cubicBezTo>
                  <a:cubicBezTo>
                    <a:pt x="98129" y="179297"/>
                    <a:pt x="59441" y="190060"/>
                    <a:pt x="46704" y="190251"/>
                  </a:cubicBezTo>
                  <a:cubicBezTo>
                    <a:pt x="35677" y="190251"/>
                    <a:pt x="26172" y="180059"/>
                    <a:pt x="15811" y="162914"/>
                  </a:cubicBezTo>
                  <a:cubicBezTo>
                    <a:pt x="-5672" y="127195"/>
                    <a:pt x="-158" y="87571"/>
                    <a:pt x="3263" y="67854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8" name="Google Shape;488;p15"/>
            <p:cNvSpPr/>
            <p:nvPr/>
          </p:nvSpPr>
          <p:spPr>
            <a:xfrm>
              <a:off x="5862376" y="3287995"/>
              <a:ext cx="154704" cy="145954"/>
            </a:xfrm>
            <a:custGeom>
              <a:avLst/>
              <a:gdLst/>
              <a:ahLst/>
              <a:cxnLst/>
              <a:rect l="l" t="t" r="r" b="b"/>
              <a:pathLst>
                <a:path w="154704" h="145954" extrusionOk="0">
                  <a:moveTo>
                    <a:pt x="85930" y="1937"/>
                  </a:moveTo>
                  <a:cubicBezTo>
                    <a:pt x="114447" y="7557"/>
                    <a:pt x="138400" y="15748"/>
                    <a:pt x="146290" y="44038"/>
                  </a:cubicBezTo>
                  <a:cubicBezTo>
                    <a:pt x="151613" y="63659"/>
                    <a:pt x="158647" y="101188"/>
                    <a:pt x="151993" y="116523"/>
                  </a:cubicBezTo>
                  <a:lnTo>
                    <a:pt x="147811" y="127857"/>
                  </a:lnTo>
                  <a:lnTo>
                    <a:pt x="112926" y="145955"/>
                  </a:lnTo>
                  <a:cubicBezTo>
                    <a:pt x="112926" y="145955"/>
                    <a:pt x="96576" y="132334"/>
                    <a:pt x="101709" y="92424"/>
                  </a:cubicBezTo>
                  <a:cubicBezTo>
                    <a:pt x="101510" y="87043"/>
                    <a:pt x="99798" y="81823"/>
                    <a:pt x="96766" y="77375"/>
                  </a:cubicBezTo>
                  <a:cubicBezTo>
                    <a:pt x="94580" y="73594"/>
                    <a:pt x="92954" y="69517"/>
                    <a:pt x="91919" y="65278"/>
                  </a:cubicBezTo>
                  <a:cubicBezTo>
                    <a:pt x="87774" y="54496"/>
                    <a:pt x="79685" y="45704"/>
                    <a:pt x="69295" y="40704"/>
                  </a:cubicBezTo>
                  <a:cubicBezTo>
                    <a:pt x="43345" y="26130"/>
                    <a:pt x="5323" y="38704"/>
                    <a:pt x="0" y="44038"/>
                  </a:cubicBezTo>
                  <a:cubicBezTo>
                    <a:pt x="15142" y="11452"/>
                    <a:pt x="50959" y="-6102"/>
                    <a:pt x="85930" y="193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9" name="Google Shape;489;p15"/>
            <p:cNvSpPr/>
            <p:nvPr/>
          </p:nvSpPr>
          <p:spPr>
            <a:xfrm>
              <a:off x="5888298" y="4552945"/>
              <a:ext cx="121626" cy="93085"/>
            </a:xfrm>
            <a:custGeom>
              <a:avLst/>
              <a:gdLst/>
              <a:ahLst/>
              <a:cxnLst/>
              <a:rect l="l" t="t" r="r" b="b"/>
              <a:pathLst>
                <a:path w="121626" h="93085" extrusionOk="0">
                  <a:moveTo>
                    <a:pt x="112478" y="2"/>
                  </a:moveTo>
                  <a:cubicBezTo>
                    <a:pt x="97840" y="11908"/>
                    <a:pt x="75121" y="3717"/>
                    <a:pt x="74456" y="4765"/>
                  </a:cubicBezTo>
                  <a:cubicBezTo>
                    <a:pt x="57422" y="19395"/>
                    <a:pt x="39590" y="33073"/>
                    <a:pt x="21035" y="45722"/>
                  </a:cubicBezTo>
                  <a:cubicBezTo>
                    <a:pt x="11529" y="52866"/>
                    <a:pt x="-2254" y="62486"/>
                    <a:pt x="313" y="76202"/>
                  </a:cubicBezTo>
                  <a:cubicBezTo>
                    <a:pt x="4875" y="100872"/>
                    <a:pt x="44228" y="93347"/>
                    <a:pt x="59057" y="85727"/>
                  </a:cubicBezTo>
                  <a:cubicBezTo>
                    <a:pt x="73886" y="78107"/>
                    <a:pt x="86053" y="65725"/>
                    <a:pt x="100121" y="57152"/>
                  </a:cubicBezTo>
                  <a:cubicBezTo>
                    <a:pt x="110102" y="50961"/>
                    <a:pt x="119987" y="47627"/>
                    <a:pt x="121604" y="35054"/>
                  </a:cubicBezTo>
                  <a:cubicBezTo>
                    <a:pt x="122079" y="27149"/>
                    <a:pt x="115045" y="-284"/>
                    <a:pt x="11247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" name="Google Shape;490;p15"/>
            <p:cNvSpPr/>
            <p:nvPr/>
          </p:nvSpPr>
          <p:spPr>
            <a:xfrm>
              <a:off x="5888421" y="4582665"/>
              <a:ext cx="121131" cy="63346"/>
            </a:xfrm>
            <a:custGeom>
              <a:avLst/>
              <a:gdLst/>
              <a:ahLst/>
              <a:cxnLst/>
              <a:rect l="l" t="t" r="r" b="b"/>
              <a:pathLst>
                <a:path w="121131" h="63346" extrusionOk="0">
                  <a:moveTo>
                    <a:pt x="120910" y="0"/>
                  </a:moveTo>
                  <a:cubicBezTo>
                    <a:pt x="118914" y="12192"/>
                    <a:pt x="109219" y="15526"/>
                    <a:pt x="99238" y="21717"/>
                  </a:cubicBezTo>
                  <a:cubicBezTo>
                    <a:pt x="84979" y="30575"/>
                    <a:pt x="72432" y="43434"/>
                    <a:pt x="57604" y="50959"/>
                  </a:cubicBezTo>
                  <a:cubicBezTo>
                    <a:pt x="42775" y="58484"/>
                    <a:pt x="9601" y="64770"/>
                    <a:pt x="0" y="47244"/>
                  </a:cubicBezTo>
                  <a:cubicBezTo>
                    <a:pt x="5228" y="70961"/>
                    <a:pt x="43916" y="63532"/>
                    <a:pt x="58554" y="56007"/>
                  </a:cubicBezTo>
                  <a:cubicBezTo>
                    <a:pt x="73193" y="48482"/>
                    <a:pt x="85550" y="36004"/>
                    <a:pt x="99618" y="27432"/>
                  </a:cubicBezTo>
                  <a:cubicBezTo>
                    <a:pt x="109599" y="21241"/>
                    <a:pt x="119484" y="17907"/>
                    <a:pt x="121101" y="5334"/>
                  </a:cubicBezTo>
                  <a:cubicBezTo>
                    <a:pt x="121177" y="3553"/>
                    <a:pt x="121110" y="1772"/>
                    <a:pt x="12091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1" name="Google Shape;491;p15"/>
            <p:cNvSpPr/>
            <p:nvPr/>
          </p:nvSpPr>
          <p:spPr>
            <a:xfrm>
              <a:off x="5795742" y="4532466"/>
              <a:ext cx="111395" cy="86487"/>
            </a:xfrm>
            <a:custGeom>
              <a:avLst/>
              <a:gdLst/>
              <a:ahLst/>
              <a:cxnLst/>
              <a:rect l="l" t="t" r="r" b="b"/>
              <a:pathLst>
                <a:path w="111395" h="86487" extrusionOk="0">
                  <a:moveTo>
                    <a:pt x="102659" y="2"/>
                  </a:moveTo>
                  <a:cubicBezTo>
                    <a:pt x="89257" y="10956"/>
                    <a:pt x="69105" y="4765"/>
                    <a:pt x="68154" y="5812"/>
                  </a:cubicBezTo>
                  <a:cubicBezTo>
                    <a:pt x="52537" y="19109"/>
                    <a:pt x="36225" y="31578"/>
                    <a:pt x="19296" y="43151"/>
                  </a:cubicBezTo>
                  <a:cubicBezTo>
                    <a:pt x="10931" y="49723"/>
                    <a:pt x="-2091" y="58486"/>
                    <a:pt x="285" y="71059"/>
                  </a:cubicBezTo>
                  <a:cubicBezTo>
                    <a:pt x="4467" y="93633"/>
                    <a:pt x="40493" y="86680"/>
                    <a:pt x="54181" y="79822"/>
                  </a:cubicBezTo>
                  <a:cubicBezTo>
                    <a:pt x="67869" y="72964"/>
                    <a:pt x="78800" y="61438"/>
                    <a:pt x="91728" y="53437"/>
                  </a:cubicBezTo>
                  <a:cubicBezTo>
                    <a:pt x="101234" y="47722"/>
                    <a:pt x="109884" y="44770"/>
                    <a:pt x="111309" y="33149"/>
                  </a:cubicBezTo>
                  <a:cubicBezTo>
                    <a:pt x="112260" y="26101"/>
                    <a:pt x="105036" y="-283"/>
                    <a:pt x="102659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2" name="Google Shape;492;p15"/>
            <p:cNvSpPr/>
            <p:nvPr/>
          </p:nvSpPr>
          <p:spPr>
            <a:xfrm>
              <a:off x="5796313" y="4560948"/>
              <a:ext cx="110894" cy="58013"/>
            </a:xfrm>
            <a:custGeom>
              <a:avLst/>
              <a:gdLst/>
              <a:ahLst/>
              <a:cxnLst/>
              <a:rect l="l" t="t" r="r" b="b"/>
              <a:pathLst>
                <a:path w="110894" h="58013" extrusionOk="0">
                  <a:moveTo>
                    <a:pt x="110644" y="0"/>
                  </a:moveTo>
                  <a:cubicBezTo>
                    <a:pt x="108838" y="11144"/>
                    <a:pt x="99903" y="14192"/>
                    <a:pt x="90778" y="19812"/>
                  </a:cubicBezTo>
                  <a:cubicBezTo>
                    <a:pt x="77755" y="28004"/>
                    <a:pt x="66254" y="39719"/>
                    <a:pt x="52756" y="46672"/>
                  </a:cubicBezTo>
                  <a:cubicBezTo>
                    <a:pt x="39258" y="53626"/>
                    <a:pt x="8840" y="59341"/>
                    <a:pt x="0" y="43244"/>
                  </a:cubicBezTo>
                  <a:cubicBezTo>
                    <a:pt x="4753" y="64961"/>
                    <a:pt x="40208" y="58198"/>
                    <a:pt x="53706" y="51340"/>
                  </a:cubicBezTo>
                  <a:cubicBezTo>
                    <a:pt x="67204" y="44482"/>
                    <a:pt x="78325" y="32956"/>
                    <a:pt x="91253" y="24955"/>
                  </a:cubicBezTo>
                  <a:cubicBezTo>
                    <a:pt x="100758" y="19240"/>
                    <a:pt x="109408" y="16288"/>
                    <a:pt x="110834" y="4667"/>
                  </a:cubicBezTo>
                  <a:cubicBezTo>
                    <a:pt x="110958" y="3105"/>
                    <a:pt x="110891" y="1543"/>
                    <a:pt x="11064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3" name="Google Shape;493;p15"/>
            <p:cNvSpPr/>
            <p:nvPr/>
          </p:nvSpPr>
          <p:spPr>
            <a:xfrm>
              <a:off x="5813683" y="3728558"/>
              <a:ext cx="237954" cy="833275"/>
            </a:xfrm>
            <a:custGeom>
              <a:avLst/>
              <a:gdLst/>
              <a:ahLst/>
              <a:cxnLst/>
              <a:rect l="l" t="t" r="r" b="b"/>
              <a:pathLst>
                <a:path w="237954" h="833275" extrusionOk="0">
                  <a:moveTo>
                    <a:pt x="6013" y="123825"/>
                  </a:moveTo>
                  <a:cubicBezTo>
                    <a:pt x="12477" y="73342"/>
                    <a:pt x="31013" y="0"/>
                    <a:pt x="31013" y="0"/>
                  </a:cubicBezTo>
                  <a:cubicBezTo>
                    <a:pt x="48541" y="8201"/>
                    <a:pt x="67495" y="12897"/>
                    <a:pt x="86810" y="13811"/>
                  </a:cubicBezTo>
                  <a:cubicBezTo>
                    <a:pt x="115136" y="13716"/>
                    <a:pt x="143396" y="10973"/>
                    <a:pt x="171219" y="5620"/>
                  </a:cubicBezTo>
                  <a:cubicBezTo>
                    <a:pt x="180287" y="21517"/>
                    <a:pt x="190220" y="36909"/>
                    <a:pt x="200971" y="51721"/>
                  </a:cubicBezTo>
                  <a:cubicBezTo>
                    <a:pt x="215515" y="71914"/>
                    <a:pt x="243746" y="116109"/>
                    <a:pt x="236902" y="193357"/>
                  </a:cubicBezTo>
                  <a:cubicBezTo>
                    <a:pt x="232435" y="243840"/>
                    <a:pt x="204203" y="458248"/>
                    <a:pt x="204203" y="458248"/>
                  </a:cubicBezTo>
                  <a:cubicBezTo>
                    <a:pt x="215201" y="494290"/>
                    <a:pt x="221056" y="531714"/>
                    <a:pt x="221598" y="569405"/>
                  </a:cubicBezTo>
                  <a:cubicBezTo>
                    <a:pt x="218937" y="614229"/>
                    <a:pt x="213024" y="658796"/>
                    <a:pt x="203918" y="702755"/>
                  </a:cubicBezTo>
                  <a:lnTo>
                    <a:pt x="187093" y="824389"/>
                  </a:lnTo>
                  <a:cubicBezTo>
                    <a:pt x="187093" y="824389"/>
                    <a:pt x="164660" y="840676"/>
                    <a:pt x="149071" y="829151"/>
                  </a:cubicBezTo>
                  <a:lnTo>
                    <a:pt x="151067" y="710089"/>
                  </a:lnTo>
                  <a:cubicBezTo>
                    <a:pt x="149166" y="680942"/>
                    <a:pt x="146219" y="637984"/>
                    <a:pt x="144413" y="610552"/>
                  </a:cubicBezTo>
                  <a:cubicBezTo>
                    <a:pt x="141371" y="565785"/>
                    <a:pt x="133387" y="494824"/>
                    <a:pt x="131106" y="477202"/>
                  </a:cubicBezTo>
                  <a:cubicBezTo>
                    <a:pt x="128824" y="459581"/>
                    <a:pt x="123121" y="428434"/>
                    <a:pt x="120364" y="393763"/>
                  </a:cubicBezTo>
                  <a:cubicBezTo>
                    <a:pt x="117608" y="359092"/>
                    <a:pt x="104680" y="182594"/>
                    <a:pt x="104680" y="182594"/>
                  </a:cubicBezTo>
                  <a:lnTo>
                    <a:pt x="102874" y="215646"/>
                  </a:lnTo>
                  <a:cubicBezTo>
                    <a:pt x="102874" y="215646"/>
                    <a:pt x="101068" y="269272"/>
                    <a:pt x="93369" y="335470"/>
                  </a:cubicBezTo>
                  <a:cubicBezTo>
                    <a:pt x="85669" y="401669"/>
                    <a:pt x="83008" y="430720"/>
                    <a:pt x="83008" y="430720"/>
                  </a:cubicBezTo>
                  <a:cubicBezTo>
                    <a:pt x="90308" y="444074"/>
                    <a:pt x="95412" y="458514"/>
                    <a:pt x="98121" y="473488"/>
                  </a:cubicBezTo>
                  <a:cubicBezTo>
                    <a:pt x="99452" y="487775"/>
                    <a:pt x="115707" y="600932"/>
                    <a:pt x="106011" y="658463"/>
                  </a:cubicBezTo>
                  <a:lnTo>
                    <a:pt x="85954" y="804863"/>
                  </a:lnTo>
                  <a:cubicBezTo>
                    <a:pt x="75869" y="811882"/>
                    <a:pt x="63018" y="813587"/>
                    <a:pt x="51449" y="809434"/>
                  </a:cubicBezTo>
                  <a:lnTo>
                    <a:pt x="39663" y="661892"/>
                  </a:lnTo>
                  <a:cubicBezTo>
                    <a:pt x="31773" y="605790"/>
                    <a:pt x="15043" y="486823"/>
                    <a:pt x="12477" y="471392"/>
                  </a:cubicBezTo>
                  <a:cubicBezTo>
                    <a:pt x="6773" y="440226"/>
                    <a:pt x="3408" y="408670"/>
                    <a:pt x="2401" y="376999"/>
                  </a:cubicBezTo>
                  <a:cubicBezTo>
                    <a:pt x="-1782" y="312991"/>
                    <a:pt x="-451" y="174212"/>
                    <a:pt x="6013" y="12382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4" name="Google Shape;494;p15"/>
            <p:cNvSpPr/>
            <p:nvPr/>
          </p:nvSpPr>
          <p:spPr>
            <a:xfrm>
              <a:off x="5803516" y="3708175"/>
              <a:ext cx="253612" cy="553963"/>
            </a:xfrm>
            <a:custGeom>
              <a:avLst/>
              <a:gdLst/>
              <a:ahLst/>
              <a:cxnLst/>
              <a:rect l="l" t="t" r="r" b="b"/>
              <a:pathLst>
                <a:path w="253612" h="553963" extrusionOk="0">
                  <a:moveTo>
                    <a:pt x="181386" y="6572"/>
                  </a:moveTo>
                  <a:lnTo>
                    <a:pt x="224731" y="93726"/>
                  </a:lnTo>
                  <a:cubicBezTo>
                    <a:pt x="224731" y="93726"/>
                    <a:pt x="291270" y="190690"/>
                    <a:pt x="222355" y="439960"/>
                  </a:cubicBezTo>
                  <a:lnTo>
                    <a:pt x="235187" y="516922"/>
                  </a:lnTo>
                  <a:cubicBezTo>
                    <a:pt x="235187" y="516922"/>
                    <a:pt x="105532" y="600265"/>
                    <a:pt x="18746" y="516922"/>
                  </a:cubicBezTo>
                  <a:cubicBezTo>
                    <a:pt x="18746" y="516922"/>
                    <a:pt x="-11291" y="286512"/>
                    <a:pt x="4678" y="180308"/>
                  </a:cubicBezTo>
                  <a:cubicBezTo>
                    <a:pt x="13613" y="119272"/>
                    <a:pt x="27121" y="59007"/>
                    <a:pt x="45077" y="0"/>
                  </a:cubicBezTo>
                  <a:cubicBezTo>
                    <a:pt x="45077" y="0"/>
                    <a:pt x="66369" y="23527"/>
                    <a:pt x="175683" y="8001"/>
                  </a:cubicBezTo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5" name="Google Shape;495;p15"/>
            <p:cNvSpPr/>
            <p:nvPr/>
          </p:nvSpPr>
          <p:spPr>
            <a:xfrm>
              <a:off x="5812662" y="3486508"/>
              <a:ext cx="71005" cy="74600"/>
            </a:xfrm>
            <a:custGeom>
              <a:avLst/>
              <a:gdLst/>
              <a:ahLst/>
              <a:cxnLst/>
              <a:rect l="l" t="t" r="r" b="b"/>
              <a:pathLst>
                <a:path w="71005" h="74600" extrusionOk="0">
                  <a:moveTo>
                    <a:pt x="71006" y="496"/>
                  </a:moveTo>
                  <a:cubicBezTo>
                    <a:pt x="71006" y="496"/>
                    <a:pt x="36596" y="-10077"/>
                    <a:pt x="0" y="66409"/>
                  </a:cubicBezTo>
                  <a:lnTo>
                    <a:pt x="13688" y="74600"/>
                  </a:lnTo>
                  <a:cubicBezTo>
                    <a:pt x="13688" y="74600"/>
                    <a:pt x="49714" y="20117"/>
                    <a:pt x="71006" y="496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6" name="Google Shape;496;p15"/>
            <p:cNvSpPr/>
            <p:nvPr/>
          </p:nvSpPr>
          <p:spPr>
            <a:xfrm>
              <a:off x="5614947" y="3815235"/>
              <a:ext cx="254367" cy="147732"/>
            </a:xfrm>
            <a:custGeom>
              <a:avLst/>
              <a:gdLst/>
              <a:ahLst/>
              <a:cxnLst/>
              <a:rect l="l" t="t" r="r" b="b"/>
              <a:pathLst>
                <a:path w="254367" h="147732" extrusionOk="0">
                  <a:moveTo>
                    <a:pt x="0" y="86201"/>
                  </a:moveTo>
                  <a:lnTo>
                    <a:pt x="148096" y="0"/>
                  </a:lnTo>
                  <a:lnTo>
                    <a:pt x="254368" y="61436"/>
                  </a:lnTo>
                  <a:lnTo>
                    <a:pt x="106272" y="147733"/>
                  </a:lnTo>
                  <a:lnTo>
                    <a:pt x="0" y="8620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7" name="Google Shape;497;p15"/>
            <p:cNvSpPr/>
            <p:nvPr/>
          </p:nvSpPr>
          <p:spPr>
            <a:xfrm>
              <a:off x="5694413" y="3821487"/>
              <a:ext cx="53706" cy="44771"/>
            </a:xfrm>
            <a:custGeom>
              <a:avLst/>
              <a:gdLst/>
              <a:ahLst/>
              <a:cxnLst/>
              <a:rect l="l" t="t" r="r" b="b"/>
              <a:pathLst>
                <a:path w="53706" h="44771" extrusionOk="0">
                  <a:moveTo>
                    <a:pt x="49524" y="35"/>
                  </a:moveTo>
                  <a:cubicBezTo>
                    <a:pt x="40237" y="968"/>
                    <a:pt x="31254" y="3892"/>
                    <a:pt x="23194" y="8607"/>
                  </a:cubicBezTo>
                  <a:cubicBezTo>
                    <a:pt x="20228" y="11198"/>
                    <a:pt x="17053" y="13522"/>
                    <a:pt x="13688" y="15561"/>
                  </a:cubicBezTo>
                  <a:cubicBezTo>
                    <a:pt x="12262" y="16227"/>
                    <a:pt x="10836" y="17180"/>
                    <a:pt x="9315" y="17846"/>
                  </a:cubicBezTo>
                  <a:cubicBezTo>
                    <a:pt x="7053" y="18675"/>
                    <a:pt x="5000" y="20009"/>
                    <a:pt x="3327" y="21752"/>
                  </a:cubicBezTo>
                  <a:cubicBezTo>
                    <a:pt x="1673" y="24200"/>
                    <a:pt x="780" y="27086"/>
                    <a:pt x="760" y="30038"/>
                  </a:cubicBezTo>
                  <a:cubicBezTo>
                    <a:pt x="0" y="33572"/>
                    <a:pt x="-190" y="37211"/>
                    <a:pt x="190" y="40802"/>
                  </a:cubicBezTo>
                  <a:cubicBezTo>
                    <a:pt x="1521" y="46136"/>
                    <a:pt x="7034" y="45660"/>
                    <a:pt x="9696" y="41945"/>
                  </a:cubicBezTo>
                  <a:cubicBezTo>
                    <a:pt x="11141" y="40088"/>
                    <a:pt x="11968" y="37821"/>
                    <a:pt x="12072" y="35468"/>
                  </a:cubicBezTo>
                  <a:cubicBezTo>
                    <a:pt x="12234" y="30905"/>
                    <a:pt x="14562" y="26686"/>
                    <a:pt x="18346" y="24133"/>
                  </a:cubicBezTo>
                  <a:lnTo>
                    <a:pt x="53706" y="2130"/>
                  </a:lnTo>
                  <a:cubicBezTo>
                    <a:pt x="52870" y="644"/>
                    <a:pt x="51216" y="-184"/>
                    <a:pt x="49524" y="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" name="Google Shape;498;p15"/>
            <p:cNvSpPr/>
            <p:nvPr/>
          </p:nvSpPr>
          <p:spPr>
            <a:xfrm>
              <a:off x="5775008" y="3530248"/>
              <a:ext cx="253611" cy="322722"/>
            </a:xfrm>
            <a:custGeom>
              <a:avLst/>
              <a:gdLst/>
              <a:ahLst/>
              <a:cxnLst/>
              <a:rect l="l" t="t" r="r" b="b"/>
              <a:pathLst>
                <a:path w="253611" h="322722" extrusionOk="0">
                  <a:moveTo>
                    <a:pt x="250673" y="25527"/>
                  </a:moveTo>
                  <a:cubicBezTo>
                    <a:pt x="245826" y="5334"/>
                    <a:pt x="230046" y="11811"/>
                    <a:pt x="216453" y="0"/>
                  </a:cubicBezTo>
                  <a:cubicBezTo>
                    <a:pt x="184990" y="44672"/>
                    <a:pt x="205902" y="165449"/>
                    <a:pt x="210180" y="178308"/>
                  </a:cubicBezTo>
                  <a:lnTo>
                    <a:pt x="89270" y="255556"/>
                  </a:lnTo>
                  <a:lnTo>
                    <a:pt x="89270" y="255556"/>
                  </a:lnTo>
                  <a:lnTo>
                    <a:pt x="81095" y="260604"/>
                  </a:lnTo>
                  <a:cubicBezTo>
                    <a:pt x="67331" y="269662"/>
                    <a:pt x="52131" y="276301"/>
                    <a:pt x="36134" y="280225"/>
                  </a:cubicBezTo>
                  <a:cubicBezTo>
                    <a:pt x="24062" y="281654"/>
                    <a:pt x="17788" y="298704"/>
                    <a:pt x="4860" y="300228"/>
                  </a:cubicBezTo>
                  <a:cubicBezTo>
                    <a:pt x="2075" y="300333"/>
                    <a:pt x="-92" y="302666"/>
                    <a:pt x="3" y="305457"/>
                  </a:cubicBezTo>
                  <a:cubicBezTo>
                    <a:pt x="51" y="306753"/>
                    <a:pt x="602" y="307991"/>
                    <a:pt x="1533" y="308896"/>
                  </a:cubicBezTo>
                  <a:cubicBezTo>
                    <a:pt x="6667" y="313849"/>
                    <a:pt x="20545" y="309753"/>
                    <a:pt x="30050" y="298704"/>
                  </a:cubicBezTo>
                  <a:cubicBezTo>
                    <a:pt x="30002" y="298952"/>
                    <a:pt x="30002" y="299218"/>
                    <a:pt x="30050" y="299466"/>
                  </a:cubicBezTo>
                  <a:cubicBezTo>
                    <a:pt x="30202" y="303057"/>
                    <a:pt x="32227" y="306314"/>
                    <a:pt x="35373" y="308038"/>
                  </a:cubicBezTo>
                  <a:cubicBezTo>
                    <a:pt x="36067" y="308458"/>
                    <a:pt x="36846" y="308724"/>
                    <a:pt x="37655" y="308800"/>
                  </a:cubicBezTo>
                  <a:cubicBezTo>
                    <a:pt x="37655" y="309610"/>
                    <a:pt x="37883" y="310401"/>
                    <a:pt x="38320" y="311087"/>
                  </a:cubicBezTo>
                  <a:cubicBezTo>
                    <a:pt x="39708" y="313925"/>
                    <a:pt x="42417" y="315887"/>
                    <a:pt x="45544" y="316325"/>
                  </a:cubicBezTo>
                  <a:lnTo>
                    <a:pt x="45544" y="316325"/>
                  </a:lnTo>
                  <a:cubicBezTo>
                    <a:pt x="46941" y="320335"/>
                    <a:pt x="50820" y="322945"/>
                    <a:pt x="55050" y="322707"/>
                  </a:cubicBezTo>
                  <a:cubicBezTo>
                    <a:pt x="57825" y="322564"/>
                    <a:pt x="60439" y="321373"/>
                    <a:pt x="62369" y="319373"/>
                  </a:cubicBezTo>
                  <a:cubicBezTo>
                    <a:pt x="72682" y="315430"/>
                    <a:pt x="81789" y="308867"/>
                    <a:pt x="88794" y="300323"/>
                  </a:cubicBezTo>
                  <a:cubicBezTo>
                    <a:pt x="94982" y="293875"/>
                    <a:pt x="101522" y="287769"/>
                    <a:pt x="108375" y="282035"/>
                  </a:cubicBezTo>
                  <a:cubicBezTo>
                    <a:pt x="141170" y="267843"/>
                    <a:pt x="239552" y="225742"/>
                    <a:pt x="243924" y="219742"/>
                  </a:cubicBezTo>
                  <a:cubicBezTo>
                    <a:pt x="250768" y="210693"/>
                    <a:pt x="257707" y="54102"/>
                    <a:pt x="250673" y="2552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" name="Google Shape;499;p15"/>
            <p:cNvSpPr/>
            <p:nvPr/>
          </p:nvSpPr>
          <p:spPr>
            <a:xfrm>
              <a:off x="5965891" y="3514431"/>
              <a:ext cx="72720" cy="103595"/>
            </a:xfrm>
            <a:custGeom>
              <a:avLst/>
              <a:gdLst/>
              <a:ahLst/>
              <a:cxnLst/>
              <a:rect l="l" t="t" r="r" b="b"/>
              <a:pathLst>
                <a:path w="72720" h="103595" extrusionOk="0">
                  <a:moveTo>
                    <a:pt x="70816" y="95541"/>
                  </a:moveTo>
                  <a:cubicBezTo>
                    <a:pt x="70816" y="95541"/>
                    <a:pt x="32129" y="112876"/>
                    <a:pt x="0" y="96684"/>
                  </a:cubicBezTo>
                  <a:lnTo>
                    <a:pt x="4658" y="36009"/>
                  </a:lnTo>
                  <a:cubicBezTo>
                    <a:pt x="4658" y="36009"/>
                    <a:pt x="5133" y="3434"/>
                    <a:pt x="34125" y="195"/>
                  </a:cubicBezTo>
                  <a:cubicBezTo>
                    <a:pt x="63117" y="-3043"/>
                    <a:pt x="78325" y="34200"/>
                    <a:pt x="70816" y="9554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00" name="Google Shape;500;p15"/>
            <p:cNvGrpSpPr/>
            <p:nvPr/>
          </p:nvGrpSpPr>
          <p:grpSpPr>
            <a:xfrm flipH="1">
              <a:off x="2865273" y="3434801"/>
              <a:ext cx="598186" cy="1340314"/>
              <a:chOff x="4210728" y="4525714"/>
              <a:chExt cx="546438" cy="1224366"/>
            </a:xfrm>
          </p:grpSpPr>
          <p:sp>
            <p:nvSpPr>
              <p:cNvPr id="501" name="Google Shape;501;p15"/>
              <p:cNvSpPr/>
              <p:nvPr/>
            </p:nvSpPr>
            <p:spPr>
              <a:xfrm>
                <a:off x="4672107" y="4726590"/>
                <a:ext cx="85002" cy="305847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2" name="Google Shape;502;p15"/>
              <p:cNvSpPr/>
              <p:nvPr/>
            </p:nvSpPr>
            <p:spPr>
              <a:xfrm>
                <a:off x="4408366" y="5679962"/>
                <a:ext cx="123900" cy="70118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3" name="Google Shape;503;p15"/>
              <p:cNvSpPr/>
              <p:nvPr/>
            </p:nvSpPr>
            <p:spPr>
              <a:xfrm>
                <a:off x="4408245" y="5691663"/>
                <a:ext cx="121939" cy="58416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15"/>
              <p:cNvSpPr/>
              <p:nvPr/>
            </p:nvSpPr>
            <p:spPr>
              <a:xfrm>
                <a:off x="4566152" y="5600798"/>
                <a:ext cx="119416" cy="67472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5" name="Google Shape;505;p15"/>
              <p:cNvSpPr/>
              <p:nvPr/>
            </p:nvSpPr>
            <p:spPr>
              <a:xfrm>
                <a:off x="4566197" y="5611939"/>
                <a:ext cx="117340" cy="56332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" name="Google Shape;506;p15"/>
              <p:cNvSpPr/>
              <p:nvPr/>
            </p:nvSpPr>
            <p:spPr>
              <a:xfrm>
                <a:off x="4483409" y="4968525"/>
                <a:ext cx="238054" cy="732926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7" name="Google Shape;507;p15"/>
              <p:cNvSpPr/>
              <p:nvPr/>
            </p:nvSpPr>
            <p:spPr>
              <a:xfrm>
                <a:off x="4484426" y="4968525"/>
                <a:ext cx="236925" cy="409866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8" name="Google Shape;508;p15"/>
              <p:cNvSpPr/>
              <p:nvPr/>
            </p:nvSpPr>
            <p:spPr>
              <a:xfrm>
                <a:off x="4531702" y="4525767"/>
                <a:ext cx="160521" cy="258577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9" name="Google Shape;509;p15"/>
              <p:cNvSpPr/>
              <p:nvPr/>
            </p:nvSpPr>
            <p:spPr>
              <a:xfrm>
                <a:off x="4695825" y="4756088"/>
                <a:ext cx="61341" cy="108805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0" name="Google Shape;510;p15"/>
              <p:cNvSpPr/>
              <p:nvPr/>
            </p:nvSpPr>
            <p:spPr>
              <a:xfrm>
                <a:off x="4523612" y="4724507"/>
                <a:ext cx="191546" cy="273865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1" name="Google Shape;511;p15"/>
              <p:cNvSpPr/>
              <p:nvPr/>
            </p:nvSpPr>
            <p:spPr>
              <a:xfrm>
                <a:off x="4210728" y="4780936"/>
                <a:ext cx="368747" cy="265455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2" name="Google Shape;512;p15"/>
              <p:cNvSpPr/>
              <p:nvPr/>
            </p:nvSpPr>
            <p:spPr>
              <a:xfrm>
                <a:off x="4484370" y="4765472"/>
                <a:ext cx="100785" cy="104755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15"/>
              <p:cNvSpPr/>
              <p:nvPr/>
            </p:nvSpPr>
            <p:spPr>
              <a:xfrm>
                <a:off x="4524935" y="4525714"/>
                <a:ext cx="201012" cy="328692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3118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ssumptions</a:t>
            </a:r>
            <a:endParaRPr dirty="0"/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7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3938" y="1426228"/>
            <a:ext cx="4016807" cy="3355800"/>
          </a:xfrm>
        </p:spPr>
        <p:txBody>
          <a:bodyPr/>
          <a:lstStyle/>
          <a:p>
            <a:r>
              <a:rPr lang="en-CA" dirty="0"/>
              <a:t>Data </a:t>
            </a:r>
            <a:r>
              <a:rPr lang="en-CA" dirty="0">
                <a:latin typeface="Barlow Light" panose="020B0604020202020204" charset="0"/>
              </a:rPr>
              <a:t>job postings were scraped </a:t>
            </a:r>
            <a:r>
              <a:rPr lang="en-CA" dirty="0"/>
              <a:t>from Indeed on 15 December 2020</a:t>
            </a:r>
          </a:p>
          <a:p>
            <a:pPr marL="114300" indent="0">
              <a:buNone/>
            </a:pPr>
            <a:endParaRPr lang="en-CA" dirty="0"/>
          </a:p>
          <a:p>
            <a:r>
              <a:rPr lang="en-CA" dirty="0"/>
              <a:t>Job titles were categorized by Indeed for simplification purpose</a:t>
            </a:r>
          </a:p>
          <a:p>
            <a:endParaRPr lang="en-CA" dirty="0"/>
          </a:p>
          <a:p>
            <a:r>
              <a:rPr lang="en-CA" dirty="0"/>
              <a:t>Capped the job postings at 1000 postings per job title and per country</a:t>
            </a:r>
          </a:p>
          <a:p>
            <a:endParaRPr lang="en-CA" dirty="0"/>
          </a:p>
          <a:p>
            <a:endParaRPr lang="en-CA" dirty="0"/>
          </a:p>
        </p:txBody>
      </p:sp>
      <p:grpSp>
        <p:nvGrpSpPr>
          <p:cNvPr id="141" name="Google Shape;2060;p34">
            <a:extLst>
              <a:ext uri="{FF2B5EF4-FFF2-40B4-BE49-F238E27FC236}">
                <a16:creationId xmlns:a16="http://schemas.microsoft.com/office/drawing/2014/main" id="{8A4B3C2B-9D1F-49AD-B87D-FFCA4AB22427}"/>
              </a:ext>
            </a:extLst>
          </p:cNvPr>
          <p:cNvGrpSpPr/>
          <p:nvPr/>
        </p:nvGrpSpPr>
        <p:grpSpPr>
          <a:xfrm>
            <a:off x="5292901" y="605600"/>
            <a:ext cx="3356124" cy="3829046"/>
            <a:chOff x="2602525" y="317054"/>
            <a:chExt cx="4174283" cy="4762495"/>
          </a:xfrm>
        </p:grpSpPr>
        <p:sp>
          <p:nvSpPr>
            <p:cNvPr id="142" name="Google Shape;2061;p34">
              <a:extLst>
                <a:ext uri="{FF2B5EF4-FFF2-40B4-BE49-F238E27FC236}">
                  <a16:creationId xmlns:a16="http://schemas.microsoft.com/office/drawing/2014/main" id="{C9288285-17CD-4A25-902A-ABDAB5F6353D}"/>
                </a:ext>
              </a:extLst>
            </p:cNvPr>
            <p:cNvSpPr/>
            <p:nvPr/>
          </p:nvSpPr>
          <p:spPr>
            <a:xfrm>
              <a:off x="3677747" y="776267"/>
              <a:ext cx="2670951" cy="3350306"/>
            </a:xfrm>
            <a:custGeom>
              <a:avLst/>
              <a:gdLst/>
              <a:ahLst/>
              <a:cxnLst/>
              <a:rect l="l" t="t" r="r" b="b"/>
              <a:pathLst>
                <a:path w="2670951" h="3350306" extrusionOk="0">
                  <a:moveTo>
                    <a:pt x="2625857" y="1488073"/>
                  </a:moveTo>
                  <a:lnTo>
                    <a:pt x="60628" y="5983"/>
                  </a:lnTo>
                  <a:cubicBezTo>
                    <a:pt x="51862" y="-199"/>
                    <a:pt x="40631" y="-1694"/>
                    <a:pt x="30552" y="1983"/>
                  </a:cubicBezTo>
                  <a:lnTo>
                    <a:pt x="30552" y="1983"/>
                  </a:lnTo>
                  <a:lnTo>
                    <a:pt x="30552" y="1983"/>
                  </a:lnTo>
                  <a:lnTo>
                    <a:pt x="27982" y="3507"/>
                  </a:lnTo>
                  <a:lnTo>
                    <a:pt x="0" y="19699"/>
                  </a:lnTo>
                  <a:lnTo>
                    <a:pt x="16085" y="42464"/>
                  </a:lnTo>
                  <a:lnTo>
                    <a:pt x="16085" y="1769061"/>
                  </a:lnTo>
                  <a:cubicBezTo>
                    <a:pt x="17798" y="1800712"/>
                    <a:pt x="34483" y="1829649"/>
                    <a:pt x="61009" y="1846975"/>
                  </a:cubicBezTo>
                  <a:lnTo>
                    <a:pt x="2622716" y="3327351"/>
                  </a:lnTo>
                  <a:lnTo>
                    <a:pt x="2626333" y="3350306"/>
                  </a:lnTo>
                  <a:lnTo>
                    <a:pt x="2657456" y="3332304"/>
                  </a:lnTo>
                  <a:lnTo>
                    <a:pt x="2657456" y="3332304"/>
                  </a:lnTo>
                  <a:cubicBezTo>
                    <a:pt x="2666869" y="3325741"/>
                    <a:pt x="2671970" y="3314578"/>
                    <a:pt x="2670781" y="3303157"/>
                  </a:cubicBezTo>
                  <a:lnTo>
                    <a:pt x="2670781" y="1565988"/>
                  </a:lnTo>
                  <a:cubicBezTo>
                    <a:pt x="2669068" y="1534336"/>
                    <a:pt x="2652383" y="1505399"/>
                    <a:pt x="2625857" y="1488073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2062;p34">
              <a:extLst>
                <a:ext uri="{FF2B5EF4-FFF2-40B4-BE49-F238E27FC236}">
                  <a16:creationId xmlns:a16="http://schemas.microsoft.com/office/drawing/2014/main" id="{DCF6DE01-82A5-4AB5-B19B-257CF99C798B}"/>
                </a:ext>
              </a:extLst>
            </p:cNvPr>
            <p:cNvSpPr/>
            <p:nvPr/>
          </p:nvSpPr>
          <p:spPr>
            <a:xfrm>
              <a:off x="3662233" y="794118"/>
              <a:ext cx="2655076" cy="3335369"/>
            </a:xfrm>
            <a:custGeom>
              <a:avLst/>
              <a:gdLst/>
              <a:ahLst/>
              <a:cxnLst/>
              <a:rect l="l" t="t" r="r" b="b"/>
              <a:pathLst>
                <a:path w="2655076" h="3335369" extrusionOk="0">
                  <a:moveTo>
                    <a:pt x="2655077" y="1566234"/>
                  </a:moveTo>
                  <a:lnTo>
                    <a:pt x="2655077" y="3303309"/>
                  </a:lnTo>
                  <a:cubicBezTo>
                    <a:pt x="2655077" y="3331884"/>
                    <a:pt x="2635089" y="3343599"/>
                    <a:pt x="2610153" y="3329216"/>
                  </a:cubicBezTo>
                  <a:lnTo>
                    <a:pt x="44924" y="1847031"/>
                  </a:lnTo>
                  <a:cubicBezTo>
                    <a:pt x="18398" y="1829705"/>
                    <a:pt x="1713" y="1800768"/>
                    <a:pt x="0" y="1769117"/>
                  </a:cubicBezTo>
                  <a:lnTo>
                    <a:pt x="0" y="32138"/>
                  </a:lnTo>
                  <a:cubicBezTo>
                    <a:pt x="0" y="3563"/>
                    <a:pt x="20082" y="-8248"/>
                    <a:pt x="44924" y="6134"/>
                  </a:cubicBezTo>
                  <a:lnTo>
                    <a:pt x="2610153" y="1488320"/>
                  </a:lnTo>
                  <a:cubicBezTo>
                    <a:pt x="2636717" y="1505607"/>
                    <a:pt x="2653411" y="1534564"/>
                    <a:pt x="2655077" y="1566234"/>
                  </a:cubicBezTo>
                  <a:close/>
                </a:path>
              </a:pathLst>
            </a:custGeom>
            <a:solidFill>
              <a:srgbClr val="FAFB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2063;p34">
              <a:extLst>
                <a:ext uri="{FF2B5EF4-FFF2-40B4-BE49-F238E27FC236}">
                  <a16:creationId xmlns:a16="http://schemas.microsoft.com/office/drawing/2014/main" id="{4CD34363-75B7-4B58-A839-C43D92E65255}"/>
                </a:ext>
              </a:extLst>
            </p:cNvPr>
            <p:cNvSpPr/>
            <p:nvPr/>
          </p:nvSpPr>
          <p:spPr>
            <a:xfrm>
              <a:off x="3763407" y="1012375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2064;p34">
              <a:extLst>
                <a:ext uri="{FF2B5EF4-FFF2-40B4-BE49-F238E27FC236}">
                  <a16:creationId xmlns:a16="http://schemas.microsoft.com/office/drawing/2014/main" id="{CE553A44-4F24-4E03-891A-99B2A9671914}"/>
                </a:ext>
              </a:extLst>
            </p:cNvPr>
            <p:cNvSpPr/>
            <p:nvPr/>
          </p:nvSpPr>
          <p:spPr>
            <a:xfrm>
              <a:off x="3763407" y="1170775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493433" y="862965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2065;p34">
              <a:extLst>
                <a:ext uri="{FF2B5EF4-FFF2-40B4-BE49-F238E27FC236}">
                  <a16:creationId xmlns:a16="http://schemas.microsoft.com/office/drawing/2014/main" id="{3D469C09-6A97-4C74-BF3A-A466330221DE}"/>
                </a:ext>
              </a:extLst>
            </p:cNvPr>
            <p:cNvSpPr/>
            <p:nvPr/>
          </p:nvSpPr>
          <p:spPr>
            <a:xfrm>
              <a:off x="3763407" y="1252119"/>
              <a:ext cx="1319638" cy="808005"/>
            </a:xfrm>
            <a:custGeom>
              <a:avLst/>
              <a:gdLst/>
              <a:ahLst/>
              <a:cxnLst/>
              <a:rect l="l" t="t" r="r" b="b"/>
              <a:pathLst>
                <a:path w="1319638" h="808005" extrusionOk="0">
                  <a:moveTo>
                    <a:pt x="1319638" y="808006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572"/>
                  </a:lnTo>
                  <a:lnTo>
                    <a:pt x="1319638" y="80800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2066;p34">
              <a:extLst>
                <a:ext uri="{FF2B5EF4-FFF2-40B4-BE49-F238E27FC236}">
                  <a16:creationId xmlns:a16="http://schemas.microsoft.com/office/drawing/2014/main" id="{2F224A21-4D7E-4FFC-888C-1D87FF359E93}"/>
                </a:ext>
              </a:extLst>
            </p:cNvPr>
            <p:cNvSpPr/>
            <p:nvPr/>
          </p:nvSpPr>
          <p:spPr>
            <a:xfrm>
              <a:off x="3763407" y="1333558"/>
              <a:ext cx="1235786" cy="759428"/>
            </a:xfrm>
            <a:custGeom>
              <a:avLst/>
              <a:gdLst/>
              <a:ahLst/>
              <a:cxnLst/>
              <a:rect l="l" t="t" r="r" b="b"/>
              <a:pathLst>
                <a:path w="1235786" h="759428" extrusionOk="0">
                  <a:moveTo>
                    <a:pt x="1235787" y="759428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235787" y="713994"/>
                  </a:lnTo>
                  <a:lnTo>
                    <a:pt x="1235787" y="759428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2067;p34">
              <a:extLst>
                <a:ext uri="{FF2B5EF4-FFF2-40B4-BE49-F238E27FC236}">
                  <a16:creationId xmlns:a16="http://schemas.microsoft.com/office/drawing/2014/main" id="{A497A1F3-847E-4AEA-963B-4EA80B4D3F7B}"/>
                </a:ext>
              </a:extLst>
            </p:cNvPr>
            <p:cNvSpPr/>
            <p:nvPr/>
          </p:nvSpPr>
          <p:spPr>
            <a:xfrm>
              <a:off x="5632982" y="2768594"/>
              <a:ext cx="578775" cy="425291"/>
            </a:xfrm>
            <a:custGeom>
              <a:avLst/>
              <a:gdLst/>
              <a:ahLst/>
              <a:cxnLst/>
              <a:rect l="l" t="t" r="r" b="b"/>
              <a:pathLst>
                <a:path w="578775" h="425291" extrusionOk="0">
                  <a:moveTo>
                    <a:pt x="578775" y="425291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578775" y="334328"/>
                  </a:lnTo>
                  <a:lnTo>
                    <a:pt x="578775" y="42529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2068;p34">
              <a:extLst>
                <a:ext uri="{FF2B5EF4-FFF2-40B4-BE49-F238E27FC236}">
                  <a16:creationId xmlns:a16="http://schemas.microsoft.com/office/drawing/2014/main" id="{86574D5F-087D-4C3C-B448-C277DC502648}"/>
                </a:ext>
              </a:extLst>
            </p:cNvPr>
            <p:cNvSpPr/>
            <p:nvPr/>
          </p:nvSpPr>
          <p:spPr>
            <a:xfrm>
              <a:off x="5632982" y="2926995"/>
              <a:ext cx="548794" cy="362521"/>
            </a:xfrm>
            <a:custGeom>
              <a:avLst/>
              <a:gdLst/>
              <a:ahLst/>
              <a:cxnLst/>
              <a:rect l="l" t="t" r="r" b="b"/>
              <a:pathLst>
                <a:path w="548794" h="362521" extrusionOk="0">
                  <a:moveTo>
                    <a:pt x="548795" y="362521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548795" y="317087"/>
                  </a:lnTo>
                  <a:lnTo>
                    <a:pt x="548795" y="362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2069;p34">
              <a:extLst>
                <a:ext uri="{FF2B5EF4-FFF2-40B4-BE49-F238E27FC236}">
                  <a16:creationId xmlns:a16="http://schemas.microsoft.com/office/drawing/2014/main" id="{7AA595E1-3E4B-4BFA-B3C6-253587C8CB5F}"/>
                </a:ext>
              </a:extLst>
            </p:cNvPr>
            <p:cNvSpPr/>
            <p:nvPr/>
          </p:nvSpPr>
          <p:spPr>
            <a:xfrm>
              <a:off x="5632982" y="3008338"/>
              <a:ext cx="484930" cy="325659"/>
            </a:xfrm>
            <a:custGeom>
              <a:avLst/>
              <a:gdLst/>
              <a:ahLst/>
              <a:cxnLst/>
              <a:rect l="l" t="t" r="r" b="b"/>
              <a:pathLst>
                <a:path w="484930" h="325659" extrusionOk="0">
                  <a:moveTo>
                    <a:pt x="484930" y="325660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484930" y="280226"/>
                  </a:lnTo>
                  <a:lnTo>
                    <a:pt x="484930" y="325660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2070;p34">
              <a:extLst>
                <a:ext uri="{FF2B5EF4-FFF2-40B4-BE49-F238E27FC236}">
                  <a16:creationId xmlns:a16="http://schemas.microsoft.com/office/drawing/2014/main" id="{59FF20E8-8F01-42FC-9AE5-4741B73C1BC5}"/>
                </a:ext>
              </a:extLst>
            </p:cNvPr>
            <p:cNvSpPr/>
            <p:nvPr/>
          </p:nvSpPr>
          <p:spPr>
            <a:xfrm>
              <a:off x="5632982" y="3089777"/>
              <a:ext cx="454092" cy="307752"/>
            </a:xfrm>
            <a:custGeom>
              <a:avLst/>
              <a:gdLst/>
              <a:ahLst/>
              <a:cxnLst/>
              <a:rect l="l" t="t" r="r" b="b"/>
              <a:pathLst>
                <a:path w="454092" h="307752" extrusionOk="0">
                  <a:moveTo>
                    <a:pt x="454093" y="307753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454093" y="262319"/>
                  </a:lnTo>
                  <a:lnTo>
                    <a:pt x="454093" y="3077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2071;p34">
              <a:extLst>
                <a:ext uri="{FF2B5EF4-FFF2-40B4-BE49-F238E27FC236}">
                  <a16:creationId xmlns:a16="http://schemas.microsoft.com/office/drawing/2014/main" id="{3C7F78D0-7F7E-4A55-818E-F136E45F099A}"/>
                </a:ext>
              </a:extLst>
            </p:cNvPr>
            <p:cNvSpPr/>
            <p:nvPr/>
          </p:nvSpPr>
          <p:spPr>
            <a:xfrm>
              <a:off x="3763407" y="1505008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8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2072;p34">
              <a:extLst>
                <a:ext uri="{FF2B5EF4-FFF2-40B4-BE49-F238E27FC236}">
                  <a16:creationId xmlns:a16="http://schemas.microsoft.com/office/drawing/2014/main" id="{8C38FE9F-8F9B-490B-854A-DA649F899D99}"/>
                </a:ext>
              </a:extLst>
            </p:cNvPr>
            <p:cNvSpPr/>
            <p:nvPr/>
          </p:nvSpPr>
          <p:spPr>
            <a:xfrm>
              <a:off x="3763407" y="1663408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529"/>
                  </a:lnTo>
                  <a:lnTo>
                    <a:pt x="0" y="0"/>
                  </a:lnTo>
                  <a:lnTo>
                    <a:pt x="1493433" y="862965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2073;p34">
              <a:extLst>
                <a:ext uri="{FF2B5EF4-FFF2-40B4-BE49-F238E27FC236}">
                  <a16:creationId xmlns:a16="http://schemas.microsoft.com/office/drawing/2014/main" id="{E0CA660D-4114-4F8B-9D62-5FD8114E5987}"/>
                </a:ext>
              </a:extLst>
            </p:cNvPr>
            <p:cNvSpPr/>
            <p:nvPr/>
          </p:nvSpPr>
          <p:spPr>
            <a:xfrm>
              <a:off x="3763407" y="1744847"/>
              <a:ext cx="1319638" cy="807910"/>
            </a:xfrm>
            <a:custGeom>
              <a:avLst/>
              <a:gdLst/>
              <a:ahLst/>
              <a:cxnLst/>
              <a:rect l="l" t="t" r="r" b="b"/>
              <a:pathLst>
                <a:path w="1319638" h="807910" extrusionOk="0">
                  <a:moveTo>
                    <a:pt x="1319638" y="807911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476"/>
                  </a:lnTo>
                  <a:lnTo>
                    <a:pt x="1319638" y="80791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2074;p34">
              <a:extLst>
                <a:ext uri="{FF2B5EF4-FFF2-40B4-BE49-F238E27FC236}">
                  <a16:creationId xmlns:a16="http://schemas.microsoft.com/office/drawing/2014/main" id="{CAD239E4-1F4F-4F8A-AD4C-8BAA71940EB5}"/>
                </a:ext>
              </a:extLst>
            </p:cNvPr>
            <p:cNvSpPr/>
            <p:nvPr/>
          </p:nvSpPr>
          <p:spPr>
            <a:xfrm>
              <a:off x="3763407" y="1826191"/>
              <a:ext cx="1235786" cy="759523"/>
            </a:xfrm>
            <a:custGeom>
              <a:avLst/>
              <a:gdLst/>
              <a:ahLst/>
              <a:cxnLst/>
              <a:rect l="l" t="t" r="r" b="b"/>
              <a:pathLst>
                <a:path w="1235786" h="759523" extrusionOk="0">
                  <a:moveTo>
                    <a:pt x="1235787" y="759523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235787" y="713994"/>
                  </a:lnTo>
                  <a:lnTo>
                    <a:pt x="1235787" y="75952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2075;p34">
              <a:extLst>
                <a:ext uri="{FF2B5EF4-FFF2-40B4-BE49-F238E27FC236}">
                  <a16:creationId xmlns:a16="http://schemas.microsoft.com/office/drawing/2014/main" id="{35035B6B-E87C-47A1-AAFC-1581DFD08F41}"/>
                </a:ext>
              </a:extLst>
            </p:cNvPr>
            <p:cNvSpPr/>
            <p:nvPr/>
          </p:nvSpPr>
          <p:spPr>
            <a:xfrm>
              <a:off x="3763407" y="1997641"/>
              <a:ext cx="1575095" cy="1001077"/>
            </a:xfrm>
            <a:custGeom>
              <a:avLst/>
              <a:gdLst/>
              <a:ahLst/>
              <a:cxnLst/>
              <a:rect l="l" t="t" r="r" b="b"/>
              <a:pathLst>
                <a:path w="1575095" h="1001077" extrusionOk="0">
                  <a:moveTo>
                    <a:pt x="1575095" y="1001078"/>
                  </a:moveTo>
                  <a:lnTo>
                    <a:pt x="0" y="90964"/>
                  </a:lnTo>
                  <a:lnTo>
                    <a:pt x="0" y="0"/>
                  </a:lnTo>
                  <a:lnTo>
                    <a:pt x="1575095" y="910209"/>
                  </a:lnTo>
                  <a:lnTo>
                    <a:pt x="1575095" y="1001078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2076;p34">
              <a:extLst>
                <a:ext uri="{FF2B5EF4-FFF2-40B4-BE49-F238E27FC236}">
                  <a16:creationId xmlns:a16="http://schemas.microsoft.com/office/drawing/2014/main" id="{16AB9356-0B25-4D0A-91D5-B93869C43536}"/>
                </a:ext>
              </a:extLst>
            </p:cNvPr>
            <p:cNvSpPr/>
            <p:nvPr/>
          </p:nvSpPr>
          <p:spPr>
            <a:xfrm>
              <a:off x="3763407" y="2156137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493433" y="862870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2077;p34">
              <a:extLst>
                <a:ext uri="{FF2B5EF4-FFF2-40B4-BE49-F238E27FC236}">
                  <a16:creationId xmlns:a16="http://schemas.microsoft.com/office/drawing/2014/main" id="{B7E5A4CA-BEB8-418F-B2D6-45DF280419DC}"/>
                </a:ext>
              </a:extLst>
            </p:cNvPr>
            <p:cNvSpPr/>
            <p:nvPr/>
          </p:nvSpPr>
          <p:spPr>
            <a:xfrm>
              <a:off x="3763407" y="2237480"/>
              <a:ext cx="1319638" cy="808005"/>
            </a:xfrm>
            <a:custGeom>
              <a:avLst/>
              <a:gdLst/>
              <a:ahLst/>
              <a:cxnLst/>
              <a:rect l="l" t="t" r="r" b="b"/>
              <a:pathLst>
                <a:path w="1319638" h="808005" extrusionOk="0">
                  <a:moveTo>
                    <a:pt x="1319638" y="808006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476"/>
                  </a:lnTo>
                  <a:lnTo>
                    <a:pt x="1319638" y="80800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2078;p34">
              <a:extLst>
                <a:ext uri="{FF2B5EF4-FFF2-40B4-BE49-F238E27FC236}">
                  <a16:creationId xmlns:a16="http://schemas.microsoft.com/office/drawing/2014/main" id="{BC1278DC-46C2-48FC-A126-F4C3B6F67FA3}"/>
                </a:ext>
              </a:extLst>
            </p:cNvPr>
            <p:cNvSpPr/>
            <p:nvPr/>
          </p:nvSpPr>
          <p:spPr>
            <a:xfrm>
              <a:off x="3763407" y="2318824"/>
              <a:ext cx="1235786" cy="759523"/>
            </a:xfrm>
            <a:custGeom>
              <a:avLst/>
              <a:gdLst/>
              <a:ahLst/>
              <a:cxnLst/>
              <a:rect l="l" t="t" r="r" b="b"/>
              <a:pathLst>
                <a:path w="1235786" h="759523" extrusionOk="0">
                  <a:moveTo>
                    <a:pt x="1235787" y="759523"/>
                  </a:moveTo>
                  <a:lnTo>
                    <a:pt x="0" y="45529"/>
                  </a:lnTo>
                  <a:lnTo>
                    <a:pt x="0" y="0"/>
                  </a:lnTo>
                  <a:lnTo>
                    <a:pt x="1235787" y="714089"/>
                  </a:lnTo>
                  <a:lnTo>
                    <a:pt x="1235787" y="75952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2079;p34">
              <a:extLst>
                <a:ext uri="{FF2B5EF4-FFF2-40B4-BE49-F238E27FC236}">
                  <a16:creationId xmlns:a16="http://schemas.microsoft.com/office/drawing/2014/main" id="{5617EAB5-7F82-4EE1-A5E1-9A744EBED10D}"/>
                </a:ext>
              </a:extLst>
            </p:cNvPr>
            <p:cNvSpPr/>
            <p:nvPr/>
          </p:nvSpPr>
          <p:spPr>
            <a:xfrm>
              <a:off x="3763407" y="2490369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2080;p34">
              <a:extLst>
                <a:ext uri="{FF2B5EF4-FFF2-40B4-BE49-F238E27FC236}">
                  <a16:creationId xmlns:a16="http://schemas.microsoft.com/office/drawing/2014/main" id="{E522B3E9-8580-4AAF-BACB-ABC7291CEADA}"/>
                </a:ext>
              </a:extLst>
            </p:cNvPr>
            <p:cNvSpPr/>
            <p:nvPr/>
          </p:nvSpPr>
          <p:spPr>
            <a:xfrm>
              <a:off x="3763407" y="2648770"/>
              <a:ext cx="1493528" cy="887920"/>
            </a:xfrm>
            <a:custGeom>
              <a:avLst/>
              <a:gdLst/>
              <a:ahLst/>
              <a:cxnLst/>
              <a:rect l="l" t="t" r="r" b="b"/>
              <a:pathLst>
                <a:path w="1493528" h="887920" extrusionOk="0">
                  <a:moveTo>
                    <a:pt x="1493528" y="862965"/>
                  </a:moveTo>
                  <a:lnTo>
                    <a:pt x="1493528" y="887920"/>
                  </a:lnTo>
                  <a:lnTo>
                    <a:pt x="0" y="24955"/>
                  </a:lnTo>
                  <a:lnTo>
                    <a:pt x="0" y="0"/>
                  </a:lnTo>
                  <a:lnTo>
                    <a:pt x="1493528" y="862965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2081;p34">
              <a:extLst>
                <a:ext uri="{FF2B5EF4-FFF2-40B4-BE49-F238E27FC236}">
                  <a16:creationId xmlns:a16="http://schemas.microsoft.com/office/drawing/2014/main" id="{193DB805-6837-4363-A79A-B7AE136E3250}"/>
                </a:ext>
              </a:extLst>
            </p:cNvPr>
            <p:cNvSpPr/>
            <p:nvPr/>
          </p:nvSpPr>
          <p:spPr>
            <a:xfrm>
              <a:off x="5633267" y="2100963"/>
              <a:ext cx="578489" cy="901329"/>
            </a:xfrm>
            <a:custGeom>
              <a:avLst/>
              <a:gdLst/>
              <a:ahLst/>
              <a:cxnLst/>
              <a:rect l="l" t="t" r="r" b="b"/>
              <a:pathLst>
                <a:path w="578489" h="901329" extrusionOk="0">
                  <a:moveTo>
                    <a:pt x="560502" y="899184"/>
                  </a:moveTo>
                  <a:lnTo>
                    <a:pt x="17989" y="585621"/>
                  </a:lnTo>
                  <a:cubicBezTo>
                    <a:pt x="6910" y="577639"/>
                    <a:pt x="247" y="564895"/>
                    <a:pt x="0" y="551236"/>
                  </a:cubicBezTo>
                  <a:lnTo>
                    <a:pt x="0" y="15645"/>
                  </a:lnTo>
                  <a:cubicBezTo>
                    <a:pt x="0" y="2405"/>
                    <a:pt x="8090" y="-3405"/>
                    <a:pt x="17989" y="2024"/>
                  </a:cubicBezTo>
                  <a:lnTo>
                    <a:pt x="560502" y="315587"/>
                  </a:lnTo>
                  <a:cubicBezTo>
                    <a:pt x="571580" y="323569"/>
                    <a:pt x="578242" y="336314"/>
                    <a:pt x="578490" y="349973"/>
                  </a:cubicBezTo>
                  <a:lnTo>
                    <a:pt x="578490" y="885563"/>
                  </a:lnTo>
                  <a:cubicBezTo>
                    <a:pt x="578490" y="898803"/>
                    <a:pt x="570400" y="904899"/>
                    <a:pt x="560502" y="8991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2082;p34">
              <a:extLst>
                <a:ext uri="{FF2B5EF4-FFF2-40B4-BE49-F238E27FC236}">
                  <a16:creationId xmlns:a16="http://schemas.microsoft.com/office/drawing/2014/main" id="{466F289D-0968-4934-ACD8-1726308557CB}"/>
                </a:ext>
              </a:extLst>
            </p:cNvPr>
            <p:cNvSpPr/>
            <p:nvPr/>
          </p:nvSpPr>
          <p:spPr>
            <a:xfrm>
              <a:off x="3680697" y="317054"/>
              <a:ext cx="2667830" cy="1909376"/>
            </a:xfrm>
            <a:custGeom>
              <a:avLst/>
              <a:gdLst/>
              <a:ahLst/>
              <a:cxnLst/>
              <a:rect l="l" t="t" r="r" b="b"/>
              <a:pathLst>
                <a:path w="2667830" h="1909376" extrusionOk="0">
                  <a:moveTo>
                    <a:pt x="2622906" y="1487514"/>
                  </a:moveTo>
                  <a:lnTo>
                    <a:pt x="57678" y="5329"/>
                  </a:lnTo>
                  <a:cubicBezTo>
                    <a:pt x="49302" y="-517"/>
                    <a:pt x="38518" y="-1633"/>
                    <a:pt x="29124" y="2376"/>
                  </a:cubicBezTo>
                  <a:lnTo>
                    <a:pt x="29124" y="2376"/>
                  </a:lnTo>
                  <a:lnTo>
                    <a:pt x="29124" y="2376"/>
                  </a:lnTo>
                  <a:lnTo>
                    <a:pt x="28553" y="2376"/>
                  </a:lnTo>
                  <a:lnTo>
                    <a:pt x="0" y="18378"/>
                  </a:lnTo>
                  <a:lnTo>
                    <a:pt x="12563" y="38762"/>
                  </a:lnTo>
                  <a:lnTo>
                    <a:pt x="12563" y="320416"/>
                  </a:lnTo>
                  <a:cubicBezTo>
                    <a:pt x="12563" y="353468"/>
                    <a:pt x="32741" y="391949"/>
                    <a:pt x="57583" y="406141"/>
                  </a:cubicBezTo>
                  <a:lnTo>
                    <a:pt x="2617386" y="1885374"/>
                  </a:lnTo>
                  <a:lnTo>
                    <a:pt x="2618719" y="1909377"/>
                  </a:lnTo>
                  <a:lnTo>
                    <a:pt x="2651174" y="1891470"/>
                  </a:lnTo>
                  <a:lnTo>
                    <a:pt x="2651936" y="1890993"/>
                  </a:lnTo>
                  <a:lnTo>
                    <a:pt x="2652888" y="1890517"/>
                  </a:lnTo>
                  <a:lnTo>
                    <a:pt x="2652888" y="1890517"/>
                  </a:lnTo>
                  <a:cubicBezTo>
                    <a:pt x="2662405" y="1884897"/>
                    <a:pt x="2667830" y="1872324"/>
                    <a:pt x="2667830" y="1854608"/>
                  </a:cubicBezTo>
                  <a:lnTo>
                    <a:pt x="2667830" y="1573525"/>
                  </a:lnTo>
                  <a:cubicBezTo>
                    <a:pt x="2667830" y="1540378"/>
                    <a:pt x="2647653" y="1501897"/>
                    <a:pt x="2622906" y="148751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2083;p34">
              <a:extLst>
                <a:ext uri="{FF2B5EF4-FFF2-40B4-BE49-F238E27FC236}">
                  <a16:creationId xmlns:a16="http://schemas.microsoft.com/office/drawing/2014/main" id="{94419EBC-B950-4A67-B5E4-5C931FE13F92}"/>
                </a:ext>
              </a:extLst>
            </p:cNvPr>
            <p:cNvSpPr/>
            <p:nvPr/>
          </p:nvSpPr>
          <p:spPr>
            <a:xfrm>
              <a:off x="3662233" y="334831"/>
              <a:ext cx="2655171" cy="1893451"/>
            </a:xfrm>
            <a:custGeom>
              <a:avLst/>
              <a:gdLst/>
              <a:ahLst/>
              <a:cxnLst/>
              <a:rect l="l" t="t" r="r" b="b"/>
              <a:pathLst>
                <a:path w="2655171" h="1893451" extrusionOk="0">
                  <a:moveTo>
                    <a:pt x="2610153" y="1888076"/>
                  </a:moveTo>
                  <a:lnTo>
                    <a:pt x="44924" y="405890"/>
                  </a:lnTo>
                  <a:cubicBezTo>
                    <a:pt x="20082" y="391508"/>
                    <a:pt x="0" y="353027"/>
                    <a:pt x="0" y="320165"/>
                  </a:cubicBezTo>
                  <a:lnTo>
                    <a:pt x="0" y="39368"/>
                  </a:lnTo>
                  <a:cubicBezTo>
                    <a:pt x="0" y="6317"/>
                    <a:pt x="20082" y="-8923"/>
                    <a:pt x="44924" y="5364"/>
                  </a:cubicBezTo>
                  <a:lnTo>
                    <a:pt x="2610153" y="1487168"/>
                  </a:lnTo>
                  <a:cubicBezTo>
                    <a:pt x="2634994" y="1501551"/>
                    <a:pt x="2655172" y="1540032"/>
                    <a:pt x="2655172" y="1572893"/>
                  </a:cubicBezTo>
                  <a:lnTo>
                    <a:pt x="2655172" y="1853976"/>
                  </a:lnTo>
                  <a:cubicBezTo>
                    <a:pt x="2655172" y="1887218"/>
                    <a:pt x="2634994" y="1902363"/>
                    <a:pt x="2610153" y="1888076"/>
                  </a:cubicBezTo>
                  <a:close/>
                </a:path>
              </a:pathLst>
            </a:custGeom>
            <a:solidFill>
              <a:srgbClr val="FAFB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2084;p34">
              <a:extLst>
                <a:ext uri="{FF2B5EF4-FFF2-40B4-BE49-F238E27FC236}">
                  <a16:creationId xmlns:a16="http://schemas.microsoft.com/office/drawing/2014/main" id="{D7A0707F-7E4D-4678-B41A-412E5ACBCFCB}"/>
                </a:ext>
              </a:extLst>
            </p:cNvPr>
            <p:cNvSpPr/>
            <p:nvPr/>
          </p:nvSpPr>
          <p:spPr>
            <a:xfrm>
              <a:off x="3763692" y="506668"/>
              <a:ext cx="2448064" cy="1546988"/>
            </a:xfrm>
            <a:custGeom>
              <a:avLst/>
              <a:gdLst/>
              <a:ahLst/>
              <a:cxnLst/>
              <a:rect l="l" t="t" r="r" b="b"/>
              <a:pathLst>
                <a:path w="2448064" h="1546988" extrusionOk="0">
                  <a:moveTo>
                    <a:pt x="2430077" y="1544789"/>
                  </a:moveTo>
                  <a:lnTo>
                    <a:pt x="17703" y="150995"/>
                  </a:lnTo>
                  <a:cubicBezTo>
                    <a:pt x="6701" y="142981"/>
                    <a:pt x="133" y="130229"/>
                    <a:pt x="0" y="116610"/>
                  </a:cubicBezTo>
                  <a:lnTo>
                    <a:pt x="0" y="15645"/>
                  </a:lnTo>
                  <a:cubicBezTo>
                    <a:pt x="0" y="2405"/>
                    <a:pt x="7995" y="-3405"/>
                    <a:pt x="17989" y="2024"/>
                  </a:cubicBezTo>
                  <a:lnTo>
                    <a:pt x="2430077" y="1395913"/>
                  </a:lnTo>
                  <a:cubicBezTo>
                    <a:pt x="2441174" y="1403876"/>
                    <a:pt x="2447846" y="1416630"/>
                    <a:pt x="2448065" y="1430298"/>
                  </a:cubicBezTo>
                  <a:lnTo>
                    <a:pt x="2448065" y="1531168"/>
                  </a:lnTo>
                  <a:cubicBezTo>
                    <a:pt x="2448065" y="1544503"/>
                    <a:pt x="2439975" y="1550599"/>
                    <a:pt x="2430077" y="154478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2085;p34">
              <a:extLst>
                <a:ext uri="{FF2B5EF4-FFF2-40B4-BE49-F238E27FC236}">
                  <a16:creationId xmlns:a16="http://schemas.microsoft.com/office/drawing/2014/main" id="{619E66AF-4EAD-4A69-BAD8-A50AB140444B}"/>
                </a:ext>
              </a:extLst>
            </p:cNvPr>
            <p:cNvSpPr/>
            <p:nvPr/>
          </p:nvSpPr>
          <p:spPr>
            <a:xfrm>
              <a:off x="6042246" y="1815046"/>
              <a:ext cx="173984" cy="241344"/>
            </a:xfrm>
            <a:custGeom>
              <a:avLst/>
              <a:gdLst/>
              <a:ahLst/>
              <a:cxnLst/>
              <a:rect l="l" t="t" r="r" b="b"/>
              <a:pathLst>
                <a:path w="173984" h="241344" extrusionOk="0">
                  <a:moveTo>
                    <a:pt x="155996" y="239077"/>
                  </a:moveTo>
                  <a:lnTo>
                    <a:pt x="0" y="148876"/>
                  </a:lnTo>
                  <a:lnTo>
                    <a:pt x="0" y="0"/>
                  </a:lnTo>
                  <a:lnTo>
                    <a:pt x="155996" y="90106"/>
                  </a:lnTo>
                  <a:cubicBezTo>
                    <a:pt x="167094" y="98069"/>
                    <a:pt x="173766" y="110823"/>
                    <a:pt x="173985" y="124492"/>
                  </a:cubicBezTo>
                  <a:lnTo>
                    <a:pt x="173985" y="225457"/>
                  </a:lnTo>
                  <a:cubicBezTo>
                    <a:pt x="173985" y="238696"/>
                    <a:pt x="165895" y="245078"/>
                    <a:pt x="155996" y="2390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2086;p34">
              <a:extLst>
                <a:ext uri="{FF2B5EF4-FFF2-40B4-BE49-F238E27FC236}">
                  <a16:creationId xmlns:a16="http://schemas.microsoft.com/office/drawing/2014/main" id="{D64428ED-94CA-4503-998D-FF5A62035464}"/>
                </a:ext>
              </a:extLst>
            </p:cNvPr>
            <p:cNvSpPr/>
            <p:nvPr/>
          </p:nvSpPr>
          <p:spPr>
            <a:xfrm>
              <a:off x="3824606" y="578160"/>
              <a:ext cx="40165" cy="72472"/>
            </a:xfrm>
            <a:custGeom>
              <a:avLst/>
              <a:gdLst/>
              <a:ahLst/>
              <a:cxnLst/>
              <a:rect l="l" t="t" r="r" b="b"/>
              <a:pathLst>
                <a:path w="40165" h="72472" extrusionOk="0">
                  <a:moveTo>
                    <a:pt x="19702" y="39213"/>
                  </a:moveTo>
                  <a:cubicBezTo>
                    <a:pt x="14343" y="34706"/>
                    <a:pt x="9642" y="29481"/>
                    <a:pt x="5711" y="23687"/>
                  </a:cubicBezTo>
                  <a:cubicBezTo>
                    <a:pt x="3103" y="19577"/>
                    <a:pt x="1656" y="14838"/>
                    <a:pt x="1523" y="9971"/>
                  </a:cubicBezTo>
                  <a:cubicBezTo>
                    <a:pt x="1523" y="4892"/>
                    <a:pt x="3236" y="1716"/>
                    <a:pt x="6663" y="446"/>
                  </a:cubicBezTo>
                  <a:cubicBezTo>
                    <a:pt x="11402" y="-686"/>
                    <a:pt x="16390" y="362"/>
                    <a:pt x="20273" y="3304"/>
                  </a:cubicBezTo>
                  <a:cubicBezTo>
                    <a:pt x="27820" y="7698"/>
                    <a:pt x="33779" y="14365"/>
                    <a:pt x="37310" y="22354"/>
                  </a:cubicBezTo>
                  <a:cubicBezTo>
                    <a:pt x="38899" y="25889"/>
                    <a:pt x="39746" y="29716"/>
                    <a:pt x="39784" y="33593"/>
                  </a:cubicBezTo>
                  <a:lnTo>
                    <a:pt x="32456" y="29307"/>
                  </a:lnTo>
                  <a:cubicBezTo>
                    <a:pt x="32446" y="25435"/>
                    <a:pt x="31361" y="21642"/>
                    <a:pt x="29315" y="18353"/>
                  </a:cubicBezTo>
                  <a:cubicBezTo>
                    <a:pt x="27059" y="14814"/>
                    <a:pt x="23947" y="11899"/>
                    <a:pt x="20273" y="9876"/>
                  </a:cubicBezTo>
                  <a:cubicBezTo>
                    <a:pt x="17893" y="8035"/>
                    <a:pt x="14867" y="7244"/>
                    <a:pt x="11897" y="7685"/>
                  </a:cubicBezTo>
                  <a:cubicBezTo>
                    <a:pt x="9899" y="8352"/>
                    <a:pt x="8852" y="10352"/>
                    <a:pt x="8852" y="13591"/>
                  </a:cubicBezTo>
                  <a:cubicBezTo>
                    <a:pt x="8956" y="16577"/>
                    <a:pt x="9946" y="19463"/>
                    <a:pt x="11707" y="21878"/>
                  </a:cubicBezTo>
                  <a:cubicBezTo>
                    <a:pt x="14410" y="25801"/>
                    <a:pt x="17608" y="29356"/>
                    <a:pt x="21225" y="32450"/>
                  </a:cubicBezTo>
                  <a:cubicBezTo>
                    <a:pt x="25289" y="35896"/>
                    <a:pt x="29077" y="39653"/>
                    <a:pt x="32551" y="43690"/>
                  </a:cubicBezTo>
                  <a:cubicBezTo>
                    <a:pt x="34911" y="46585"/>
                    <a:pt x="36862" y="49789"/>
                    <a:pt x="38357" y="53215"/>
                  </a:cubicBezTo>
                  <a:cubicBezTo>
                    <a:pt x="39565" y="56243"/>
                    <a:pt x="40184" y="59478"/>
                    <a:pt x="40165" y="62740"/>
                  </a:cubicBezTo>
                  <a:cubicBezTo>
                    <a:pt x="40165" y="67883"/>
                    <a:pt x="38452" y="71027"/>
                    <a:pt x="34930" y="72265"/>
                  </a:cubicBezTo>
                  <a:cubicBezTo>
                    <a:pt x="30000" y="73000"/>
                    <a:pt x="24975" y="71769"/>
                    <a:pt x="20939" y="68836"/>
                  </a:cubicBezTo>
                  <a:cubicBezTo>
                    <a:pt x="16989" y="66477"/>
                    <a:pt x="13392" y="63558"/>
                    <a:pt x="10279" y="60168"/>
                  </a:cubicBezTo>
                  <a:cubicBezTo>
                    <a:pt x="7177" y="56803"/>
                    <a:pt x="4607" y="52980"/>
                    <a:pt x="2665" y="48833"/>
                  </a:cubicBezTo>
                  <a:cubicBezTo>
                    <a:pt x="980" y="45220"/>
                    <a:pt x="76" y="41293"/>
                    <a:pt x="0" y="37308"/>
                  </a:cubicBezTo>
                  <a:lnTo>
                    <a:pt x="7329" y="41594"/>
                  </a:lnTo>
                  <a:cubicBezTo>
                    <a:pt x="7395" y="45632"/>
                    <a:pt x="8690" y="49553"/>
                    <a:pt x="11041" y="52834"/>
                  </a:cubicBezTo>
                  <a:cubicBezTo>
                    <a:pt x="13468" y="56677"/>
                    <a:pt x="16713" y="59932"/>
                    <a:pt x="20558" y="62359"/>
                  </a:cubicBezTo>
                  <a:cubicBezTo>
                    <a:pt x="23109" y="64223"/>
                    <a:pt x="26269" y="65072"/>
                    <a:pt x="29410" y="64740"/>
                  </a:cubicBezTo>
                  <a:cubicBezTo>
                    <a:pt x="31504" y="64073"/>
                    <a:pt x="32456" y="62168"/>
                    <a:pt x="32456" y="59025"/>
                  </a:cubicBezTo>
                  <a:cubicBezTo>
                    <a:pt x="32427" y="55849"/>
                    <a:pt x="31437" y="52758"/>
                    <a:pt x="29600" y="50167"/>
                  </a:cubicBezTo>
                  <a:cubicBezTo>
                    <a:pt x="26726" y="46153"/>
                    <a:pt x="23404" y="42479"/>
                    <a:pt x="19702" y="39213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2087;p34">
              <a:extLst>
                <a:ext uri="{FF2B5EF4-FFF2-40B4-BE49-F238E27FC236}">
                  <a16:creationId xmlns:a16="http://schemas.microsoft.com/office/drawing/2014/main" id="{8AF56BE0-9025-43B7-B8BE-78FC372F7AD1}"/>
                </a:ext>
              </a:extLst>
            </p:cNvPr>
            <p:cNvSpPr/>
            <p:nvPr/>
          </p:nvSpPr>
          <p:spPr>
            <a:xfrm>
              <a:off x="3871213" y="621212"/>
              <a:ext cx="35348" cy="54941"/>
            </a:xfrm>
            <a:custGeom>
              <a:avLst/>
              <a:gdLst/>
              <a:ahLst/>
              <a:cxnLst/>
              <a:rect l="l" t="t" r="r" b="b"/>
              <a:pathLst>
                <a:path w="35348" h="54941" extrusionOk="0">
                  <a:moveTo>
                    <a:pt x="18875" y="51977"/>
                  </a:moveTo>
                  <a:cubicBezTo>
                    <a:pt x="13135" y="48563"/>
                    <a:pt x="8434" y="43659"/>
                    <a:pt x="5264" y="37785"/>
                  </a:cubicBezTo>
                  <a:cubicBezTo>
                    <a:pt x="1838" y="31676"/>
                    <a:pt x="39" y="24788"/>
                    <a:pt x="29" y="17782"/>
                  </a:cubicBezTo>
                  <a:lnTo>
                    <a:pt x="29" y="16354"/>
                  </a:lnTo>
                  <a:cubicBezTo>
                    <a:pt x="-170" y="12433"/>
                    <a:pt x="648" y="8529"/>
                    <a:pt x="2409" y="5019"/>
                  </a:cubicBezTo>
                  <a:cubicBezTo>
                    <a:pt x="3665" y="2461"/>
                    <a:pt x="6073" y="656"/>
                    <a:pt x="8881" y="161"/>
                  </a:cubicBezTo>
                  <a:cubicBezTo>
                    <a:pt x="12203" y="-359"/>
                    <a:pt x="15601" y="390"/>
                    <a:pt x="18399" y="2257"/>
                  </a:cubicBezTo>
                  <a:cubicBezTo>
                    <a:pt x="23757" y="5352"/>
                    <a:pt x="28097" y="9957"/>
                    <a:pt x="30867" y="15496"/>
                  </a:cubicBezTo>
                  <a:cubicBezTo>
                    <a:pt x="33932" y="21744"/>
                    <a:pt x="35474" y="28634"/>
                    <a:pt x="35340" y="35594"/>
                  </a:cubicBezTo>
                  <a:lnTo>
                    <a:pt x="35340" y="38737"/>
                  </a:lnTo>
                  <a:lnTo>
                    <a:pt x="6692" y="22831"/>
                  </a:lnTo>
                  <a:cubicBezTo>
                    <a:pt x="6797" y="27522"/>
                    <a:pt x="8005" y="32121"/>
                    <a:pt x="10213" y="36261"/>
                  </a:cubicBezTo>
                  <a:cubicBezTo>
                    <a:pt x="12136" y="40198"/>
                    <a:pt x="15134" y="43503"/>
                    <a:pt x="18875" y="45786"/>
                  </a:cubicBezTo>
                  <a:cubicBezTo>
                    <a:pt x="20721" y="47055"/>
                    <a:pt x="22920" y="47720"/>
                    <a:pt x="25156" y="47691"/>
                  </a:cubicBezTo>
                  <a:cubicBezTo>
                    <a:pt x="26870" y="47538"/>
                    <a:pt x="28488" y="46798"/>
                    <a:pt x="29725" y="45595"/>
                  </a:cubicBezTo>
                  <a:lnTo>
                    <a:pt x="34008" y="51977"/>
                  </a:lnTo>
                  <a:cubicBezTo>
                    <a:pt x="30962" y="55882"/>
                    <a:pt x="25727" y="55978"/>
                    <a:pt x="18875" y="51977"/>
                  </a:cubicBezTo>
                  <a:close/>
                  <a:moveTo>
                    <a:pt x="18018" y="8924"/>
                  </a:moveTo>
                  <a:cubicBezTo>
                    <a:pt x="15962" y="7338"/>
                    <a:pt x="13164" y="7114"/>
                    <a:pt x="10880" y="8353"/>
                  </a:cubicBezTo>
                  <a:cubicBezTo>
                    <a:pt x="8567" y="10355"/>
                    <a:pt x="7273" y="13292"/>
                    <a:pt x="7358" y="16354"/>
                  </a:cubicBezTo>
                  <a:lnTo>
                    <a:pt x="27916" y="28260"/>
                  </a:lnTo>
                  <a:lnTo>
                    <a:pt x="27916" y="27593"/>
                  </a:lnTo>
                  <a:cubicBezTo>
                    <a:pt x="27821" y="23668"/>
                    <a:pt x="26812" y="19820"/>
                    <a:pt x="24966" y="16354"/>
                  </a:cubicBezTo>
                  <a:cubicBezTo>
                    <a:pt x="23405" y="13263"/>
                    <a:pt x="20997" y="10684"/>
                    <a:pt x="18018" y="892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2088;p34">
              <a:extLst>
                <a:ext uri="{FF2B5EF4-FFF2-40B4-BE49-F238E27FC236}">
                  <a16:creationId xmlns:a16="http://schemas.microsoft.com/office/drawing/2014/main" id="{4698C7DC-8531-4D5B-BCA1-13F8F34E1F9C}"/>
                </a:ext>
              </a:extLst>
            </p:cNvPr>
            <p:cNvSpPr/>
            <p:nvPr/>
          </p:nvSpPr>
          <p:spPr>
            <a:xfrm>
              <a:off x="3913502" y="644554"/>
              <a:ext cx="33883" cy="60925"/>
            </a:xfrm>
            <a:custGeom>
              <a:avLst/>
              <a:gdLst/>
              <a:ahLst/>
              <a:cxnLst/>
              <a:rect l="l" t="t" r="r" b="b"/>
              <a:pathLst>
                <a:path w="33883" h="60925" extrusionOk="0">
                  <a:moveTo>
                    <a:pt x="26174" y="56353"/>
                  </a:moveTo>
                  <a:cubicBezTo>
                    <a:pt x="25593" y="54563"/>
                    <a:pt x="25241" y="52707"/>
                    <a:pt x="25127" y="50829"/>
                  </a:cubicBezTo>
                  <a:cubicBezTo>
                    <a:pt x="21386" y="52815"/>
                    <a:pt x="16837" y="52482"/>
                    <a:pt x="13420" y="49972"/>
                  </a:cubicBezTo>
                  <a:cubicBezTo>
                    <a:pt x="9537" y="47601"/>
                    <a:pt x="6272" y="44336"/>
                    <a:pt x="3902" y="40447"/>
                  </a:cubicBezTo>
                  <a:cubicBezTo>
                    <a:pt x="1418" y="36827"/>
                    <a:pt x="57" y="32551"/>
                    <a:pt x="0" y="28159"/>
                  </a:cubicBezTo>
                  <a:cubicBezTo>
                    <a:pt x="0" y="23206"/>
                    <a:pt x="1618" y="20349"/>
                    <a:pt x="4854" y="19492"/>
                  </a:cubicBezTo>
                  <a:cubicBezTo>
                    <a:pt x="9737" y="19010"/>
                    <a:pt x="14629" y="20368"/>
                    <a:pt x="18560" y="23302"/>
                  </a:cubicBezTo>
                  <a:lnTo>
                    <a:pt x="25412" y="27207"/>
                  </a:lnTo>
                  <a:lnTo>
                    <a:pt x="25412" y="23492"/>
                  </a:lnTo>
                  <a:cubicBezTo>
                    <a:pt x="25403" y="20678"/>
                    <a:pt x="24651" y="17915"/>
                    <a:pt x="23223" y="15491"/>
                  </a:cubicBezTo>
                  <a:cubicBezTo>
                    <a:pt x="21662" y="12855"/>
                    <a:pt x="19435" y="10684"/>
                    <a:pt x="16751" y="9205"/>
                  </a:cubicBezTo>
                  <a:cubicBezTo>
                    <a:pt x="14895" y="7913"/>
                    <a:pt x="12601" y="7401"/>
                    <a:pt x="10374" y="7776"/>
                  </a:cubicBezTo>
                  <a:cubicBezTo>
                    <a:pt x="8728" y="8273"/>
                    <a:pt x="7690" y="9882"/>
                    <a:pt x="7900" y="11586"/>
                  </a:cubicBezTo>
                  <a:lnTo>
                    <a:pt x="761" y="7490"/>
                  </a:lnTo>
                  <a:cubicBezTo>
                    <a:pt x="676" y="5394"/>
                    <a:pt x="1466" y="3356"/>
                    <a:pt x="2950" y="1870"/>
                  </a:cubicBezTo>
                  <a:cubicBezTo>
                    <a:pt x="4607" y="446"/>
                    <a:pt x="6786" y="-213"/>
                    <a:pt x="8947" y="61"/>
                  </a:cubicBezTo>
                  <a:cubicBezTo>
                    <a:pt x="11850" y="393"/>
                    <a:pt x="14648" y="1369"/>
                    <a:pt x="17132" y="2918"/>
                  </a:cubicBezTo>
                  <a:cubicBezTo>
                    <a:pt x="21681" y="5399"/>
                    <a:pt x="25517" y="9008"/>
                    <a:pt x="28268" y="13396"/>
                  </a:cubicBezTo>
                  <a:cubicBezTo>
                    <a:pt x="30895" y="17497"/>
                    <a:pt x="32341" y="22242"/>
                    <a:pt x="32455" y="27112"/>
                  </a:cubicBezTo>
                  <a:lnTo>
                    <a:pt x="32455" y="49019"/>
                  </a:lnTo>
                  <a:cubicBezTo>
                    <a:pt x="32379" y="52815"/>
                    <a:pt x="32865" y="56602"/>
                    <a:pt x="33883" y="60259"/>
                  </a:cubicBezTo>
                  <a:lnTo>
                    <a:pt x="33883" y="60925"/>
                  </a:lnTo>
                  <a:close/>
                  <a:moveTo>
                    <a:pt x="14467" y="43971"/>
                  </a:moveTo>
                  <a:cubicBezTo>
                    <a:pt x="16342" y="45144"/>
                    <a:pt x="18541" y="45710"/>
                    <a:pt x="20749" y="45590"/>
                  </a:cubicBezTo>
                  <a:cubicBezTo>
                    <a:pt x="22547" y="45530"/>
                    <a:pt x="24185" y="44514"/>
                    <a:pt x="25032" y="42923"/>
                  </a:cubicBezTo>
                  <a:lnTo>
                    <a:pt x="25032" y="33398"/>
                  </a:lnTo>
                  <a:lnTo>
                    <a:pt x="19511" y="30160"/>
                  </a:lnTo>
                  <a:cubicBezTo>
                    <a:pt x="10945" y="25207"/>
                    <a:pt x="6662" y="25683"/>
                    <a:pt x="6662" y="31493"/>
                  </a:cubicBezTo>
                  <a:cubicBezTo>
                    <a:pt x="6653" y="34072"/>
                    <a:pt x="7414" y="36593"/>
                    <a:pt x="8851" y="38732"/>
                  </a:cubicBezTo>
                  <a:cubicBezTo>
                    <a:pt x="10270" y="40907"/>
                    <a:pt x="12202" y="42704"/>
                    <a:pt x="14467" y="4397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2089;p34">
              <a:extLst>
                <a:ext uri="{FF2B5EF4-FFF2-40B4-BE49-F238E27FC236}">
                  <a16:creationId xmlns:a16="http://schemas.microsoft.com/office/drawing/2014/main" id="{48CDDE20-133C-4D13-9C5A-3A4F16F6FBF9}"/>
                </a:ext>
              </a:extLst>
            </p:cNvPr>
            <p:cNvSpPr/>
            <p:nvPr/>
          </p:nvSpPr>
          <p:spPr>
            <a:xfrm>
              <a:off x="3956522" y="663093"/>
              <a:ext cx="19892" cy="51720"/>
            </a:xfrm>
            <a:custGeom>
              <a:avLst/>
              <a:gdLst/>
              <a:ahLst/>
              <a:cxnLst/>
              <a:rect l="l" t="t" r="r" b="b"/>
              <a:pathLst>
                <a:path w="19892" h="51720" extrusionOk="0">
                  <a:moveTo>
                    <a:pt x="19892" y="18955"/>
                  </a:moveTo>
                  <a:cubicBezTo>
                    <a:pt x="18807" y="18085"/>
                    <a:pt x="17656" y="17290"/>
                    <a:pt x="16466" y="16573"/>
                  </a:cubicBezTo>
                  <a:cubicBezTo>
                    <a:pt x="11897" y="13906"/>
                    <a:pt x="8728" y="14383"/>
                    <a:pt x="6948" y="18002"/>
                  </a:cubicBezTo>
                  <a:lnTo>
                    <a:pt x="6948" y="51721"/>
                  </a:lnTo>
                  <a:lnTo>
                    <a:pt x="0" y="47625"/>
                  </a:lnTo>
                  <a:lnTo>
                    <a:pt x="0" y="0"/>
                  </a:lnTo>
                  <a:lnTo>
                    <a:pt x="6758" y="3905"/>
                  </a:lnTo>
                  <a:lnTo>
                    <a:pt x="6758" y="9430"/>
                  </a:lnTo>
                  <a:cubicBezTo>
                    <a:pt x="9042" y="6572"/>
                    <a:pt x="12278" y="6286"/>
                    <a:pt x="16275" y="8763"/>
                  </a:cubicBezTo>
                  <a:cubicBezTo>
                    <a:pt x="17408" y="9388"/>
                    <a:pt x="18436" y="10192"/>
                    <a:pt x="19321" y="1114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2090;p34">
              <a:extLst>
                <a:ext uri="{FF2B5EF4-FFF2-40B4-BE49-F238E27FC236}">
                  <a16:creationId xmlns:a16="http://schemas.microsoft.com/office/drawing/2014/main" id="{0BAD9990-0949-4941-B5AC-08A0724BACD4}"/>
                </a:ext>
              </a:extLst>
            </p:cNvPr>
            <p:cNvSpPr/>
            <p:nvPr/>
          </p:nvSpPr>
          <p:spPr>
            <a:xfrm>
              <a:off x="3980286" y="683824"/>
              <a:ext cx="34675" cy="54516"/>
            </a:xfrm>
            <a:custGeom>
              <a:avLst/>
              <a:gdLst/>
              <a:ahLst/>
              <a:cxnLst/>
              <a:rect l="l" t="t" r="r" b="b"/>
              <a:pathLst>
                <a:path w="34675" h="54516" extrusionOk="0">
                  <a:moveTo>
                    <a:pt x="18400" y="45467"/>
                  </a:moveTo>
                  <a:cubicBezTo>
                    <a:pt x="20304" y="46811"/>
                    <a:pt x="22721" y="47231"/>
                    <a:pt x="24967" y="46610"/>
                  </a:cubicBezTo>
                  <a:cubicBezTo>
                    <a:pt x="26918" y="45847"/>
                    <a:pt x="28175" y="43941"/>
                    <a:pt x="28108" y="41848"/>
                  </a:cubicBezTo>
                  <a:lnTo>
                    <a:pt x="34675" y="45658"/>
                  </a:lnTo>
                  <a:cubicBezTo>
                    <a:pt x="34694" y="48006"/>
                    <a:pt x="33847" y="50279"/>
                    <a:pt x="32296" y="52040"/>
                  </a:cubicBezTo>
                  <a:cubicBezTo>
                    <a:pt x="30716" y="53647"/>
                    <a:pt x="28555" y="54541"/>
                    <a:pt x="26300" y="54516"/>
                  </a:cubicBezTo>
                  <a:cubicBezTo>
                    <a:pt x="23501" y="54441"/>
                    <a:pt x="20770" y="53619"/>
                    <a:pt x="18400" y="52135"/>
                  </a:cubicBezTo>
                  <a:cubicBezTo>
                    <a:pt x="12680" y="48793"/>
                    <a:pt x="8054" y="43862"/>
                    <a:pt x="5075" y="37943"/>
                  </a:cubicBezTo>
                  <a:cubicBezTo>
                    <a:pt x="1715" y="31610"/>
                    <a:pt x="-17" y="24539"/>
                    <a:pt x="31" y="17369"/>
                  </a:cubicBezTo>
                  <a:lnTo>
                    <a:pt x="31" y="15940"/>
                  </a:lnTo>
                  <a:cubicBezTo>
                    <a:pt x="-169" y="12060"/>
                    <a:pt x="611" y="8193"/>
                    <a:pt x="2315" y="4700"/>
                  </a:cubicBezTo>
                  <a:cubicBezTo>
                    <a:pt x="3467" y="2168"/>
                    <a:pt x="5836" y="405"/>
                    <a:pt x="8597" y="33"/>
                  </a:cubicBezTo>
                  <a:cubicBezTo>
                    <a:pt x="11966" y="-190"/>
                    <a:pt x="15316" y="715"/>
                    <a:pt x="18114" y="2605"/>
                  </a:cubicBezTo>
                  <a:cubicBezTo>
                    <a:pt x="22864" y="5371"/>
                    <a:pt x="26823" y="9306"/>
                    <a:pt x="29631" y="14035"/>
                  </a:cubicBezTo>
                  <a:cubicBezTo>
                    <a:pt x="32543" y="18605"/>
                    <a:pt x="34219" y="23859"/>
                    <a:pt x="34485" y="29275"/>
                  </a:cubicBezTo>
                  <a:lnTo>
                    <a:pt x="27918" y="25465"/>
                  </a:lnTo>
                  <a:cubicBezTo>
                    <a:pt x="27651" y="22098"/>
                    <a:pt x="26604" y="18839"/>
                    <a:pt x="24872" y="15940"/>
                  </a:cubicBezTo>
                  <a:cubicBezTo>
                    <a:pt x="23207" y="13144"/>
                    <a:pt x="20884" y="10792"/>
                    <a:pt x="18114" y="9082"/>
                  </a:cubicBezTo>
                  <a:cubicBezTo>
                    <a:pt x="14564" y="7113"/>
                    <a:pt x="11804" y="7113"/>
                    <a:pt x="9834" y="9082"/>
                  </a:cubicBezTo>
                  <a:cubicBezTo>
                    <a:pt x="7464" y="12284"/>
                    <a:pt x="6408" y="16270"/>
                    <a:pt x="6883" y="20226"/>
                  </a:cubicBezTo>
                  <a:lnTo>
                    <a:pt x="6883" y="21750"/>
                  </a:lnTo>
                  <a:cubicBezTo>
                    <a:pt x="6798" y="26703"/>
                    <a:pt x="7807" y="31614"/>
                    <a:pt x="9834" y="36133"/>
                  </a:cubicBezTo>
                  <a:cubicBezTo>
                    <a:pt x="11652" y="40058"/>
                    <a:pt x="14650" y="43321"/>
                    <a:pt x="18400" y="45467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2091;p34">
              <a:extLst>
                <a:ext uri="{FF2B5EF4-FFF2-40B4-BE49-F238E27FC236}">
                  <a16:creationId xmlns:a16="http://schemas.microsoft.com/office/drawing/2014/main" id="{57CA83BE-9C6A-43F2-A9DA-5D881B6BAA1B}"/>
                </a:ext>
              </a:extLst>
            </p:cNvPr>
            <p:cNvSpPr/>
            <p:nvPr/>
          </p:nvSpPr>
          <p:spPr>
            <a:xfrm>
              <a:off x="4022575" y="681666"/>
              <a:ext cx="32718" cy="85915"/>
            </a:xfrm>
            <a:custGeom>
              <a:avLst/>
              <a:gdLst/>
              <a:ahLst/>
              <a:cxnLst/>
              <a:rect l="l" t="t" r="r" b="b"/>
              <a:pathLst>
                <a:path w="32718" h="85915" extrusionOk="0">
                  <a:moveTo>
                    <a:pt x="7614" y="29718"/>
                  </a:moveTo>
                  <a:cubicBezTo>
                    <a:pt x="11145" y="26777"/>
                    <a:pt x="16266" y="26777"/>
                    <a:pt x="19797" y="29718"/>
                  </a:cubicBezTo>
                  <a:cubicBezTo>
                    <a:pt x="28411" y="34878"/>
                    <a:pt x="33388" y="44461"/>
                    <a:pt x="32646" y="54483"/>
                  </a:cubicBezTo>
                  <a:lnTo>
                    <a:pt x="32646" y="85916"/>
                  </a:lnTo>
                  <a:lnTo>
                    <a:pt x="25603" y="81820"/>
                  </a:lnTo>
                  <a:lnTo>
                    <a:pt x="25603" y="50387"/>
                  </a:lnTo>
                  <a:cubicBezTo>
                    <a:pt x="25698" y="47343"/>
                    <a:pt x="25003" y="44327"/>
                    <a:pt x="23604" y="41624"/>
                  </a:cubicBezTo>
                  <a:cubicBezTo>
                    <a:pt x="22034" y="39026"/>
                    <a:pt x="19797" y="36890"/>
                    <a:pt x="17132" y="35433"/>
                  </a:cubicBezTo>
                  <a:cubicBezTo>
                    <a:pt x="15352" y="34286"/>
                    <a:pt x="13230" y="33814"/>
                    <a:pt x="11136" y="34100"/>
                  </a:cubicBezTo>
                  <a:cubicBezTo>
                    <a:pt x="9356" y="34510"/>
                    <a:pt x="7852" y="35699"/>
                    <a:pt x="7043" y="37338"/>
                  </a:cubicBezTo>
                  <a:lnTo>
                    <a:pt x="7043" y="71152"/>
                  </a:lnTo>
                  <a:lnTo>
                    <a:pt x="0" y="67056"/>
                  </a:lnTo>
                  <a:lnTo>
                    <a:pt x="0" y="0"/>
                  </a:lnTo>
                  <a:lnTo>
                    <a:pt x="7043" y="4001"/>
                  </a:ln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2092;p34">
              <a:extLst>
                <a:ext uri="{FF2B5EF4-FFF2-40B4-BE49-F238E27FC236}">
                  <a16:creationId xmlns:a16="http://schemas.microsoft.com/office/drawing/2014/main" id="{4781EC1E-10C5-43D8-B39C-5447B56C42F1}"/>
                </a:ext>
              </a:extLst>
            </p:cNvPr>
            <p:cNvSpPr/>
            <p:nvPr/>
          </p:nvSpPr>
          <p:spPr>
            <a:xfrm>
              <a:off x="4065860" y="766513"/>
              <a:ext cx="8800" cy="10615"/>
            </a:xfrm>
            <a:custGeom>
              <a:avLst/>
              <a:gdLst/>
              <a:ahLst/>
              <a:cxnLst/>
              <a:rect l="l" t="t" r="r" b="b"/>
              <a:pathLst>
                <a:path w="8800" h="10615" extrusionOk="0">
                  <a:moveTo>
                    <a:pt x="21" y="3164"/>
                  </a:moveTo>
                  <a:cubicBezTo>
                    <a:pt x="-103" y="2053"/>
                    <a:pt x="326" y="951"/>
                    <a:pt x="1163" y="212"/>
                  </a:cubicBezTo>
                  <a:cubicBezTo>
                    <a:pt x="1829" y="-265"/>
                    <a:pt x="2971" y="212"/>
                    <a:pt x="4399" y="212"/>
                  </a:cubicBezTo>
                  <a:cubicBezTo>
                    <a:pt x="5741" y="1038"/>
                    <a:pt x="6845" y="2183"/>
                    <a:pt x="7635" y="3545"/>
                  </a:cubicBezTo>
                  <a:cubicBezTo>
                    <a:pt x="8378" y="4818"/>
                    <a:pt x="8768" y="6263"/>
                    <a:pt x="8777" y="7736"/>
                  </a:cubicBezTo>
                  <a:cubicBezTo>
                    <a:pt x="8911" y="8767"/>
                    <a:pt x="8473" y="9788"/>
                    <a:pt x="7635" y="10403"/>
                  </a:cubicBezTo>
                  <a:cubicBezTo>
                    <a:pt x="6874" y="10880"/>
                    <a:pt x="5827" y="10403"/>
                    <a:pt x="4399" y="10403"/>
                  </a:cubicBezTo>
                  <a:cubicBezTo>
                    <a:pt x="3029" y="9659"/>
                    <a:pt x="1906" y="8534"/>
                    <a:pt x="1163" y="7165"/>
                  </a:cubicBezTo>
                  <a:cubicBezTo>
                    <a:pt x="440" y="5955"/>
                    <a:pt x="40" y="4575"/>
                    <a:pt x="21" y="316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2093;p34">
              <a:extLst>
                <a:ext uri="{FF2B5EF4-FFF2-40B4-BE49-F238E27FC236}">
                  <a16:creationId xmlns:a16="http://schemas.microsoft.com/office/drawing/2014/main" id="{5E37FABB-FC4E-44B3-954E-44770989E998}"/>
                </a:ext>
              </a:extLst>
            </p:cNvPr>
            <p:cNvSpPr/>
            <p:nvPr/>
          </p:nvSpPr>
          <p:spPr>
            <a:xfrm>
              <a:off x="4086317" y="778377"/>
              <a:ext cx="8807" cy="10445"/>
            </a:xfrm>
            <a:custGeom>
              <a:avLst/>
              <a:gdLst/>
              <a:ahLst/>
              <a:cxnLst/>
              <a:rect l="l" t="t" r="r" b="b"/>
              <a:pathLst>
                <a:path w="8807" h="10445" extrusionOk="0">
                  <a:moveTo>
                    <a:pt x="27" y="3111"/>
                  </a:moveTo>
                  <a:cubicBezTo>
                    <a:pt x="-116" y="2025"/>
                    <a:pt x="313" y="942"/>
                    <a:pt x="1169" y="254"/>
                  </a:cubicBezTo>
                  <a:cubicBezTo>
                    <a:pt x="1835" y="-317"/>
                    <a:pt x="2978" y="254"/>
                    <a:pt x="4405" y="254"/>
                  </a:cubicBezTo>
                  <a:cubicBezTo>
                    <a:pt x="7051" y="1848"/>
                    <a:pt x="8707" y="4687"/>
                    <a:pt x="8784" y="7779"/>
                  </a:cubicBezTo>
                  <a:cubicBezTo>
                    <a:pt x="8917" y="8809"/>
                    <a:pt x="8479" y="9830"/>
                    <a:pt x="7641" y="10446"/>
                  </a:cubicBezTo>
                  <a:cubicBezTo>
                    <a:pt x="6975" y="10446"/>
                    <a:pt x="5833" y="10446"/>
                    <a:pt x="4405" y="10446"/>
                  </a:cubicBezTo>
                  <a:cubicBezTo>
                    <a:pt x="3035" y="9701"/>
                    <a:pt x="1912" y="8576"/>
                    <a:pt x="1169" y="7207"/>
                  </a:cubicBezTo>
                  <a:cubicBezTo>
                    <a:pt x="427" y="5970"/>
                    <a:pt x="27" y="4555"/>
                    <a:pt x="27" y="311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2094;p34">
              <a:extLst>
                <a:ext uri="{FF2B5EF4-FFF2-40B4-BE49-F238E27FC236}">
                  <a16:creationId xmlns:a16="http://schemas.microsoft.com/office/drawing/2014/main" id="{8A2A53FC-4DEB-4E01-A39B-09820E993108}"/>
                </a:ext>
              </a:extLst>
            </p:cNvPr>
            <p:cNvSpPr/>
            <p:nvPr/>
          </p:nvSpPr>
          <p:spPr>
            <a:xfrm>
              <a:off x="4106781" y="790188"/>
              <a:ext cx="8804" cy="10445"/>
            </a:xfrm>
            <a:custGeom>
              <a:avLst/>
              <a:gdLst/>
              <a:ahLst/>
              <a:cxnLst/>
              <a:rect l="l" t="t" r="r" b="b"/>
              <a:pathLst>
                <a:path w="8804" h="10445" extrusionOk="0">
                  <a:moveTo>
                    <a:pt x="27" y="3111"/>
                  </a:moveTo>
                  <a:cubicBezTo>
                    <a:pt x="-116" y="2025"/>
                    <a:pt x="313" y="942"/>
                    <a:pt x="1169" y="254"/>
                  </a:cubicBezTo>
                  <a:cubicBezTo>
                    <a:pt x="1835" y="-318"/>
                    <a:pt x="2978" y="254"/>
                    <a:pt x="4405" y="254"/>
                  </a:cubicBezTo>
                  <a:cubicBezTo>
                    <a:pt x="5795" y="976"/>
                    <a:pt x="6918" y="2107"/>
                    <a:pt x="7641" y="3493"/>
                  </a:cubicBezTo>
                  <a:cubicBezTo>
                    <a:pt x="8374" y="4770"/>
                    <a:pt x="8764" y="6212"/>
                    <a:pt x="8783" y="7683"/>
                  </a:cubicBezTo>
                  <a:cubicBezTo>
                    <a:pt x="8907" y="8741"/>
                    <a:pt x="8479" y="9788"/>
                    <a:pt x="7641" y="10446"/>
                  </a:cubicBezTo>
                  <a:cubicBezTo>
                    <a:pt x="6975" y="10446"/>
                    <a:pt x="5833" y="10446"/>
                    <a:pt x="4405" y="9874"/>
                  </a:cubicBezTo>
                  <a:cubicBezTo>
                    <a:pt x="3035" y="9129"/>
                    <a:pt x="1912" y="8004"/>
                    <a:pt x="1169" y="6636"/>
                  </a:cubicBezTo>
                  <a:cubicBezTo>
                    <a:pt x="522" y="5567"/>
                    <a:pt x="132" y="4359"/>
                    <a:pt x="27" y="311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2095;p34">
              <a:extLst>
                <a:ext uri="{FF2B5EF4-FFF2-40B4-BE49-F238E27FC236}">
                  <a16:creationId xmlns:a16="http://schemas.microsoft.com/office/drawing/2014/main" id="{88A76374-2924-4073-A97A-D443BD3B41DC}"/>
                </a:ext>
              </a:extLst>
            </p:cNvPr>
            <p:cNvSpPr/>
            <p:nvPr/>
          </p:nvSpPr>
          <p:spPr>
            <a:xfrm>
              <a:off x="6091738" y="1886219"/>
              <a:ext cx="73770" cy="113063"/>
            </a:xfrm>
            <a:custGeom>
              <a:avLst/>
              <a:gdLst/>
              <a:ahLst/>
              <a:cxnLst/>
              <a:rect l="l" t="t" r="r" b="b"/>
              <a:pathLst>
                <a:path w="73770" h="113063" extrusionOk="0">
                  <a:moveTo>
                    <a:pt x="72240" y="104944"/>
                  </a:moveTo>
                  <a:lnTo>
                    <a:pt x="57011" y="78751"/>
                  </a:lnTo>
                  <a:cubicBezTo>
                    <a:pt x="61932" y="73683"/>
                    <a:pt x="64435" y="66739"/>
                    <a:pt x="63864" y="59701"/>
                  </a:cubicBezTo>
                  <a:cubicBezTo>
                    <a:pt x="62646" y="37222"/>
                    <a:pt x="50806" y="16676"/>
                    <a:pt x="31980" y="4360"/>
                  </a:cubicBezTo>
                  <a:cubicBezTo>
                    <a:pt x="14277" y="-5831"/>
                    <a:pt x="0" y="2455"/>
                    <a:pt x="0" y="22839"/>
                  </a:cubicBezTo>
                  <a:cubicBezTo>
                    <a:pt x="1142" y="45585"/>
                    <a:pt x="13201" y="66378"/>
                    <a:pt x="32360" y="78655"/>
                  </a:cubicBezTo>
                  <a:cubicBezTo>
                    <a:pt x="37776" y="82303"/>
                    <a:pt x="44410" y="83675"/>
                    <a:pt x="50825" y="82465"/>
                  </a:cubicBezTo>
                  <a:lnTo>
                    <a:pt x="66148" y="109040"/>
                  </a:lnTo>
                  <a:cubicBezTo>
                    <a:pt x="67957" y="112088"/>
                    <a:pt x="70812" y="113803"/>
                    <a:pt x="72621" y="112755"/>
                  </a:cubicBezTo>
                  <a:cubicBezTo>
                    <a:pt x="74429" y="111707"/>
                    <a:pt x="73953" y="108088"/>
                    <a:pt x="72240" y="104944"/>
                  </a:cubicBezTo>
                  <a:close/>
                  <a:moveTo>
                    <a:pt x="49683" y="70273"/>
                  </a:moveTo>
                  <a:cubicBezTo>
                    <a:pt x="49131" y="70083"/>
                    <a:pt x="48522" y="70083"/>
                    <a:pt x="47970" y="70273"/>
                  </a:cubicBezTo>
                  <a:cubicBezTo>
                    <a:pt x="47532" y="70578"/>
                    <a:pt x="47198" y="71007"/>
                    <a:pt x="47018" y="71512"/>
                  </a:cubicBezTo>
                  <a:cubicBezTo>
                    <a:pt x="42011" y="72845"/>
                    <a:pt x="36682" y="71978"/>
                    <a:pt x="32360" y="69130"/>
                  </a:cubicBezTo>
                  <a:cubicBezTo>
                    <a:pt x="18198" y="59910"/>
                    <a:pt x="9289" y="44480"/>
                    <a:pt x="8376" y="27601"/>
                  </a:cubicBezTo>
                  <a:cubicBezTo>
                    <a:pt x="8376" y="12266"/>
                    <a:pt x="19131" y="6075"/>
                    <a:pt x="32360" y="13790"/>
                  </a:cubicBezTo>
                  <a:cubicBezTo>
                    <a:pt x="46494" y="23020"/>
                    <a:pt x="55374" y="38450"/>
                    <a:pt x="56250" y="55319"/>
                  </a:cubicBezTo>
                  <a:cubicBezTo>
                    <a:pt x="56678" y="61082"/>
                    <a:pt x="54213" y="66682"/>
                    <a:pt x="49683" y="7027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2096;p34">
              <a:extLst>
                <a:ext uri="{FF2B5EF4-FFF2-40B4-BE49-F238E27FC236}">
                  <a16:creationId xmlns:a16="http://schemas.microsoft.com/office/drawing/2014/main" id="{F3B7442B-578A-4B82-9916-01DC8B966AF3}"/>
                </a:ext>
              </a:extLst>
            </p:cNvPr>
            <p:cNvSpPr/>
            <p:nvPr/>
          </p:nvSpPr>
          <p:spPr>
            <a:xfrm>
              <a:off x="5099606" y="2084115"/>
              <a:ext cx="833576" cy="1053763"/>
            </a:xfrm>
            <a:custGeom>
              <a:avLst/>
              <a:gdLst/>
              <a:ahLst/>
              <a:cxnLst/>
              <a:rect l="l" t="t" r="r" b="b"/>
              <a:pathLst>
                <a:path w="833576" h="1053763" extrusionOk="0">
                  <a:moveTo>
                    <a:pt x="724017" y="325006"/>
                  </a:moveTo>
                  <a:cubicBezTo>
                    <a:pt x="569829" y="64973"/>
                    <a:pt x="310279" y="-65519"/>
                    <a:pt x="144289" y="32684"/>
                  </a:cubicBezTo>
                  <a:lnTo>
                    <a:pt x="0" y="115646"/>
                  </a:lnTo>
                  <a:lnTo>
                    <a:pt x="55298" y="207753"/>
                  </a:lnTo>
                  <a:cubicBezTo>
                    <a:pt x="64198" y="193570"/>
                    <a:pt x="74743" y="180502"/>
                    <a:pt x="86707" y="168796"/>
                  </a:cubicBezTo>
                  <a:cubicBezTo>
                    <a:pt x="226999" y="123266"/>
                    <a:pt x="419829" y="231947"/>
                    <a:pt x="538801" y="432067"/>
                  </a:cubicBezTo>
                  <a:cubicBezTo>
                    <a:pt x="657773" y="632187"/>
                    <a:pt x="660248" y="853929"/>
                    <a:pt x="553173" y="955370"/>
                  </a:cubicBezTo>
                  <a:cubicBezTo>
                    <a:pt x="539087" y="959809"/>
                    <a:pt x="524572" y="962714"/>
                    <a:pt x="509867" y="964038"/>
                  </a:cubicBezTo>
                  <a:lnTo>
                    <a:pt x="563833" y="1053764"/>
                  </a:lnTo>
                  <a:lnTo>
                    <a:pt x="702507" y="974230"/>
                  </a:lnTo>
                  <a:cubicBezTo>
                    <a:pt x="868496" y="875646"/>
                    <a:pt x="878109" y="584943"/>
                    <a:pt x="724017" y="3250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2097;p34">
              <a:extLst>
                <a:ext uri="{FF2B5EF4-FFF2-40B4-BE49-F238E27FC236}">
                  <a16:creationId xmlns:a16="http://schemas.microsoft.com/office/drawing/2014/main" id="{15D326E4-12B8-4F84-8934-CB0D26D3ED2D}"/>
                </a:ext>
              </a:extLst>
            </p:cNvPr>
            <p:cNvSpPr/>
            <p:nvPr/>
          </p:nvSpPr>
          <p:spPr>
            <a:xfrm>
              <a:off x="4974070" y="2163744"/>
              <a:ext cx="820424" cy="1006964"/>
            </a:xfrm>
            <a:custGeom>
              <a:avLst/>
              <a:gdLst/>
              <a:ahLst/>
              <a:cxnLst/>
              <a:rect l="l" t="t" r="r" b="b"/>
              <a:pathLst>
                <a:path w="820424" h="1006964" extrusionOk="0">
                  <a:moveTo>
                    <a:pt x="710783" y="325006"/>
                  </a:moveTo>
                  <a:cubicBezTo>
                    <a:pt x="556595" y="64973"/>
                    <a:pt x="297046" y="-65519"/>
                    <a:pt x="131056" y="32684"/>
                  </a:cubicBezTo>
                  <a:cubicBezTo>
                    <a:pt x="-34934" y="130886"/>
                    <a:pt x="-44547" y="421970"/>
                    <a:pt x="109641" y="682003"/>
                  </a:cubicBezTo>
                  <a:cubicBezTo>
                    <a:pt x="263829" y="942035"/>
                    <a:pt x="523378" y="1072528"/>
                    <a:pt x="689368" y="974230"/>
                  </a:cubicBezTo>
                  <a:cubicBezTo>
                    <a:pt x="855358" y="875932"/>
                    <a:pt x="864971" y="584848"/>
                    <a:pt x="710783" y="325006"/>
                  </a:cubicBezTo>
                  <a:close/>
                  <a:moveTo>
                    <a:pt x="678708" y="875836"/>
                  </a:moveTo>
                  <a:cubicBezTo>
                    <a:pt x="538321" y="921366"/>
                    <a:pt x="345586" y="812686"/>
                    <a:pt x="226614" y="612470"/>
                  </a:cubicBezTo>
                  <a:cubicBezTo>
                    <a:pt x="107642" y="412255"/>
                    <a:pt x="105168" y="190703"/>
                    <a:pt x="212242" y="89262"/>
                  </a:cubicBezTo>
                  <a:cubicBezTo>
                    <a:pt x="352534" y="43733"/>
                    <a:pt x="545364" y="152413"/>
                    <a:pt x="664336" y="352533"/>
                  </a:cubicBezTo>
                  <a:cubicBezTo>
                    <a:pt x="783309" y="552653"/>
                    <a:pt x="785783" y="774300"/>
                    <a:pt x="678708" y="875741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2098;p34">
              <a:extLst>
                <a:ext uri="{FF2B5EF4-FFF2-40B4-BE49-F238E27FC236}">
                  <a16:creationId xmlns:a16="http://schemas.microsoft.com/office/drawing/2014/main" id="{2ADBD743-7EE6-4F9E-9A71-DCED6926F116}"/>
                </a:ext>
              </a:extLst>
            </p:cNvPr>
            <p:cNvSpPr/>
            <p:nvPr/>
          </p:nvSpPr>
          <p:spPr>
            <a:xfrm>
              <a:off x="5034477" y="2242227"/>
              <a:ext cx="618491" cy="852150"/>
            </a:xfrm>
            <a:custGeom>
              <a:avLst/>
              <a:gdLst/>
              <a:ahLst/>
              <a:cxnLst/>
              <a:rect l="l" t="t" r="r" b="b"/>
              <a:pathLst>
                <a:path w="618491" h="852150" extrusionOk="0">
                  <a:moveTo>
                    <a:pt x="166398" y="533892"/>
                  </a:moveTo>
                  <a:cubicBezTo>
                    <a:pt x="47711" y="333866"/>
                    <a:pt x="44951" y="112124"/>
                    <a:pt x="152026" y="10683"/>
                  </a:cubicBezTo>
                  <a:cubicBezTo>
                    <a:pt x="213225" y="-9224"/>
                    <a:pt x="284513" y="301"/>
                    <a:pt x="355230" y="33924"/>
                  </a:cubicBezTo>
                  <a:cubicBezTo>
                    <a:pt x="268428" y="-7414"/>
                    <a:pt x="180960" y="-12844"/>
                    <a:pt x="112146" y="28019"/>
                  </a:cubicBezTo>
                  <a:cubicBezTo>
                    <a:pt x="-29192" y="111934"/>
                    <a:pt x="-38139" y="358250"/>
                    <a:pt x="92159" y="577992"/>
                  </a:cubicBezTo>
                  <a:cubicBezTo>
                    <a:pt x="222457" y="797734"/>
                    <a:pt x="442794" y="907938"/>
                    <a:pt x="584133" y="824023"/>
                  </a:cubicBezTo>
                  <a:cubicBezTo>
                    <a:pt x="596563" y="816432"/>
                    <a:pt x="608089" y="807450"/>
                    <a:pt x="618492" y="797258"/>
                  </a:cubicBezTo>
                  <a:cubicBezTo>
                    <a:pt x="477914" y="842787"/>
                    <a:pt x="284894" y="734107"/>
                    <a:pt x="166398" y="533892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099;p34">
              <a:extLst>
                <a:ext uri="{FF2B5EF4-FFF2-40B4-BE49-F238E27FC236}">
                  <a16:creationId xmlns:a16="http://schemas.microsoft.com/office/drawing/2014/main" id="{4F8CA55A-C4BC-4163-83E8-6837BAA5C156}"/>
                </a:ext>
              </a:extLst>
            </p:cNvPr>
            <p:cNvSpPr/>
            <p:nvPr/>
          </p:nvSpPr>
          <p:spPr>
            <a:xfrm>
              <a:off x="5108865" y="2242623"/>
              <a:ext cx="621582" cy="807149"/>
            </a:xfrm>
            <a:custGeom>
              <a:avLst/>
              <a:gdLst/>
              <a:ahLst/>
              <a:cxnLst/>
              <a:rect l="l" t="t" r="r" b="b"/>
              <a:pathLst>
                <a:path w="621582" h="807149" extrusionOk="0">
                  <a:moveTo>
                    <a:pt x="529828" y="273559"/>
                  </a:moveTo>
                  <a:cubicBezTo>
                    <a:pt x="411141" y="73534"/>
                    <a:pt x="218026" y="-35242"/>
                    <a:pt x="77734" y="10288"/>
                  </a:cubicBezTo>
                  <a:cubicBezTo>
                    <a:pt x="-29341" y="111729"/>
                    <a:pt x="-26962" y="333376"/>
                    <a:pt x="92106" y="533496"/>
                  </a:cubicBezTo>
                  <a:cubicBezTo>
                    <a:pt x="211173" y="733616"/>
                    <a:pt x="403813" y="842392"/>
                    <a:pt x="544200" y="796862"/>
                  </a:cubicBezTo>
                  <a:cubicBezTo>
                    <a:pt x="650989" y="695421"/>
                    <a:pt x="648229" y="473774"/>
                    <a:pt x="529828" y="273559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100;p34">
              <a:extLst>
                <a:ext uri="{FF2B5EF4-FFF2-40B4-BE49-F238E27FC236}">
                  <a16:creationId xmlns:a16="http://schemas.microsoft.com/office/drawing/2014/main" id="{268D4942-46D1-4FE2-B3DB-FA3D99869EA1}"/>
                </a:ext>
              </a:extLst>
            </p:cNvPr>
            <p:cNvSpPr/>
            <p:nvPr/>
          </p:nvSpPr>
          <p:spPr>
            <a:xfrm>
              <a:off x="5831808" y="2838412"/>
              <a:ext cx="311135" cy="259746"/>
            </a:xfrm>
            <a:custGeom>
              <a:avLst/>
              <a:gdLst/>
              <a:ahLst/>
              <a:cxnLst/>
              <a:rect l="l" t="t" r="r" b="b"/>
              <a:pathLst>
                <a:path w="311135" h="259746" extrusionOk="0">
                  <a:moveTo>
                    <a:pt x="0" y="0"/>
                  </a:moveTo>
                  <a:lnTo>
                    <a:pt x="311136" y="179546"/>
                  </a:lnTo>
                  <a:lnTo>
                    <a:pt x="311136" y="259747"/>
                  </a:lnTo>
                  <a:lnTo>
                    <a:pt x="0" y="802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101;p34">
              <a:extLst>
                <a:ext uri="{FF2B5EF4-FFF2-40B4-BE49-F238E27FC236}">
                  <a16:creationId xmlns:a16="http://schemas.microsoft.com/office/drawing/2014/main" id="{D340A2F6-E6B4-400F-8B08-3080B132D885}"/>
                </a:ext>
              </a:extLst>
            </p:cNvPr>
            <p:cNvSpPr/>
            <p:nvPr/>
          </p:nvSpPr>
          <p:spPr>
            <a:xfrm>
              <a:off x="5831808" y="2798312"/>
              <a:ext cx="380520" cy="219646"/>
            </a:xfrm>
            <a:custGeom>
              <a:avLst/>
              <a:gdLst/>
              <a:ahLst/>
              <a:cxnLst/>
              <a:rect l="l" t="t" r="r" b="b"/>
              <a:pathLst>
                <a:path w="380520" h="219646" extrusionOk="0">
                  <a:moveTo>
                    <a:pt x="69384" y="0"/>
                  </a:moveTo>
                  <a:lnTo>
                    <a:pt x="380520" y="179546"/>
                  </a:lnTo>
                  <a:lnTo>
                    <a:pt x="311136" y="219646"/>
                  </a:lnTo>
                  <a:lnTo>
                    <a:pt x="0" y="40100"/>
                  </a:lnTo>
                  <a:lnTo>
                    <a:pt x="69384" y="0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102;p34">
              <a:extLst>
                <a:ext uri="{FF2B5EF4-FFF2-40B4-BE49-F238E27FC236}">
                  <a16:creationId xmlns:a16="http://schemas.microsoft.com/office/drawing/2014/main" id="{2FB92CEF-0054-4267-A95D-8CCE48089252}"/>
                </a:ext>
              </a:extLst>
            </p:cNvPr>
            <p:cNvSpPr/>
            <p:nvPr/>
          </p:nvSpPr>
          <p:spPr>
            <a:xfrm>
              <a:off x="6056214" y="2910510"/>
              <a:ext cx="696628" cy="514166"/>
            </a:xfrm>
            <a:custGeom>
              <a:avLst/>
              <a:gdLst/>
              <a:ahLst/>
              <a:cxnLst/>
              <a:rect l="l" t="t" r="r" b="b"/>
              <a:pathLst>
                <a:path w="696628" h="514166" extrusionOk="0">
                  <a:moveTo>
                    <a:pt x="20772" y="62109"/>
                  </a:moveTo>
                  <a:cubicBezTo>
                    <a:pt x="50182" y="12389"/>
                    <a:pt x="99770" y="-12567"/>
                    <a:pt x="131464" y="6293"/>
                  </a:cubicBezTo>
                  <a:lnTo>
                    <a:pt x="696629" y="335096"/>
                  </a:lnTo>
                  <a:lnTo>
                    <a:pt x="588983" y="514166"/>
                  </a:lnTo>
                  <a:lnTo>
                    <a:pt x="24865" y="186030"/>
                  </a:lnTo>
                  <a:cubicBezTo>
                    <a:pt x="-6830" y="167170"/>
                    <a:pt x="-8257" y="111640"/>
                    <a:pt x="20772" y="62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103;p34">
              <a:extLst>
                <a:ext uri="{FF2B5EF4-FFF2-40B4-BE49-F238E27FC236}">
                  <a16:creationId xmlns:a16="http://schemas.microsoft.com/office/drawing/2014/main" id="{AF403A69-FE30-43C2-81F0-B57142E62B3E}"/>
                </a:ext>
              </a:extLst>
            </p:cNvPr>
            <p:cNvSpPr/>
            <p:nvPr/>
          </p:nvSpPr>
          <p:spPr>
            <a:xfrm>
              <a:off x="6620145" y="3238764"/>
              <a:ext cx="156663" cy="192193"/>
            </a:xfrm>
            <a:custGeom>
              <a:avLst/>
              <a:gdLst/>
              <a:ahLst/>
              <a:cxnLst/>
              <a:rect l="l" t="t" r="r" b="b"/>
              <a:pathLst>
                <a:path w="156663" h="192193" extrusionOk="0">
                  <a:moveTo>
                    <a:pt x="135743" y="130095"/>
                  </a:moveTo>
                  <a:cubicBezTo>
                    <a:pt x="106238" y="179720"/>
                    <a:pt x="56745" y="204771"/>
                    <a:pt x="25051" y="185912"/>
                  </a:cubicBezTo>
                  <a:cubicBezTo>
                    <a:pt x="-6643" y="167052"/>
                    <a:pt x="-8547" y="111617"/>
                    <a:pt x="20958" y="62087"/>
                  </a:cubicBezTo>
                  <a:cubicBezTo>
                    <a:pt x="50464" y="12557"/>
                    <a:pt x="99956" y="-12589"/>
                    <a:pt x="131650" y="6270"/>
                  </a:cubicBezTo>
                  <a:cubicBezTo>
                    <a:pt x="163344" y="25130"/>
                    <a:pt x="165153" y="80470"/>
                    <a:pt x="135743" y="130095"/>
                  </a:cubicBezTo>
                  <a:close/>
                </a:path>
              </a:pathLst>
            </a:custGeom>
            <a:solidFill>
              <a:srgbClr val="8C50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104;p34">
              <a:extLst>
                <a:ext uri="{FF2B5EF4-FFF2-40B4-BE49-F238E27FC236}">
                  <a16:creationId xmlns:a16="http://schemas.microsoft.com/office/drawing/2014/main" id="{4B2C4DF8-8BA5-473B-8DE8-592EC0E31254}"/>
                </a:ext>
              </a:extLst>
            </p:cNvPr>
            <p:cNvSpPr/>
            <p:nvPr/>
          </p:nvSpPr>
          <p:spPr>
            <a:xfrm>
              <a:off x="6620145" y="3238764"/>
              <a:ext cx="156663" cy="192193"/>
            </a:xfrm>
            <a:custGeom>
              <a:avLst/>
              <a:gdLst/>
              <a:ahLst/>
              <a:cxnLst/>
              <a:rect l="l" t="t" r="r" b="b"/>
              <a:pathLst>
                <a:path w="156663" h="192193" extrusionOk="0">
                  <a:moveTo>
                    <a:pt x="135743" y="130095"/>
                  </a:moveTo>
                  <a:cubicBezTo>
                    <a:pt x="106238" y="179720"/>
                    <a:pt x="56745" y="204771"/>
                    <a:pt x="25051" y="185912"/>
                  </a:cubicBezTo>
                  <a:cubicBezTo>
                    <a:pt x="-6643" y="167052"/>
                    <a:pt x="-8547" y="111617"/>
                    <a:pt x="20958" y="62087"/>
                  </a:cubicBezTo>
                  <a:cubicBezTo>
                    <a:pt x="50464" y="12557"/>
                    <a:pt x="99956" y="-12589"/>
                    <a:pt x="131650" y="6270"/>
                  </a:cubicBezTo>
                  <a:cubicBezTo>
                    <a:pt x="163344" y="25130"/>
                    <a:pt x="165153" y="80470"/>
                    <a:pt x="135743" y="1300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2105;p34">
              <a:extLst>
                <a:ext uri="{FF2B5EF4-FFF2-40B4-BE49-F238E27FC236}">
                  <a16:creationId xmlns:a16="http://schemas.microsoft.com/office/drawing/2014/main" id="{C07CB3D4-C83D-47D2-9E70-642A2388551D}"/>
                </a:ext>
              </a:extLst>
            </p:cNvPr>
            <p:cNvSpPr/>
            <p:nvPr/>
          </p:nvSpPr>
          <p:spPr>
            <a:xfrm>
              <a:off x="3797207" y="2991392"/>
              <a:ext cx="2353338" cy="1403876"/>
            </a:xfrm>
            <a:custGeom>
              <a:avLst/>
              <a:gdLst/>
              <a:ahLst/>
              <a:cxnLst/>
              <a:rect l="l" t="t" r="r" b="b"/>
              <a:pathLst>
                <a:path w="2353338" h="1403876" extrusionOk="0">
                  <a:moveTo>
                    <a:pt x="2300432" y="1399691"/>
                  </a:moveTo>
                  <a:lnTo>
                    <a:pt x="7411" y="30758"/>
                  </a:lnTo>
                  <a:cubicBezTo>
                    <a:pt x="-3629" y="24471"/>
                    <a:pt x="-2106" y="13327"/>
                    <a:pt x="10457" y="5992"/>
                  </a:cubicBezTo>
                  <a:lnTo>
                    <a:pt x="10457" y="5992"/>
                  </a:lnTo>
                  <a:cubicBezTo>
                    <a:pt x="23658" y="-1342"/>
                    <a:pt x="39543" y="-1980"/>
                    <a:pt x="53287" y="4278"/>
                  </a:cubicBezTo>
                  <a:lnTo>
                    <a:pt x="2345927" y="1373211"/>
                  </a:lnTo>
                  <a:cubicBezTo>
                    <a:pt x="2356968" y="1379593"/>
                    <a:pt x="2355445" y="1390642"/>
                    <a:pt x="2342881" y="1397976"/>
                  </a:cubicBezTo>
                  <a:lnTo>
                    <a:pt x="2342881" y="1397976"/>
                  </a:lnTo>
                  <a:cubicBezTo>
                    <a:pt x="2329785" y="1405186"/>
                    <a:pt x="2314062" y="1405825"/>
                    <a:pt x="2300432" y="1399691"/>
                  </a:cubicBez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2106;p34">
              <a:extLst>
                <a:ext uri="{FF2B5EF4-FFF2-40B4-BE49-F238E27FC236}">
                  <a16:creationId xmlns:a16="http://schemas.microsoft.com/office/drawing/2014/main" id="{F1AEE425-57ED-458D-AE09-6D388EF3196B}"/>
                </a:ext>
              </a:extLst>
            </p:cNvPr>
            <p:cNvSpPr/>
            <p:nvPr/>
          </p:nvSpPr>
          <p:spPr>
            <a:xfrm>
              <a:off x="2602525" y="4569200"/>
              <a:ext cx="891148" cy="510349"/>
            </a:xfrm>
            <a:custGeom>
              <a:avLst/>
              <a:gdLst/>
              <a:ahLst/>
              <a:cxnLst/>
              <a:rect l="l" t="t" r="r" b="b"/>
              <a:pathLst>
                <a:path w="891148" h="510349" extrusionOk="0">
                  <a:moveTo>
                    <a:pt x="356916" y="510349"/>
                  </a:moveTo>
                  <a:lnTo>
                    <a:pt x="0" y="306038"/>
                  </a:lnTo>
                  <a:lnTo>
                    <a:pt x="534232" y="0"/>
                  </a:lnTo>
                  <a:lnTo>
                    <a:pt x="891149" y="204311"/>
                  </a:lnTo>
                  <a:lnTo>
                    <a:pt x="356916" y="510349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2107;p34">
              <a:extLst>
                <a:ext uri="{FF2B5EF4-FFF2-40B4-BE49-F238E27FC236}">
                  <a16:creationId xmlns:a16="http://schemas.microsoft.com/office/drawing/2014/main" id="{DD7D4974-A51C-48E5-BBEA-C6028AF1CDA0}"/>
                </a:ext>
              </a:extLst>
            </p:cNvPr>
            <p:cNvSpPr/>
            <p:nvPr/>
          </p:nvSpPr>
          <p:spPr>
            <a:xfrm>
              <a:off x="2671243" y="4325932"/>
              <a:ext cx="591243" cy="341661"/>
            </a:xfrm>
            <a:custGeom>
              <a:avLst/>
              <a:gdLst/>
              <a:ahLst/>
              <a:cxnLst/>
              <a:rect l="l" t="t" r="r" b="b"/>
              <a:pathLst>
                <a:path w="591243" h="341661" extrusionOk="0">
                  <a:moveTo>
                    <a:pt x="295622" y="341662"/>
                  </a:moveTo>
                  <a:lnTo>
                    <a:pt x="0" y="170783"/>
                  </a:lnTo>
                  <a:lnTo>
                    <a:pt x="295622" y="0"/>
                  </a:lnTo>
                  <a:lnTo>
                    <a:pt x="591244" y="170783"/>
                  </a:lnTo>
                  <a:lnTo>
                    <a:pt x="295622" y="34166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108;p34">
              <a:extLst>
                <a:ext uri="{FF2B5EF4-FFF2-40B4-BE49-F238E27FC236}">
                  <a16:creationId xmlns:a16="http://schemas.microsoft.com/office/drawing/2014/main" id="{20F49B82-7FBC-4EFF-AA6E-DEB881572213}"/>
                </a:ext>
              </a:extLst>
            </p:cNvPr>
            <p:cNvSpPr/>
            <p:nvPr/>
          </p:nvSpPr>
          <p:spPr>
            <a:xfrm>
              <a:off x="2671243" y="4496715"/>
              <a:ext cx="295621" cy="512444"/>
            </a:xfrm>
            <a:custGeom>
              <a:avLst/>
              <a:gdLst/>
              <a:ahLst/>
              <a:cxnLst/>
              <a:rect l="l" t="t" r="r" b="b"/>
              <a:pathLst>
                <a:path w="295621" h="512444" extrusionOk="0">
                  <a:moveTo>
                    <a:pt x="295622" y="512445"/>
                  </a:moveTo>
                  <a:lnTo>
                    <a:pt x="0" y="341662"/>
                  </a:lnTo>
                  <a:lnTo>
                    <a:pt x="0" y="0"/>
                  </a:lnTo>
                  <a:lnTo>
                    <a:pt x="295622" y="170879"/>
                  </a:lnTo>
                  <a:lnTo>
                    <a:pt x="295622" y="512445"/>
                  </a:lnTo>
                  <a:close/>
                </a:path>
              </a:pathLst>
            </a:custGeom>
            <a:solidFill>
              <a:srgbClr val="B1B6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109;p34">
              <a:extLst>
                <a:ext uri="{FF2B5EF4-FFF2-40B4-BE49-F238E27FC236}">
                  <a16:creationId xmlns:a16="http://schemas.microsoft.com/office/drawing/2014/main" id="{E51A7456-F47C-4F50-91FA-E2CF2E79A02B}"/>
                </a:ext>
              </a:extLst>
            </p:cNvPr>
            <p:cNvSpPr/>
            <p:nvPr/>
          </p:nvSpPr>
          <p:spPr>
            <a:xfrm>
              <a:off x="2966865" y="4496715"/>
              <a:ext cx="295621" cy="512444"/>
            </a:xfrm>
            <a:custGeom>
              <a:avLst/>
              <a:gdLst/>
              <a:ahLst/>
              <a:cxnLst/>
              <a:rect l="l" t="t" r="r" b="b"/>
              <a:pathLst>
                <a:path w="295621" h="512444" extrusionOk="0">
                  <a:moveTo>
                    <a:pt x="295622" y="341662"/>
                  </a:moveTo>
                  <a:lnTo>
                    <a:pt x="0" y="512445"/>
                  </a:lnTo>
                  <a:lnTo>
                    <a:pt x="0" y="170879"/>
                  </a:lnTo>
                  <a:lnTo>
                    <a:pt x="295622" y="0"/>
                  </a:lnTo>
                  <a:lnTo>
                    <a:pt x="295622" y="341662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110;p34">
              <a:extLst>
                <a:ext uri="{FF2B5EF4-FFF2-40B4-BE49-F238E27FC236}">
                  <a16:creationId xmlns:a16="http://schemas.microsoft.com/office/drawing/2014/main" id="{0B231B1B-AFB3-4B18-8455-39D2B1F5D200}"/>
                </a:ext>
              </a:extLst>
            </p:cNvPr>
            <p:cNvSpPr/>
            <p:nvPr/>
          </p:nvSpPr>
          <p:spPr>
            <a:xfrm>
              <a:off x="3352925" y="4700698"/>
              <a:ext cx="220640" cy="124389"/>
            </a:xfrm>
            <a:custGeom>
              <a:avLst/>
              <a:gdLst/>
              <a:ahLst/>
              <a:cxnLst/>
              <a:rect l="l" t="t" r="r" b="b"/>
              <a:pathLst>
                <a:path w="220640" h="124389" extrusionOk="0">
                  <a:moveTo>
                    <a:pt x="11021" y="30141"/>
                  </a:moveTo>
                  <a:cubicBezTo>
                    <a:pt x="36663" y="37161"/>
                    <a:pt x="64037" y="33732"/>
                    <a:pt x="87163" y="20616"/>
                  </a:cubicBezTo>
                  <a:cubicBezTo>
                    <a:pt x="105532" y="21188"/>
                    <a:pt x="205088" y="-21484"/>
                    <a:pt x="218603" y="14330"/>
                  </a:cubicBezTo>
                  <a:cubicBezTo>
                    <a:pt x="230501" y="45762"/>
                    <a:pt x="187385" y="74813"/>
                    <a:pt x="164352" y="80338"/>
                  </a:cubicBezTo>
                  <a:cubicBezTo>
                    <a:pt x="114003" y="92530"/>
                    <a:pt x="76789" y="117676"/>
                    <a:pt x="56611" y="121867"/>
                  </a:cubicBezTo>
                  <a:cubicBezTo>
                    <a:pt x="41573" y="125105"/>
                    <a:pt x="22062" y="127201"/>
                    <a:pt x="10069" y="115295"/>
                  </a:cubicBezTo>
                  <a:cubicBezTo>
                    <a:pt x="-4112" y="101388"/>
                    <a:pt x="-2875" y="48905"/>
                    <a:pt x="11021" y="301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111;p34">
              <a:extLst>
                <a:ext uri="{FF2B5EF4-FFF2-40B4-BE49-F238E27FC236}">
                  <a16:creationId xmlns:a16="http://schemas.microsoft.com/office/drawing/2014/main" id="{36AD0972-608C-464F-9DBC-031114DDE5DE}"/>
                </a:ext>
              </a:extLst>
            </p:cNvPr>
            <p:cNvSpPr/>
            <p:nvPr/>
          </p:nvSpPr>
          <p:spPr>
            <a:xfrm>
              <a:off x="3356617" y="4721600"/>
              <a:ext cx="217074" cy="103773"/>
            </a:xfrm>
            <a:custGeom>
              <a:avLst/>
              <a:gdLst/>
              <a:ahLst/>
              <a:cxnLst/>
              <a:rect l="l" t="t" r="r" b="b"/>
              <a:pathLst>
                <a:path w="217074" h="103773" extrusionOk="0">
                  <a:moveTo>
                    <a:pt x="53109" y="92583"/>
                  </a:moveTo>
                  <a:cubicBezTo>
                    <a:pt x="73287" y="88297"/>
                    <a:pt x="110216" y="63246"/>
                    <a:pt x="160850" y="51054"/>
                  </a:cubicBezTo>
                  <a:cubicBezTo>
                    <a:pt x="179886" y="46387"/>
                    <a:pt x="213388" y="25241"/>
                    <a:pt x="216720" y="0"/>
                  </a:cubicBezTo>
                  <a:cubicBezTo>
                    <a:pt x="221193" y="28575"/>
                    <a:pt x="182265" y="54578"/>
                    <a:pt x="160850" y="59722"/>
                  </a:cubicBezTo>
                  <a:cubicBezTo>
                    <a:pt x="110501" y="71914"/>
                    <a:pt x="73287" y="97059"/>
                    <a:pt x="53109" y="101251"/>
                  </a:cubicBezTo>
                  <a:cubicBezTo>
                    <a:pt x="38071" y="104489"/>
                    <a:pt x="18560" y="106584"/>
                    <a:pt x="6567" y="94678"/>
                  </a:cubicBezTo>
                  <a:cubicBezTo>
                    <a:pt x="3439" y="91269"/>
                    <a:pt x="1186" y="87154"/>
                    <a:pt x="0" y="82677"/>
                  </a:cubicBezTo>
                  <a:cubicBezTo>
                    <a:pt x="15148" y="94183"/>
                    <a:pt x="34836" y="97850"/>
                    <a:pt x="53109" y="9258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112;p34">
              <a:extLst>
                <a:ext uri="{FF2B5EF4-FFF2-40B4-BE49-F238E27FC236}">
                  <a16:creationId xmlns:a16="http://schemas.microsoft.com/office/drawing/2014/main" id="{6A0B3C20-EE3B-44A8-AA76-1391D60EDD0C}"/>
                </a:ext>
              </a:extLst>
            </p:cNvPr>
            <p:cNvSpPr/>
            <p:nvPr/>
          </p:nvSpPr>
          <p:spPr>
            <a:xfrm>
              <a:off x="3173533" y="4605067"/>
              <a:ext cx="220687" cy="124551"/>
            </a:xfrm>
            <a:custGeom>
              <a:avLst/>
              <a:gdLst/>
              <a:ahLst/>
              <a:cxnLst/>
              <a:rect l="l" t="t" r="r" b="b"/>
              <a:pathLst>
                <a:path w="220687" h="124551" extrusionOk="0">
                  <a:moveTo>
                    <a:pt x="11098" y="30141"/>
                  </a:moveTo>
                  <a:cubicBezTo>
                    <a:pt x="36743" y="37095"/>
                    <a:pt x="64094" y="33675"/>
                    <a:pt x="87240" y="20616"/>
                  </a:cubicBezTo>
                  <a:cubicBezTo>
                    <a:pt x="105609" y="21188"/>
                    <a:pt x="205070" y="-21484"/>
                    <a:pt x="218680" y="14330"/>
                  </a:cubicBezTo>
                  <a:cubicBezTo>
                    <a:pt x="230482" y="45762"/>
                    <a:pt x="187367" y="74718"/>
                    <a:pt x="164334" y="80338"/>
                  </a:cubicBezTo>
                  <a:cubicBezTo>
                    <a:pt x="114270" y="92816"/>
                    <a:pt x="76865" y="117962"/>
                    <a:pt x="57164" y="122058"/>
                  </a:cubicBezTo>
                  <a:cubicBezTo>
                    <a:pt x="42126" y="125296"/>
                    <a:pt x="22614" y="127296"/>
                    <a:pt x="10622" y="115485"/>
                  </a:cubicBezTo>
                  <a:cubicBezTo>
                    <a:pt x="-4226" y="101388"/>
                    <a:pt x="-2989" y="48810"/>
                    <a:pt x="11098" y="301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113;p34">
              <a:extLst>
                <a:ext uri="{FF2B5EF4-FFF2-40B4-BE49-F238E27FC236}">
                  <a16:creationId xmlns:a16="http://schemas.microsoft.com/office/drawing/2014/main" id="{D4D72C7B-2E04-4357-A638-F83889825559}"/>
                </a:ext>
              </a:extLst>
            </p:cNvPr>
            <p:cNvSpPr/>
            <p:nvPr/>
          </p:nvSpPr>
          <p:spPr>
            <a:xfrm>
              <a:off x="3177588" y="4625969"/>
              <a:ext cx="217074" cy="103649"/>
            </a:xfrm>
            <a:custGeom>
              <a:avLst/>
              <a:gdLst/>
              <a:ahLst/>
              <a:cxnLst/>
              <a:rect l="l" t="t" r="r" b="b"/>
              <a:pathLst>
                <a:path w="217074" h="103649" extrusionOk="0">
                  <a:moveTo>
                    <a:pt x="53109" y="92583"/>
                  </a:moveTo>
                  <a:cubicBezTo>
                    <a:pt x="73287" y="88297"/>
                    <a:pt x="110216" y="63246"/>
                    <a:pt x="160755" y="51054"/>
                  </a:cubicBezTo>
                  <a:cubicBezTo>
                    <a:pt x="179791" y="46387"/>
                    <a:pt x="213388" y="25241"/>
                    <a:pt x="216720" y="0"/>
                  </a:cubicBezTo>
                  <a:cubicBezTo>
                    <a:pt x="221193" y="28575"/>
                    <a:pt x="182265" y="54483"/>
                    <a:pt x="160755" y="59722"/>
                  </a:cubicBezTo>
                  <a:cubicBezTo>
                    <a:pt x="110216" y="71914"/>
                    <a:pt x="72811" y="97060"/>
                    <a:pt x="53109" y="101155"/>
                  </a:cubicBezTo>
                  <a:cubicBezTo>
                    <a:pt x="38071" y="104394"/>
                    <a:pt x="18560" y="106394"/>
                    <a:pt x="6567" y="94583"/>
                  </a:cubicBezTo>
                  <a:cubicBezTo>
                    <a:pt x="3481" y="91145"/>
                    <a:pt x="1233" y="87039"/>
                    <a:pt x="0" y="82582"/>
                  </a:cubicBezTo>
                  <a:cubicBezTo>
                    <a:pt x="15132" y="94116"/>
                    <a:pt x="34821" y="97831"/>
                    <a:pt x="53109" y="9258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114;p34">
              <a:extLst>
                <a:ext uri="{FF2B5EF4-FFF2-40B4-BE49-F238E27FC236}">
                  <a16:creationId xmlns:a16="http://schemas.microsoft.com/office/drawing/2014/main" id="{EBF6C404-E70F-4AF5-95D9-6F1442AFA6CE}"/>
                </a:ext>
              </a:extLst>
            </p:cNvPr>
            <p:cNvSpPr/>
            <p:nvPr/>
          </p:nvSpPr>
          <p:spPr>
            <a:xfrm>
              <a:off x="2766014" y="4132721"/>
              <a:ext cx="711887" cy="612953"/>
            </a:xfrm>
            <a:custGeom>
              <a:avLst/>
              <a:gdLst/>
              <a:ahLst/>
              <a:cxnLst/>
              <a:rect l="l" t="t" r="r" b="b"/>
              <a:pathLst>
                <a:path w="711887" h="612953" extrusionOk="0">
                  <a:moveTo>
                    <a:pt x="139081" y="378472"/>
                  </a:moveTo>
                  <a:cubicBezTo>
                    <a:pt x="216746" y="412572"/>
                    <a:pt x="289937" y="418001"/>
                    <a:pt x="349804" y="385806"/>
                  </a:cubicBezTo>
                  <a:lnTo>
                    <a:pt x="411670" y="350088"/>
                  </a:lnTo>
                  <a:cubicBezTo>
                    <a:pt x="415381" y="430002"/>
                    <a:pt x="418903" y="506774"/>
                    <a:pt x="418903" y="506774"/>
                  </a:cubicBezTo>
                  <a:cubicBezTo>
                    <a:pt x="418903" y="506774"/>
                    <a:pt x="466492" y="542683"/>
                    <a:pt x="503231" y="510679"/>
                  </a:cubicBezTo>
                  <a:cubicBezTo>
                    <a:pt x="503231" y="510679"/>
                    <a:pt x="510940" y="398475"/>
                    <a:pt x="518744" y="288175"/>
                  </a:cubicBezTo>
                  <a:lnTo>
                    <a:pt x="583656" y="250742"/>
                  </a:lnTo>
                  <a:cubicBezTo>
                    <a:pt x="582151" y="256628"/>
                    <a:pt x="581321" y="262667"/>
                    <a:pt x="581181" y="268744"/>
                  </a:cubicBezTo>
                  <a:cubicBezTo>
                    <a:pt x="581657" y="289699"/>
                    <a:pt x="596219" y="601262"/>
                    <a:pt x="596219" y="601262"/>
                  </a:cubicBezTo>
                  <a:cubicBezTo>
                    <a:pt x="596219" y="601262"/>
                    <a:pt x="643808" y="629837"/>
                    <a:pt x="680927" y="597642"/>
                  </a:cubicBezTo>
                  <a:cubicBezTo>
                    <a:pt x="680927" y="597642"/>
                    <a:pt x="705769" y="236645"/>
                    <a:pt x="711479" y="179019"/>
                  </a:cubicBezTo>
                  <a:cubicBezTo>
                    <a:pt x="717951" y="114153"/>
                    <a:pt x="645997" y="82149"/>
                    <a:pt x="600407" y="98818"/>
                  </a:cubicBezTo>
                  <a:cubicBezTo>
                    <a:pt x="589842" y="102628"/>
                    <a:pt x="563764" y="112344"/>
                    <a:pt x="530832" y="124631"/>
                  </a:cubicBezTo>
                  <a:cubicBezTo>
                    <a:pt x="532260" y="106629"/>
                    <a:pt x="533402" y="92532"/>
                    <a:pt x="534258" y="84531"/>
                  </a:cubicBezTo>
                  <a:cubicBezTo>
                    <a:pt x="540635" y="19665"/>
                    <a:pt x="468681" y="-12243"/>
                    <a:pt x="423186" y="4330"/>
                  </a:cubicBezTo>
                  <a:cubicBezTo>
                    <a:pt x="381689" y="19475"/>
                    <a:pt x="101581" y="124631"/>
                    <a:pt x="101581" y="124631"/>
                  </a:cubicBezTo>
                  <a:cubicBezTo>
                    <a:pt x="103236" y="151558"/>
                    <a:pt x="106414" y="178362"/>
                    <a:pt x="111098" y="204927"/>
                  </a:cubicBezTo>
                  <a:lnTo>
                    <a:pt x="407" y="195402"/>
                  </a:lnTo>
                  <a:cubicBezTo>
                    <a:pt x="-5875" y="299700"/>
                    <a:pt x="61511" y="344277"/>
                    <a:pt x="139081" y="378472"/>
                  </a:cubicBezTo>
                  <a:close/>
                  <a:moveTo>
                    <a:pt x="332291" y="199021"/>
                  </a:moveTo>
                  <a:lnTo>
                    <a:pt x="406340" y="156254"/>
                  </a:lnTo>
                  <a:cubicBezTo>
                    <a:pt x="405118" y="161483"/>
                    <a:pt x="404323" y="166798"/>
                    <a:pt x="403960" y="17216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115;p34">
              <a:extLst>
                <a:ext uri="{FF2B5EF4-FFF2-40B4-BE49-F238E27FC236}">
                  <a16:creationId xmlns:a16="http://schemas.microsoft.com/office/drawing/2014/main" id="{77B9E761-FAF8-456C-8F6A-982CF1CA9577}"/>
                </a:ext>
              </a:extLst>
            </p:cNvPr>
            <p:cNvSpPr/>
            <p:nvPr/>
          </p:nvSpPr>
          <p:spPr>
            <a:xfrm>
              <a:off x="2706078" y="4012750"/>
              <a:ext cx="153426" cy="268033"/>
            </a:xfrm>
            <a:custGeom>
              <a:avLst/>
              <a:gdLst/>
              <a:ahLst/>
              <a:cxnLst/>
              <a:rect l="l" t="t" r="r" b="b"/>
              <a:pathLst>
                <a:path w="153426" h="268033" extrusionOk="0">
                  <a:moveTo>
                    <a:pt x="0" y="0"/>
                  </a:moveTo>
                  <a:cubicBezTo>
                    <a:pt x="0" y="0"/>
                    <a:pt x="9518" y="137731"/>
                    <a:pt x="27221" y="157544"/>
                  </a:cubicBezTo>
                  <a:cubicBezTo>
                    <a:pt x="44924" y="177355"/>
                    <a:pt x="106313" y="190500"/>
                    <a:pt x="106313" y="190500"/>
                  </a:cubicBezTo>
                  <a:lnTo>
                    <a:pt x="153426" y="268034"/>
                  </a:lnTo>
                  <a:cubicBezTo>
                    <a:pt x="153426" y="268034"/>
                    <a:pt x="110501" y="21717"/>
                    <a:pt x="101174" y="15812"/>
                  </a:cubicBezTo>
                  <a:cubicBezTo>
                    <a:pt x="91846" y="990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116;p34">
              <a:extLst>
                <a:ext uri="{FF2B5EF4-FFF2-40B4-BE49-F238E27FC236}">
                  <a16:creationId xmlns:a16="http://schemas.microsoft.com/office/drawing/2014/main" id="{C880C9A3-A2D0-446E-BB55-D11D312417AF}"/>
                </a:ext>
              </a:extLst>
            </p:cNvPr>
            <p:cNvSpPr/>
            <p:nvPr/>
          </p:nvSpPr>
          <p:spPr>
            <a:xfrm>
              <a:off x="2694181" y="3854621"/>
              <a:ext cx="102411" cy="197244"/>
            </a:xfrm>
            <a:custGeom>
              <a:avLst/>
              <a:gdLst/>
              <a:ahLst/>
              <a:cxnLst/>
              <a:rect l="l" t="t" r="r" b="b"/>
              <a:pathLst>
                <a:path w="102411" h="197244" extrusionOk="0">
                  <a:moveTo>
                    <a:pt x="102411" y="4776"/>
                  </a:moveTo>
                  <a:cubicBezTo>
                    <a:pt x="78681" y="-6244"/>
                    <a:pt x="50468" y="2376"/>
                    <a:pt x="36929" y="24778"/>
                  </a:cubicBezTo>
                  <a:cubicBezTo>
                    <a:pt x="19607" y="53353"/>
                    <a:pt x="1618" y="151842"/>
                    <a:pt x="0" y="168701"/>
                  </a:cubicBezTo>
                  <a:cubicBezTo>
                    <a:pt x="0" y="168701"/>
                    <a:pt x="24270" y="202229"/>
                    <a:pt x="60723" y="19660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117;p34">
              <a:extLst>
                <a:ext uri="{FF2B5EF4-FFF2-40B4-BE49-F238E27FC236}">
                  <a16:creationId xmlns:a16="http://schemas.microsoft.com/office/drawing/2014/main" id="{AA4B772F-4BCB-436B-A0F8-1149B6B61AF3}"/>
                </a:ext>
              </a:extLst>
            </p:cNvPr>
            <p:cNvSpPr/>
            <p:nvPr/>
          </p:nvSpPr>
          <p:spPr>
            <a:xfrm>
              <a:off x="2799755" y="3593223"/>
              <a:ext cx="234442" cy="375527"/>
            </a:xfrm>
            <a:custGeom>
              <a:avLst/>
              <a:gdLst/>
              <a:ahLst/>
              <a:cxnLst/>
              <a:rect l="l" t="t" r="r" b="b"/>
              <a:pathLst>
                <a:path w="234442" h="375527" extrusionOk="0">
                  <a:moveTo>
                    <a:pt x="13397" y="267888"/>
                  </a:moveTo>
                  <a:cubicBezTo>
                    <a:pt x="37192" y="269032"/>
                    <a:pt x="54895" y="275127"/>
                    <a:pt x="57845" y="267888"/>
                  </a:cubicBezTo>
                  <a:cubicBezTo>
                    <a:pt x="60387" y="255592"/>
                    <a:pt x="62198" y="243152"/>
                    <a:pt x="63271" y="230646"/>
                  </a:cubicBezTo>
                  <a:cubicBezTo>
                    <a:pt x="60510" y="223693"/>
                    <a:pt x="58131" y="216263"/>
                    <a:pt x="58131" y="216263"/>
                  </a:cubicBezTo>
                  <a:cubicBezTo>
                    <a:pt x="28245" y="197880"/>
                    <a:pt x="18823" y="165590"/>
                    <a:pt x="14920" y="127966"/>
                  </a:cubicBezTo>
                  <a:cubicBezTo>
                    <a:pt x="8258" y="63673"/>
                    <a:pt x="42903" y="7380"/>
                    <a:pt x="107243" y="617"/>
                  </a:cubicBezTo>
                  <a:cubicBezTo>
                    <a:pt x="167585" y="-5670"/>
                    <a:pt x="211938" y="36812"/>
                    <a:pt x="223931" y="95200"/>
                  </a:cubicBezTo>
                  <a:cubicBezTo>
                    <a:pt x="230307" y="123775"/>
                    <a:pt x="242966" y="178449"/>
                    <a:pt x="225834" y="225788"/>
                  </a:cubicBezTo>
                  <a:cubicBezTo>
                    <a:pt x="216316" y="252268"/>
                    <a:pt x="203848" y="273413"/>
                    <a:pt x="191475" y="277413"/>
                  </a:cubicBezTo>
                  <a:cubicBezTo>
                    <a:pt x="179496" y="277042"/>
                    <a:pt x="167548" y="275994"/>
                    <a:pt x="155688" y="274270"/>
                  </a:cubicBezTo>
                  <a:lnTo>
                    <a:pt x="155688" y="274270"/>
                  </a:lnTo>
                  <a:cubicBezTo>
                    <a:pt x="155688" y="274270"/>
                    <a:pt x="152452" y="292177"/>
                    <a:pt x="150263" y="303607"/>
                  </a:cubicBezTo>
                  <a:cubicBezTo>
                    <a:pt x="148074" y="315037"/>
                    <a:pt x="148930" y="321133"/>
                    <a:pt x="171678" y="335230"/>
                  </a:cubicBezTo>
                  <a:cubicBezTo>
                    <a:pt x="194425" y="349327"/>
                    <a:pt x="137224" y="378188"/>
                    <a:pt x="99819" y="375330"/>
                  </a:cubicBezTo>
                  <a:cubicBezTo>
                    <a:pt x="62414" y="372473"/>
                    <a:pt x="20250" y="349899"/>
                    <a:pt x="8734" y="325705"/>
                  </a:cubicBezTo>
                  <a:cubicBezTo>
                    <a:pt x="-4115" y="298940"/>
                    <a:pt x="-2973" y="267126"/>
                    <a:pt x="13397" y="267888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99" name="Google Shape;2118;p34">
              <a:extLst>
                <a:ext uri="{FF2B5EF4-FFF2-40B4-BE49-F238E27FC236}">
                  <a16:creationId xmlns:a16="http://schemas.microsoft.com/office/drawing/2014/main" id="{6755A353-563F-4F14-AD0C-74D39821DA2A}"/>
                </a:ext>
              </a:extLst>
            </p:cNvPr>
            <p:cNvGrpSpPr/>
            <p:nvPr/>
          </p:nvGrpSpPr>
          <p:grpSpPr>
            <a:xfrm>
              <a:off x="2941619" y="3895613"/>
              <a:ext cx="483621" cy="510995"/>
              <a:chOff x="4345944" y="4626313"/>
              <a:chExt cx="483621" cy="510995"/>
            </a:xfrm>
          </p:grpSpPr>
          <p:grpSp>
            <p:nvGrpSpPr>
              <p:cNvPr id="206" name="Google Shape;2119;p34">
                <a:extLst>
                  <a:ext uri="{FF2B5EF4-FFF2-40B4-BE49-F238E27FC236}">
                    <a16:creationId xmlns:a16="http://schemas.microsoft.com/office/drawing/2014/main" id="{124F0B0F-3BFD-44EE-BB5F-A57E79F4D0CF}"/>
                  </a:ext>
                </a:extLst>
              </p:cNvPr>
              <p:cNvGrpSpPr/>
              <p:nvPr/>
            </p:nvGrpSpPr>
            <p:grpSpPr>
              <a:xfrm>
                <a:off x="4345944" y="4852987"/>
                <a:ext cx="474200" cy="284321"/>
                <a:chOff x="4345944" y="4852987"/>
                <a:chExt cx="474200" cy="284321"/>
              </a:xfrm>
            </p:grpSpPr>
            <p:sp>
              <p:nvSpPr>
                <p:cNvPr id="217" name="Google Shape;2120;p34">
                  <a:extLst>
                    <a:ext uri="{FF2B5EF4-FFF2-40B4-BE49-F238E27FC236}">
                      <a16:creationId xmlns:a16="http://schemas.microsoft.com/office/drawing/2014/main" id="{686561C9-AA6B-4856-921A-163E59C1158A}"/>
                    </a:ext>
                  </a:extLst>
                </p:cNvPr>
                <p:cNvSpPr/>
                <p:nvPr/>
              </p:nvSpPr>
              <p:spPr>
                <a:xfrm>
                  <a:off x="4346061" y="4969668"/>
                  <a:ext cx="474083" cy="1676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4083" h="167618" extrusionOk="0">
                      <a:moveTo>
                        <a:pt x="474082" y="43529"/>
                      </a:moveTo>
                      <a:lnTo>
                        <a:pt x="474082" y="43529"/>
                      </a:lnTo>
                      <a:cubicBezTo>
                        <a:pt x="474178" y="50425"/>
                        <a:pt x="470537" y="56845"/>
                        <a:pt x="464564" y="60293"/>
                      </a:cubicBezTo>
                      <a:lnTo>
                        <a:pt x="283155" y="165068"/>
                      </a:lnTo>
                      <a:cubicBezTo>
                        <a:pt x="277266" y="168469"/>
                        <a:pt x="270009" y="168469"/>
                        <a:pt x="264120" y="165068"/>
                      </a:cubicBezTo>
                      <a:lnTo>
                        <a:pt x="9520" y="18193"/>
                      </a:lnTo>
                      <a:cubicBezTo>
                        <a:pt x="3547" y="14745"/>
                        <a:pt x="-94" y="8334"/>
                        <a:pt x="2" y="1429"/>
                      </a:cubicBez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" name="Google Shape;2121;p34">
                  <a:extLst>
                    <a:ext uri="{FF2B5EF4-FFF2-40B4-BE49-F238E27FC236}">
                      <a16:creationId xmlns:a16="http://schemas.microsoft.com/office/drawing/2014/main" id="{677C96FD-39B1-4C38-AEEF-6F49C72E2161}"/>
                    </a:ext>
                  </a:extLst>
                </p:cNvPr>
                <p:cNvSpPr/>
                <p:nvPr/>
              </p:nvSpPr>
              <p:spPr>
                <a:xfrm>
                  <a:off x="4619603" y="5013483"/>
                  <a:ext cx="200539" cy="1238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539" h="123825" extrusionOk="0">
                      <a:moveTo>
                        <a:pt x="190926" y="16478"/>
                      </a:moveTo>
                      <a:lnTo>
                        <a:pt x="9518" y="121253"/>
                      </a:lnTo>
                      <a:cubicBezTo>
                        <a:pt x="6626" y="122930"/>
                        <a:pt x="3344" y="123815"/>
                        <a:pt x="0" y="123825"/>
                      </a:cubicBezTo>
                      <a:lnTo>
                        <a:pt x="0" y="0"/>
                      </a:lnTo>
                      <a:lnTo>
                        <a:pt x="200539" y="0"/>
                      </a:lnTo>
                      <a:cubicBezTo>
                        <a:pt x="200513" y="6820"/>
                        <a:pt x="196846" y="13106"/>
                        <a:pt x="190926" y="16478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9" name="Google Shape;2122;p34">
                  <a:extLst>
                    <a:ext uri="{FF2B5EF4-FFF2-40B4-BE49-F238E27FC236}">
                      <a16:creationId xmlns:a16="http://schemas.microsoft.com/office/drawing/2014/main" id="{B270D403-C2F2-4B8D-96A4-73102A044A3C}"/>
                    </a:ext>
                  </a:extLst>
                </p:cNvPr>
                <p:cNvSpPr/>
                <p:nvPr/>
              </p:nvSpPr>
              <p:spPr>
                <a:xfrm>
                  <a:off x="4345944" y="4852987"/>
                  <a:ext cx="474198" cy="2740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4198" h="274003" extrusionOk="0">
                      <a:moveTo>
                        <a:pt x="280322" y="272224"/>
                      </a:moveTo>
                      <a:cubicBezTo>
                        <a:pt x="276096" y="274596"/>
                        <a:pt x="270938" y="274596"/>
                        <a:pt x="266712" y="272224"/>
                      </a:cubicBezTo>
                      <a:lnTo>
                        <a:pt x="2498" y="119824"/>
                      </a:lnTo>
                      <a:cubicBezTo>
                        <a:pt x="-833" y="117824"/>
                        <a:pt x="-833" y="114681"/>
                        <a:pt x="2498" y="112776"/>
                      </a:cubicBezTo>
                      <a:lnTo>
                        <a:pt x="197137" y="0"/>
                      </a:lnTo>
                      <a:lnTo>
                        <a:pt x="474199" y="16021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grpSp>
              <p:nvGrpSpPr>
                <p:cNvPr id="220" name="Google Shape;2123;p34">
                  <a:extLst>
                    <a:ext uri="{FF2B5EF4-FFF2-40B4-BE49-F238E27FC236}">
                      <a16:creationId xmlns:a16="http://schemas.microsoft.com/office/drawing/2014/main" id="{A76B900A-5CC5-4021-AA7B-E3A50C6408FA}"/>
                    </a:ext>
                  </a:extLst>
                </p:cNvPr>
                <p:cNvGrpSpPr/>
                <p:nvPr/>
              </p:nvGrpSpPr>
              <p:grpSpPr>
                <a:xfrm>
                  <a:off x="4457040" y="4985575"/>
                  <a:ext cx="133724" cy="77247"/>
                  <a:chOff x="4457040" y="4985575"/>
                  <a:chExt cx="133724" cy="77247"/>
                </a:xfrm>
              </p:grpSpPr>
              <p:sp>
                <p:nvSpPr>
                  <p:cNvPr id="285" name="Google Shape;2124;p34">
                    <a:extLst>
                      <a:ext uri="{FF2B5EF4-FFF2-40B4-BE49-F238E27FC236}">
                        <a16:creationId xmlns:a16="http://schemas.microsoft.com/office/drawing/2014/main" id="{3C9FA56D-F84E-41E4-B459-A21DBE117018}"/>
                      </a:ext>
                    </a:extLst>
                  </p:cNvPr>
                  <p:cNvSpPr/>
                  <p:nvPr/>
                </p:nvSpPr>
                <p:spPr>
                  <a:xfrm>
                    <a:off x="4457040" y="4985575"/>
                    <a:ext cx="133724" cy="7724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724" h="77247" extrusionOk="0">
                        <a:moveTo>
                          <a:pt x="0" y="27622"/>
                        </a:moveTo>
                        <a:lnTo>
                          <a:pt x="1332" y="28384"/>
                        </a:lnTo>
                        <a:lnTo>
                          <a:pt x="85945" y="77248"/>
                        </a:lnTo>
                        <a:lnTo>
                          <a:pt x="132487" y="50387"/>
                        </a:lnTo>
                        <a:lnTo>
                          <a:pt x="133725" y="49625"/>
                        </a:lnTo>
                        <a:lnTo>
                          <a:pt x="47779" y="0"/>
                        </a:lnTo>
                        <a:lnTo>
                          <a:pt x="0" y="27622"/>
                        </a:lnTo>
                        <a:close/>
                      </a:path>
                    </a:pathLst>
                  </a:custGeom>
                  <a:solidFill>
                    <a:srgbClr val="BFBFB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86" name="Google Shape;2125;p34">
                    <a:extLst>
                      <a:ext uri="{FF2B5EF4-FFF2-40B4-BE49-F238E27FC236}">
                        <a16:creationId xmlns:a16="http://schemas.microsoft.com/office/drawing/2014/main" id="{CD34D5FE-3735-499C-A9C5-092F17EF4593}"/>
                      </a:ext>
                    </a:extLst>
                  </p:cNvPr>
                  <p:cNvSpPr/>
                  <p:nvPr/>
                </p:nvSpPr>
                <p:spPr>
                  <a:xfrm>
                    <a:off x="4458372" y="4987099"/>
                    <a:ext cx="131154" cy="757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1154" h="75723" extrusionOk="0">
                        <a:moveTo>
                          <a:pt x="0" y="26861"/>
                        </a:moveTo>
                        <a:lnTo>
                          <a:pt x="84613" y="75724"/>
                        </a:lnTo>
                        <a:lnTo>
                          <a:pt x="131155" y="48863"/>
                        </a:lnTo>
                        <a:lnTo>
                          <a:pt x="46447" y="0"/>
                        </a:lnTo>
                        <a:lnTo>
                          <a:pt x="0" y="26861"/>
                        </a:ln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221" name="Google Shape;2126;p34">
                  <a:extLst>
                    <a:ext uri="{FF2B5EF4-FFF2-40B4-BE49-F238E27FC236}">
                      <a16:creationId xmlns:a16="http://schemas.microsoft.com/office/drawing/2014/main" id="{E10A4B81-E2E4-479A-A645-7D59B5697E6E}"/>
                    </a:ext>
                  </a:extLst>
                </p:cNvPr>
                <p:cNvSpPr/>
                <p:nvPr/>
              </p:nvSpPr>
              <p:spPr>
                <a:xfrm>
                  <a:off x="4747605" y="5011693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85" y="17069"/>
                        <a:pt x="15630" y="17069"/>
                        <a:pt x="16859" y="16459"/>
                      </a:cubicBezTo>
                      <a:lnTo>
                        <a:pt x="28470" y="9696"/>
                      </a:lnTo>
                      <a:cubicBezTo>
                        <a:pt x="29613" y="9030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2" name="Google Shape;2127;p34">
                  <a:extLst>
                    <a:ext uri="{FF2B5EF4-FFF2-40B4-BE49-F238E27FC236}">
                      <a16:creationId xmlns:a16="http://schemas.microsoft.com/office/drawing/2014/main" id="{562BFB56-DD6C-4D1F-83FC-52D9929537FA}"/>
                    </a:ext>
                  </a:extLst>
                </p:cNvPr>
                <p:cNvSpPr/>
                <p:nvPr/>
              </p:nvSpPr>
              <p:spPr>
                <a:xfrm>
                  <a:off x="4730414" y="5001691"/>
                  <a:ext cx="2930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03" h="16916" extrusionOk="0">
                      <a:moveTo>
                        <a:pt x="642" y="9411"/>
                      </a:moveTo>
                      <a:lnTo>
                        <a:pt x="12825" y="16459"/>
                      </a:lnTo>
                      <a:cubicBezTo>
                        <a:pt x="14054" y="17069"/>
                        <a:pt x="15499" y="17069"/>
                        <a:pt x="16727" y="16459"/>
                      </a:cubicBezTo>
                      <a:lnTo>
                        <a:pt x="28339" y="9696"/>
                      </a:lnTo>
                      <a:cubicBezTo>
                        <a:pt x="29576" y="9030"/>
                        <a:pt x="29672" y="8077"/>
                        <a:pt x="28339" y="7506"/>
                      </a:cubicBezTo>
                      <a:lnTo>
                        <a:pt x="16156" y="457"/>
                      </a:lnTo>
                      <a:cubicBezTo>
                        <a:pt x="14928" y="-152"/>
                        <a:pt x="13483" y="-152"/>
                        <a:pt x="12254" y="457"/>
                      </a:cubicBezTo>
                      <a:lnTo>
                        <a:pt x="642" y="7124"/>
                      </a:lnTo>
                      <a:cubicBezTo>
                        <a:pt x="-214" y="7791"/>
                        <a:pt x="-214" y="8458"/>
                        <a:pt x="642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3" name="Google Shape;2128;p34">
                  <a:extLst>
                    <a:ext uri="{FF2B5EF4-FFF2-40B4-BE49-F238E27FC236}">
                      <a16:creationId xmlns:a16="http://schemas.microsoft.com/office/drawing/2014/main" id="{F7D271AF-6949-49D6-AB86-FCB4A19B8E4D}"/>
                    </a:ext>
                  </a:extLst>
                </p:cNvPr>
                <p:cNvSpPr/>
                <p:nvPr/>
              </p:nvSpPr>
              <p:spPr>
                <a:xfrm>
                  <a:off x="4713055" y="4991690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1" y="9792"/>
                      </a:lnTo>
                      <a:cubicBezTo>
                        <a:pt x="29613" y="9125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125"/>
                      </a:lnTo>
                      <a:cubicBezTo>
                        <a:pt x="-178" y="7792"/>
                        <a:pt x="-273" y="8935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4" name="Google Shape;2129;p34">
                  <a:extLst>
                    <a:ext uri="{FF2B5EF4-FFF2-40B4-BE49-F238E27FC236}">
                      <a16:creationId xmlns:a16="http://schemas.microsoft.com/office/drawing/2014/main" id="{5D2D1CAF-1E53-48D5-A1B6-DD6637D8C4AB}"/>
                    </a:ext>
                  </a:extLst>
                </p:cNvPr>
                <p:cNvSpPr/>
                <p:nvPr/>
              </p:nvSpPr>
              <p:spPr>
                <a:xfrm>
                  <a:off x="4695787" y="4981117"/>
                  <a:ext cx="29345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5" h="17487" extrusionOk="0">
                      <a:moveTo>
                        <a:pt x="720" y="9982"/>
                      </a:moveTo>
                      <a:lnTo>
                        <a:pt x="12903" y="17031"/>
                      </a:lnTo>
                      <a:cubicBezTo>
                        <a:pt x="14131" y="17640"/>
                        <a:pt x="15576" y="17640"/>
                        <a:pt x="16805" y="17031"/>
                      </a:cubicBezTo>
                      <a:lnTo>
                        <a:pt x="28417" y="10363"/>
                      </a:lnTo>
                      <a:cubicBezTo>
                        <a:pt x="29559" y="9696"/>
                        <a:pt x="29749" y="8649"/>
                        <a:pt x="28417" y="8077"/>
                      </a:cubicBezTo>
                      <a:lnTo>
                        <a:pt x="16519" y="457"/>
                      </a:lnTo>
                      <a:cubicBezTo>
                        <a:pt x="15291" y="-152"/>
                        <a:pt x="13846" y="-152"/>
                        <a:pt x="12617" y="457"/>
                      </a:cubicBezTo>
                      <a:lnTo>
                        <a:pt x="1005" y="7125"/>
                      </a:lnTo>
                      <a:cubicBezTo>
                        <a:pt x="-232" y="8363"/>
                        <a:pt x="-327" y="9411"/>
                        <a:pt x="720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5" name="Google Shape;2130;p34">
                  <a:extLst>
                    <a:ext uri="{FF2B5EF4-FFF2-40B4-BE49-F238E27FC236}">
                      <a16:creationId xmlns:a16="http://schemas.microsoft.com/office/drawing/2014/main" id="{796F2423-E486-458E-BFF8-18A1AC4F890F}"/>
                    </a:ext>
                  </a:extLst>
                </p:cNvPr>
                <p:cNvSpPr/>
                <p:nvPr/>
              </p:nvSpPr>
              <p:spPr>
                <a:xfrm>
                  <a:off x="4678497" y="4971592"/>
                  <a:ext cx="29372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2" h="17487" extrusionOk="0">
                      <a:moveTo>
                        <a:pt x="688" y="9982"/>
                      </a:moveTo>
                      <a:lnTo>
                        <a:pt x="12871" y="17031"/>
                      </a:lnTo>
                      <a:cubicBezTo>
                        <a:pt x="14099" y="17640"/>
                        <a:pt x="15544" y="17640"/>
                        <a:pt x="16773" y="17031"/>
                      </a:cubicBezTo>
                      <a:lnTo>
                        <a:pt x="28480" y="10268"/>
                      </a:lnTo>
                      <a:cubicBezTo>
                        <a:pt x="29622" y="9601"/>
                        <a:pt x="29717" y="8553"/>
                        <a:pt x="28480" y="7982"/>
                      </a:cubicBezTo>
                      <a:lnTo>
                        <a:pt x="16487" y="457"/>
                      </a:lnTo>
                      <a:cubicBezTo>
                        <a:pt x="15259" y="-152"/>
                        <a:pt x="13814" y="-152"/>
                        <a:pt x="12585" y="457"/>
                      </a:cubicBezTo>
                      <a:lnTo>
                        <a:pt x="973" y="7220"/>
                      </a:lnTo>
                      <a:cubicBezTo>
                        <a:pt x="-169" y="7982"/>
                        <a:pt x="-359" y="8935"/>
                        <a:pt x="688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6" name="Google Shape;2131;p34">
                  <a:extLst>
                    <a:ext uri="{FF2B5EF4-FFF2-40B4-BE49-F238E27FC236}">
                      <a16:creationId xmlns:a16="http://schemas.microsoft.com/office/drawing/2014/main" id="{55558CEC-933B-4574-83ED-FBD341DF66AE}"/>
                    </a:ext>
                  </a:extLst>
                </p:cNvPr>
                <p:cNvSpPr/>
                <p:nvPr/>
              </p:nvSpPr>
              <p:spPr>
                <a:xfrm>
                  <a:off x="4661184" y="4961591"/>
                  <a:ext cx="2936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7011" extrusionOk="0">
                      <a:moveTo>
                        <a:pt x="679" y="9506"/>
                      </a:moveTo>
                      <a:lnTo>
                        <a:pt x="12957" y="16555"/>
                      </a:lnTo>
                      <a:cubicBezTo>
                        <a:pt x="14152" y="17164"/>
                        <a:pt x="15568" y="17164"/>
                        <a:pt x="16764" y="16555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934"/>
                        <a:pt x="679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7" name="Google Shape;2132;p34">
                  <a:extLst>
                    <a:ext uri="{FF2B5EF4-FFF2-40B4-BE49-F238E27FC236}">
                      <a16:creationId xmlns:a16="http://schemas.microsoft.com/office/drawing/2014/main" id="{A9C5B39D-064E-49FE-B6D6-4364DA2F535C}"/>
                    </a:ext>
                  </a:extLst>
                </p:cNvPr>
                <p:cNvSpPr/>
                <p:nvPr/>
              </p:nvSpPr>
              <p:spPr>
                <a:xfrm>
                  <a:off x="4643896" y="4951685"/>
                  <a:ext cx="29270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70" h="17011" extrusionOk="0">
                      <a:moveTo>
                        <a:pt x="644" y="9411"/>
                      </a:moveTo>
                      <a:lnTo>
                        <a:pt x="12827" y="16554"/>
                      </a:lnTo>
                      <a:cubicBezTo>
                        <a:pt x="14056" y="17164"/>
                        <a:pt x="15501" y="17164"/>
                        <a:pt x="16729" y="16554"/>
                      </a:cubicBezTo>
                      <a:lnTo>
                        <a:pt x="28341" y="9792"/>
                      </a:lnTo>
                      <a:cubicBezTo>
                        <a:pt x="29483" y="9125"/>
                        <a:pt x="29674" y="8172"/>
                        <a:pt x="28341" y="7601"/>
                      </a:cubicBezTo>
                      <a:lnTo>
                        <a:pt x="16158" y="457"/>
                      </a:lnTo>
                      <a:cubicBezTo>
                        <a:pt x="14930" y="-152"/>
                        <a:pt x="13485" y="-152"/>
                        <a:pt x="12256" y="457"/>
                      </a:cubicBezTo>
                      <a:lnTo>
                        <a:pt x="644" y="7220"/>
                      </a:lnTo>
                      <a:cubicBezTo>
                        <a:pt x="-117" y="7887"/>
                        <a:pt x="-307" y="8839"/>
                        <a:pt x="644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8" name="Google Shape;2133;p34">
                  <a:extLst>
                    <a:ext uri="{FF2B5EF4-FFF2-40B4-BE49-F238E27FC236}">
                      <a16:creationId xmlns:a16="http://schemas.microsoft.com/office/drawing/2014/main" id="{3B8262F0-EE72-4182-83D1-3E2E332BDC77}"/>
                    </a:ext>
                  </a:extLst>
                </p:cNvPr>
                <p:cNvSpPr/>
                <p:nvPr/>
              </p:nvSpPr>
              <p:spPr>
                <a:xfrm>
                  <a:off x="4626634" y="494177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9" name="Google Shape;2134;p34">
                  <a:extLst>
                    <a:ext uri="{FF2B5EF4-FFF2-40B4-BE49-F238E27FC236}">
                      <a16:creationId xmlns:a16="http://schemas.microsoft.com/office/drawing/2014/main" id="{7BC3480A-FE48-4CBD-9A2F-F6FC498BCA32}"/>
                    </a:ext>
                  </a:extLst>
                </p:cNvPr>
                <p:cNvSpPr/>
                <p:nvPr/>
              </p:nvSpPr>
              <p:spPr>
                <a:xfrm>
                  <a:off x="4609300" y="4931587"/>
                  <a:ext cx="2937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4" h="17106" extrusionOk="0">
                      <a:moveTo>
                        <a:pt x="690" y="9601"/>
                      </a:moveTo>
                      <a:lnTo>
                        <a:pt x="12968" y="16650"/>
                      </a:lnTo>
                      <a:cubicBezTo>
                        <a:pt x="14197" y="17259"/>
                        <a:pt x="15642" y="17259"/>
                        <a:pt x="16870" y="16650"/>
                      </a:cubicBezTo>
                      <a:lnTo>
                        <a:pt x="28482" y="9887"/>
                      </a:lnTo>
                      <a:cubicBezTo>
                        <a:pt x="29624" y="9220"/>
                        <a:pt x="29719" y="8268"/>
                        <a:pt x="28482" y="7696"/>
                      </a:cubicBezTo>
                      <a:lnTo>
                        <a:pt x="16204" y="457"/>
                      </a:lnTo>
                      <a:cubicBezTo>
                        <a:pt x="14975" y="-152"/>
                        <a:pt x="13530" y="-152"/>
                        <a:pt x="12302" y="457"/>
                      </a:cubicBezTo>
                      <a:lnTo>
                        <a:pt x="595" y="7220"/>
                      </a:lnTo>
                      <a:cubicBezTo>
                        <a:pt x="-167" y="7982"/>
                        <a:pt x="-262" y="9030"/>
                        <a:pt x="69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0" name="Google Shape;2135;p34">
                  <a:extLst>
                    <a:ext uri="{FF2B5EF4-FFF2-40B4-BE49-F238E27FC236}">
                      <a16:creationId xmlns:a16="http://schemas.microsoft.com/office/drawing/2014/main" id="{3DADE979-F75E-4BA5-AF39-BFBE7A22C3D8}"/>
                    </a:ext>
                  </a:extLst>
                </p:cNvPr>
                <p:cNvSpPr/>
                <p:nvPr/>
              </p:nvSpPr>
              <p:spPr>
                <a:xfrm>
                  <a:off x="4592048" y="4921776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79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1" name="Google Shape;2136;p34">
                  <a:extLst>
                    <a:ext uri="{FF2B5EF4-FFF2-40B4-BE49-F238E27FC236}">
                      <a16:creationId xmlns:a16="http://schemas.microsoft.com/office/drawing/2014/main" id="{CC457613-0F70-4BAC-BC40-03C31E058E98}"/>
                    </a:ext>
                  </a:extLst>
                </p:cNvPr>
                <p:cNvSpPr/>
                <p:nvPr/>
              </p:nvSpPr>
              <p:spPr>
                <a:xfrm>
                  <a:off x="4574762" y="4911775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125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2" name="Google Shape;2137;p34">
                  <a:extLst>
                    <a:ext uri="{FF2B5EF4-FFF2-40B4-BE49-F238E27FC236}">
                      <a16:creationId xmlns:a16="http://schemas.microsoft.com/office/drawing/2014/main" id="{113327D5-D6A3-441C-8C84-C029525C958C}"/>
                    </a:ext>
                  </a:extLst>
                </p:cNvPr>
                <p:cNvSpPr/>
                <p:nvPr/>
              </p:nvSpPr>
              <p:spPr>
                <a:xfrm>
                  <a:off x="4557452" y="4901679"/>
                  <a:ext cx="29387" cy="169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6983" extrusionOk="0">
                      <a:moveTo>
                        <a:pt x="761" y="9506"/>
                      </a:moveTo>
                      <a:lnTo>
                        <a:pt x="12944" y="16554"/>
                      </a:lnTo>
                      <a:cubicBezTo>
                        <a:pt x="14182" y="17126"/>
                        <a:pt x="15608" y="17126"/>
                        <a:pt x="16846" y="16554"/>
                      </a:cubicBezTo>
                      <a:lnTo>
                        <a:pt x="28458" y="9792"/>
                      </a:lnTo>
                      <a:cubicBezTo>
                        <a:pt x="29600" y="9125"/>
                        <a:pt x="29791" y="8077"/>
                        <a:pt x="28458" y="7506"/>
                      </a:cubicBezTo>
                      <a:lnTo>
                        <a:pt x="16275" y="457"/>
                      </a:lnTo>
                      <a:cubicBezTo>
                        <a:pt x="15047" y="-152"/>
                        <a:pt x="13602" y="-152"/>
                        <a:pt x="12373" y="457"/>
                      </a:cubicBezTo>
                      <a:lnTo>
                        <a:pt x="666" y="7220"/>
                      </a:lnTo>
                      <a:cubicBezTo>
                        <a:pt x="-190" y="7982"/>
                        <a:pt x="-286" y="8934"/>
                        <a:pt x="761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3" name="Google Shape;2138;p34">
                  <a:extLst>
                    <a:ext uri="{FF2B5EF4-FFF2-40B4-BE49-F238E27FC236}">
                      <a16:creationId xmlns:a16="http://schemas.microsoft.com/office/drawing/2014/main" id="{5F060489-994D-40F7-847E-D97754A2ABB9}"/>
                    </a:ext>
                  </a:extLst>
                </p:cNvPr>
                <p:cNvSpPr/>
                <p:nvPr/>
              </p:nvSpPr>
              <p:spPr>
                <a:xfrm>
                  <a:off x="4540118" y="4891677"/>
                  <a:ext cx="29458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458" h="17011" extrusionOk="0">
                      <a:moveTo>
                        <a:pt x="774" y="9506"/>
                      </a:moveTo>
                      <a:lnTo>
                        <a:pt x="12956" y="16554"/>
                      </a:lnTo>
                      <a:cubicBezTo>
                        <a:pt x="14185" y="17164"/>
                        <a:pt x="15630" y="17164"/>
                        <a:pt x="16859" y="16554"/>
                      </a:cubicBezTo>
                      <a:lnTo>
                        <a:pt x="28566" y="9792"/>
                      </a:lnTo>
                      <a:cubicBezTo>
                        <a:pt x="29708" y="9125"/>
                        <a:pt x="29803" y="8077"/>
                        <a:pt x="28566" y="7506"/>
                      </a:cubicBezTo>
                      <a:lnTo>
                        <a:pt x="16383" y="457"/>
                      </a:lnTo>
                      <a:cubicBezTo>
                        <a:pt x="15154" y="-152"/>
                        <a:pt x="13709" y="-152"/>
                        <a:pt x="12481" y="457"/>
                      </a:cubicBezTo>
                      <a:lnTo>
                        <a:pt x="869" y="7220"/>
                      </a:lnTo>
                      <a:cubicBezTo>
                        <a:pt x="-273" y="7982"/>
                        <a:pt x="-273" y="8935"/>
                        <a:pt x="774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4" name="Google Shape;2139;p34">
                  <a:extLst>
                    <a:ext uri="{FF2B5EF4-FFF2-40B4-BE49-F238E27FC236}">
                      <a16:creationId xmlns:a16="http://schemas.microsoft.com/office/drawing/2014/main" id="{72445FB3-8E01-45FB-B481-6DF75CD042EB}"/>
                    </a:ext>
                  </a:extLst>
                </p:cNvPr>
                <p:cNvSpPr/>
                <p:nvPr/>
              </p:nvSpPr>
              <p:spPr>
                <a:xfrm>
                  <a:off x="4514573" y="4876818"/>
                  <a:ext cx="37680" cy="218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80" h="21809" extrusionOk="0">
                      <a:moveTo>
                        <a:pt x="716" y="9506"/>
                      </a:moveTo>
                      <a:lnTo>
                        <a:pt x="21274" y="21317"/>
                      </a:lnTo>
                      <a:cubicBezTo>
                        <a:pt x="22457" y="21974"/>
                        <a:pt x="23898" y="21974"/>
                        <a:pt x="25081" y="21317"/>
                      </a:cubicBezTo>
                      <a:lnTo>
                        <a:pt x="36788" y="14554"/>
                      </a:lnTo>
                      <a:cubicBezTo>
                        <a:pt x="37930" y="13887"/>
                        <a:pt x="38025" y="12935"/>
                        <a:pt x="36788" y="12363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982"/>
                        <a:pt x="-331" y="9506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5" name="Google Shape;2140;p34">
                  <a:extLst>
                    <a:ext uri="{FF2B5EF4-FFF2-40B4-BE49-F238E27FC236}">
                      <a16:creationId xmlns:a16="http://schemas.microsoft.com/office/drawing/2014/main" id="{C20512BA-8AA0-49E9-89C1-8B93AAE4A97F}"/>
                    </a:ext>
                  </a:extLst>
                </p:cNvPr>
                <p:cNvSpPr/>
                <p:nvPr/>
              </p:nvSpPr>
              <p:spPr>
                <a:xfrm>
                  <a:off x="4705251" y="500654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7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6" name="Google Shape;2141;p34">
                  <a:extLst>
                    <a:ext uri="{FF2B5EF4-FFF2-40B4-BE49-F238E27FC236}">
                      <a16:creationId xmlns:a16="http://schemas.microsoft.com/office/drawing/2014/main" id="{D3BB136D-87EC-4DFF-AF6A-C6D2329E2C7A}"/>
                    </a:ext>
                  </a:extLst>
                </p:cNvPr>
                <p:cNvSpPr/>
                <p:nvPr/>
              </p:nvSpPr>
              <p:spPr>
                <a:xfrm>
                  <a:off x="4687929" y="4996548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7" name="Google Shape;2142;p34">
                  <a:extLst>
                    <a:ext uri="{FF2B5EF4-FFF2-40B4-BE49-F238E27FC236}">
                      <a16:creationId xmlns:a16="http://schemas.microsoft.com/office/drawing/2014/main" id="{554465A5-5265-43CE-B856-B925EF31F365}"/>
                    </a:ext>
                  </a:extLst>
                </p:cNvPr>
                <p:cNvSpPr/>
                <p:nvPr/>
              </p:nvSpPr>
              <p:spPr>
                <a:xfrm>
                  <a:off x="4670606" y="4986547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8" name="Google Shape;2143;p34">
                  <a:extLst>
                    <a:ext uri="{FF2B5EF4-FFF2-40B4-BE49-F238E27FC236}">
                      <a16:creationId xmlns:a16="http://schemas.microsoft.com/office/drawing/2014/main" id="{C12B952F-4065-49C1-B70E-AFB87A8001AB}"/>
                    </a:ext>
                  </a:extLst>
                </p:cNvPr>
                <p:cNvSpPr/>
                <p:nvPr/>
              </p:nvSpPr>
              <p:spPr>
                <a:xfrm>
                  <a:off x="4653308" y="4976545"/>
                  <a:ext cx="29434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434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542" y="9696"/>
                      </a:lnTo>
                      <a:cubicBezTo>
                        <a:pt x="29684" y="9030"/>
                        <a:pt x="29779" y="8077"/>
                        <a:pt x="28542" y="7506"/>
                      </a:cubicBezTo>
                      <a:lnTo>
                        <a:pt x="16264" y="457"/>
                      </a:lnTo>
                      <a:cubicBezTo>
                        <a:pt x="15068" y="-152"/>
                        <a:pt x="13652" y="-152"/>
                        <a:pt x="12457" y="457"/>
                      </a:cubicBezTo>
                      <a:lnTo>
                        <a:pt x="750" y="7220"/>
                      </a:lnTo>
                      <a:cubicBezTo>
                        <a:pt x="-202" y="7792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9" name="Google Shape;2144;p34">
                  <a:extLst>
                    <a:ext uri="{FF2B5EF4-FFF2-40B4-BE49-F238E27FC236}">
                      <a16:creationId xmlns:a16="http://schemas.microsoft.com/office/drawing/2014/main" id="{D22ED611-C8BE-4F76-BE89-924348EFBA0A}"/>
                    </a:ext>
                  </a:extLst>
                </p:cNvPr>
                <p:cNvSpPr/>
                <p:nvPr/>
              </p:nvSpPr>
              <p:spPr>
                <a:xfrm>
                  <a:off x="4636115" y="4966449"/>
                  <a:ext cx="29341" cy="170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47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16" y="17212"/>
                        <a:pt x="15583" y="17212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172"/>
                        <a:pt x="28412" y="7601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0" name="Google Shape;2145;p34">
                  <a:extLst>
                    <a:ext uri="{FF2B5EF4-FFF2-40B4-BE49-F238E27FC236}">
                      <a16:creationId xmlns:a16="http://schemas.microsoft.com/office/drawing/2014/main" id="{C0B785C9-F928-4909-BD2A-37B6F47730A8}"/>
                    </a:ext>
                  </a:extLst>
                </p:cNvPr>
                <p:cNvSpPr/>
                <p:nvPr/>
              </p:nvSpPr>
              <p:spPr>
                <a:xfrm>
                  <a:off x="4618793" y="4956352"/>
                  <a:ext cx="29341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106" extrusionOk="0">
                      <a:moveTo>
                        <a:pt x="716" y="9601"/>
                      </a:moveTo>
                      <a:lnTo>
                        <a:pt x="12898" y="16650"/>
                      </a:lnTo>
                      <a:cubicBezTo>
                        <a:pt x="14127" y="17259"/>
                        <a:pt x="15572" y="17259"/>
                        <a:pt x="16801" y="16650"/>
                      </a:cubicBezTo>
                      <a:lnTo>
                        <a:pt x="28412" y="9887"/>
                      </a:lnTo>
                      <a:cubicBezTo>
                        <a:pt x="29554" y="9220"/>
                        <a:pt x="29745" y="8268"/>
                        <a:pt x="28412" y="7601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8077"/>
                        <a:pt x="-331" y="9030"/>
                        <a:pt x="716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1" name="Google Shape;2146;p34">
                  <a:extLst>
                    <a:ext uri="{FF2B5EF4-FFF2-40B4-BE49-F238E27FC236}">
                      <a16:creationId xmlns:a16="http://schemas.microsoft.com/office/drawing/2014/main" id="{02425D9D-4055-4C54-ACFD-CA46E37CA4F8}"/>
                    </a:ext>
                  </a:extLst>
                </p:cNvPr>
                <p:cNvSpPr/>
                <p:nvPr/>
              </p:nvSpPr>
              <p:spPr>
                <a:xfrm>
                  <a:off x="4601470" y="4946446"/>
                  <a:ext cx="293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11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27" y="17164"/>
                        <a:pt x="15572" y="17164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2" name="Google Shape;2147;p34">
                  <a:extLst>
                    <a:ext uri="{FF2B5EF4-FFF2-40B4-BE49-F238E27FC236}">
                      <a16:creationId xmlns:a16="http://schemas.microsoft.com/office/drawing/2014/main" id="{C25AEAB6-01D6-4ECD-BA70-743F28929A96}"/>
                    </a:ext>
                  </a:extLst>
                </p:cNvPr>
                <p:cNvSpPr/>
                <p:nvPr/>
              </p:nvSpPr>
              <p:spPr>
                <a:xfrm>
                  <a:off x="4584137" y="4936445"/>
                  <a:ext cx="2929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91" h="17011" extrusionOk="0">
                      <a:moveTo>
                        <a:pt x="726" y="9506"/>
                      </a:moveTo>
                      <a:lnTo>
                        <a:pt x="12814" y="16554"/>
                      </a:lnTo>
                      <a:cubicBezTo>
                        <a:pt x="14043" y="17164"/>
                        <a:pt x="15487" y="17164"/>
                        <a:pt x="16716" y="16554"/>
                      </a:cubicBezTo>
                      <a:lnTo>
                        <a:pt x="28328" y="9792"/>
                      </a:lnTo>
                      <a:cubicBezTo>
                        <a:pt x="29565" y="9125"/>
                        <a:pt x="29660" y="8077"/>
                        <a:pt x="28328" y="7506"/>
                      </a:cubicBezTo>
                      <a:lnTo>
                        <a:pt x="16145" y="457"/>
                      </a:lnTo>
                      <a:cubicBezTo>
                        <a:pt x="14916" y="-152"/>
                        <a:pt x="13471" y="-152"/>
                        <a:pt x="12243" y="457"/>
                      </a:cubicBezTo>
                      <a:lnTo>
                        <a:pt x="631" y="7220"/>
                      </a:lnTo>
                      <a:cubicBezTo>
                        <a:pt x="-130" y="7982"/>
                        <a:pt x="-321" y="8935"/>
                        <a:pt x="72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3" name="Google Shape;2148;p34">
                  <a:extLst>
                    <a:ext uri="{FF2B5EF4-FFF2-40B4-BE49-F238E27FC236}">
                      <a16:creationId xmlns:a16="http://schemas.microsoft.com/office/drawing/2014/main" id="{9F1E8840-6E7F-413B-B615-70FC4CCFAA20}"/>
                    </a:ext>
                  </a:extLst>
                </p:cNvPr>
                <p:cNvSpPr/>
                <p:nvPr/>
              </p:nvSpPr>
              <p:spPr>
                <a:xfrm>
                  <a:off x="4566835" y="4926444"/>
                  <a:ext cx="29390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90" h="17011" extrusionOk="0">
                      <a:moveTo>
                        <a:pt x="706" y="9506"/>
                      </a:moveTo>
                      <a:lnTo>
                        <a:pt x="12888" y="16554"/>
                      </a:lnTo>
                      <a:cubicBezTo>
                        <a:pt x="14117" y="17164"/>
                        <a:pt x="15562" y="17164"/>
                        <a:pt x="16791" y="16554"/>
                      </a:cubicBezTo>
                      <a:lnTo>
                        <a:pt x="28498" y="9791"/>
                      </a:lnTo>
                      <a:cubicBezTo>
                        <a:pt x="29640" y="9125"/>
                        <a:pt x="29735" y="8077"/>
                        <a:pt x="28498" y="7506"/>
                      </a:cubicBezTo>
                      <a:lnTo>
                        <a:pt x="16315" y="457"/>
                      </a:lnTo>
                      <a:cubicBezTo>
                        <a:pt x="15086" y="-152"/>
                        <a:pt x="13641" y="-152"/>
                        <a:pt x="12413" y="457"/>
                      </a:cubicBezTo>
                      <a:lnTo>
                        <a:pt x="801" y="7220"/>
                      </a:lnTo>
                      <a:cubicBezTo>
                        <a:pt x="-151" y="7982"/>
                        <a:pt x="-341" y="8934"/>
                        <a:pt x="70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4" name="Google Shape;2149;p34">
                  <a:extLst>
                    <a:ext uri="{FF2B5EF4-FFF2-40B4-BE49-F238E27FC236}">
                      <a16:creationId xmlns:a16="http://schemas.microsoft.com/office/drawing/2014/main" id="{F222D0C1-5E18-4F5A-A249-2DA78477E57C}"/>
                    </a:ext>
                  </a:extLst>
                </p:cNvPr>
                <p:cNvSpPr/>
                <p:nvPr/>
              </p:nvSpPr>
              <p:spPr>
                <a:xfrm>
                  <a:off x="4549576" y="4916443"/>
                  <a:ext cx="29326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26" h="17011" extrusionOk="0">
                      <a:moveTo>
                        <a:pt x="642" y="9506"/>
                      </a:moveTo>
                      <a:lnTo>
                        <a:pt x="12825" y="16554"/>
                      </a:lnTo>
                      <a:cubicBezTo>
                        <a:pt x="14054" y="17164"/>
                        <a:pt x="15499" y="17164"/>
                        <a:pt x="16727" y="16554"/>
                      </a:cubicBezTo>
                      <a:lnTo>
                        <a:pt x="28434" y="9792"/>
                      </a:lnTo>
                      <a:cubicBezTo>
                        <a:pt x="29576" y="9125"/>
                        <a:pt x="29672" y="8077"/>
                        <a:pt x="28434" y="7506"/>
                      </a:cubicBezTo>
                      <a:lnTo>
                        <a:pt x="16156" y="457"/>
                      </a:lnTo>
                      <a:cubicBezTo>
                        <a:pt x="14928" y="-152"/>
                        <a:pt x="13483" y="-152"/>
                        <a:pt x="12254" y="457"/>
                      </a:cubicBezTo>
                      <a:lnTo>
                        <a:pt x="642" y="7220"/>
                      </a:lnTo>
                      <a:cubicBezTo>
                        <a:pt x="-214" y="7982"/>
                        <a:pt x="-214" y="8935"/>
                        <a:pt x="642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5" name="Google Shape;2150;p34">
                  <a:extLst>
                    <a:ext uri="{FF2B5EF4-FFF2-40B4-BE49-F238E27FC236}">
                      <a16:creationId xmlns:a16="http://schemas.microsoft.com/office/drawing/2014/main" id="{05762D0C-BA62-48B2-9D10-72420A1B2130}"/>
                    </a:ext>
                  </a:extLst>
                </p:cNvPr>
                <p:cNvSpPr/>
                <p:nvPr/>
              </p:nvSpPr>
              <p:spPr>
                <a:xfrm>
                  <a:off x="4532218" y="4906536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8363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6" name="Google Shape;2151;p34">
                  <a:extLst>
                    <a:ext uri="{FF2B5EF4-FFF2-40B4-BE49-F238E27FC236}">
                      <a16:creationId xmlns:a16="http://schemas.microsoft.com/office/drawing/2014/main" id="{CDF073E6-7FFB-4399-9067-5A02827921F4}"/>
                    </a:ext>
                  </a:extLst>
                </p:cNvPr>
                <p:cNvSpPr/>
                <p:nvPr/>
              </p:nvSpPr>
              <p:spPr>
                <a:xfrm>
                  <a:off x="4514896" y="4896535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125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7" name="Google Shape;2152;p34">
                  <a:extLst>
                    <a:ext uri="{FF2B5EF4-FFF2-40B4-BE49-F238E27FC236}">
                      <a16:creationId xmlns:a16="http://schemas.microsoft.com/office/drawing/2014/main" id="{A2909AD4-F4BC-4524-B046-0636AA1E4893}"/>
                    </a:ext>
                  </a:extLst>
                </p:cNvPr>
                <p:cNvSpPr/>
                <p:nvPr/>
              </p:nvSpPr>
              <p:spPr>
                <a:xfrm>
                  <a:off x="4722536" y="5016484"/>
                  <a:ext cx="37680" cy="21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80" h="21745" extrusionOk="0">
                      <a:moveTo>
                        <a:pt x="716" y="9477"/>
                      </a:moveTo>
                      <a:lnTo>
                        <a:pt x="21274" y="21288"/>
                      </a:lnTo>
                      <a:cubicBezTo>
                        <a:pt x="22503" y="21898"/>
                        <a:pt x="23948" y="21898"/>
                        <a:pt x="25176" y="21288"/>
                      </a:cubicBezTo>
                      <a:lnTo>
                        <a:pt x="36788" y="14526"/>
                      </a:lnTo>
                      <a:cubicBezTo>
                        <a:pt x="37930" y="13859"/>
                        <a:pt x="38025" y="12811"/>
                        <a:pt x="36788" y="12240"/>
                      </a:cubicBezTo>
                      <a:lnTo>
                        <a:pt x="16230" y="429"/>
                      </a:lnTo>
                      <a:cubicBezTo>
                        <a:pt x="14991" y="-143"/>
                        <a:pt x="13566" y="-143"/>
                        <a:pt x="12327" y="429"/>
                      </a:cubicBezTo>
                      <a:lnTo>
                        <a:pt x="716" y="7192"/>
                      </a:lnTo>
                      <a:cubicBezTo>
                        <a:pt x="-141" y="7858"/>
                        <a:pt x="-331" y="8906"/>
                        <a:pt x="716" y="9477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8" name="Google Shape;2153;p34">
                  <a:extLst>
                    <a:ext uri="{FF2B5EF4-FFF2-40B4-BE49-F238E27FC236}">
                      <a16:creationId xmlns:a16="http://schemas.microsoft.com/office/drawing/2014/main" id="{30E12347-D80E-45A3-93E8-7DE22A43EF0D}"/>
                    </a:ext>
                  </a:extLst>
                </p:cNvPr>
                <p:cNvSpPr/>
                <p:nvPr/>
              </p:nvSpPr>
              <p:spPr>
                <a:xfrm>
                  <a:off x="4481005" y="4886460"/>
                  <a:ext cx="46109" cy="241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109" h="24112" extrusionOk="0">
                      <a:moveTo>
                        <a:pt x="33141" y="436"/>
                      </a:moveTo>
                      <a:lnTo>
                        <a:pt x="45324" y="7484"/>
                      </a:lnTo>
                      <a:cubicBezTo>
                        <a:pt x="46371" y="8056"/>
                        <a:pt x="46371" y="9008"/>
                        <a:pt x="45324" y="9580"/>
                      </a:cubicBezTo>
                      <a:lnTo>
                        <a:pt x="33046" y="16723"/>
                      </a:lnTo>
                      <a:cubicBezTo>
                        <a:pt x="31910" y="17305"/>
                        <a:pt x="30566" y="17305"/>
                        <a:pt x="29429" y="16723"/>
                      </a:cubicBezTo>
                      <a:lnTo>
                        <a:pt x="28478" y="16152"/>
                      </a:lnTo>
                      <a:cubicBezTo>
                        <a:pt x="27408" y="15581"/>
                        <a:pt x="26121" y="15581"/>
                        <a:pt x="25051" y="16152"/>
                      </a:cubicBezTo>
                      <a:lnTo>
                        <a:pt x="12107" y="23677"/>
                      </a:lnTo>
                      <a:cubicBezTo>
                        <a:pt x="10971" y="24258"/>
                        <a:pt x="9627" y="24258"/>
                        <a:pt x="8490" y="23677"/>
                      </a:cubicBezTo>
                      <a:lnTo>
                        <a:pt x="686" y="19200"/>
                      </a:lnTo>
                      <a:cubicBezTo>
                        <a:pt x="107" y="18952"/>
                        <a:pt x="-157" y="18276"/>
                        <a:pt x="96" y="17695"/>
                      </a:cubicBezTo>
                      <a:cubicBezTo>
                        <a:pt x="211" y="17428"/>
                        <a:pt x="421" y="17219"/>
                        <a:pt x="686" y="17105"/>
                      </a:cubicBezTo>
                      <a:lnTo>
                        <a:pt x="12868" y="10056"/>
                      </a:lnTo>
                      <a:lnTo>
                        <a:pt x="15438" y="8627"/>
                      </a:lnTo>
                      <a:lnTo>
                        <a:pt x="17247" y="7580"/>
                      </a:lnTo>
                      <a:lnTo>
                        <a:pt x="19055" y="6532"/>
                      </a:lnTo>
                      <a:lnTo>
                        <a:pt x="29525" y="436"/>
                      </a:lnTo>
                      <a:cubicBezTo>
                        <a:pt x="30661" y="-145"/>
                        <a:pt x="32005" y="-145"/>
                        <a:pt x="33141" y="43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9" name="Google Shape;2154;p34">
                  <a:extLst>
                    <a:ext uri="{FF2B5EF4-FFF2-40B4-BE49-F238E27FC236}">
                      <a16:creationId xmlns:a16="http://schemas.microsoft.com/office/drawing/2014/main" id="{8866BCEE-311E-42BA-A2C8-5DA0EEFFD60D}"/>
                    </a:ext>
                  </a:extLst>
                </p:cNvPr>
                <p:cNvSpPr/>
                <p:nvPr/>
              </p:nvSpPr>
              <p:spPr>
                <a:xfrm>
                  <a:off x="4680529" y="5050364"/>
                  <a:ext cx="29375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5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696"/>
                      </a:lnTo>
                      <a:cubicBezTo>
                        <a:pt x="29589" y="9030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125"/>
                      </a:lnTo>
                      <a:cubicBezTo>
                        <a:pt x="-202" y="7411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0" name="Google Shape;2155;p34">
                  <a:extLst>
                    <a:ext uri="{FF2B5EF4-FFF2-40B4-BE49-F238E27FC236}">
                      <a16:creationId xmlns:a16="http://schemas.microsoft.com/office/drawing/2014/main" id="{853B364F-35F2-4B7F-8729-8672C37B157F}"/>
                    </a:ext>
                  </a:extLst>
                </p:cNvPr>
                <p:cNvSpPr/>
                <p:nvPr/>
              </p:nvSpPr>
              <p:spPr>
                <a:xfrm>
                  <a:off x="4663322" y="5040268"/>
                  <a:ext cx="28938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938" h="17011" extrusionOk="0">
                      <a:moveTo>
                        <a:pt x="254" y="9506"/>
                      </a:moveTo>
                      <a:lnTo>
                        <a:pt x="12532" y="16554"/>
                      </a:lnTo>
                      <a:cubicBezTo>
                        <a:pt x="13760" y="17164"/>
                        <a:pt x="15205" y="17164"/>
                        <a:pt x="16434" y="16554"/>
                      </a:cubicBezTo>
                      <a:lnTo>
                        <a:pt x="28046" y="9792"/>
                      </a:lnTo>
                      <a:cubicBezTo>
                        <a:pt x="29188" y="9125"/>
                        <a:pt x="29283" y="8077"/>
                        <a:pt x="28046" y="7506"/>
                      </a:cubicBezTo>
                      <a:lnTo>
                        <a:pt x="15863" y="457"/>
                      </a:lnTo>
                      <a:cubicBezTo>
                        <a:pt x="14634" y="-152"/>
                        <a:pt x="13189" y="-152"/>
                        <a:pt x="11961" y="457"/>
                      </a:cubicBezTo>
                      <a:lnTo>
                        <a:pt x="254" y="7220"/>
                      </a:lnTo>
                      <a:cubicBezTo>
                        <a:pt x="254" y="7982"/>
                        <a:pt x="-317" y="8935"/>
                        <a:pt x="254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1" name="Google Shape;2156;p34">
                  <a:extLst>
                    <a:ext uri="{FF2B5EF4-FFF2-40B4-BE49-F238E27FC236}">
                      <a16:creationId xmlns:a16="http://schemas.microsoft.com/office/drawing/2014/main" id="{7F4D9F8B-E055-483B-9573-465320D7668B}"/>
                    </a:ext>
                  </a:extLst>
                </p:cNvPr>
                <p:cNvSpPr/>
                <p:nvPr/>
              </p:nvSpPr>
              <p:spPr>
                <a:xfrm>
                  <a:off x="4646050" y="5030457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8268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2" name="Google Shape;2157;p34">
                  <a:extLst>
                    <a:ext uri="{FF2B5EF4-FFF2-40B4-BE49-F238E27FC236}">
                      <a16:creationId xmlns:a16="http://schemas.microsoft.com/office/drawing/2014/main" id="{B62E8719-5CD0-4E7C-94A0-71261A7E8515}"/>
                    </a:ext>
                  </a:extLst>
                </p:cNvPr>
                <p:cNvSpPr/>
                <p:nvPr/>
              </p:nvSpPr>
              <p:spPr>
                <a:xfrm>
                  <a:off x="4499297" y="4945494"/>
                  <a:ext cx="29352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52" h="17011" extrusionOk="0">
                      <a:moveTo>
                        <a:pt x="668" y="9506"/>
                      </a:moveTo>
                      <a:lnTo>
                        <a:pt x="12851" y="16554"/>
                      </a:lnTo>
                      <a:cubicBezTo>
                        <a:pt x="14080" y="17164"/>
                        <a:pt x="15524" y="17164"/>
                        <a:pt x="16753" y="16554"/>
                      </a:cubicBezTo>
                      <a:lnTo>
                        <a:pt x="28460" y="9791"/>
                      </a:lnTo>
                      <a:cubicBezTo>
                        <a:pt x="29602" y="9125"/>
                        <a:pt x="29697" y="8077"/>
                        <a:pt x="28460" y="7506"/>
                      </a:cubicBezTo>
                      <a:lnTo>
                        <a:pt x="16277" y="457"/>
                      </a:lnTo>
                      <a:cubicBezTo>
                        <a:pt x="15048" y="-152"/>
                        <a:pt x="13604" y="-152"/>
                        <a:pt x="12375" y="457"/>
                      </a:cubicBezTo>
                      <a:lnTo>
                        <a:pt x="763" y="7220"/>
                      </a:lnTo>
                      <a:cubicBezTo>
                        <a:pt x="-189" y="7982"/>
                        <a:pt x="-284" y="8934"/>
                        <a:pt x="668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3" name="Google Shape;2158;p34">
                  <a:extLst>
                    <a:ext uri="{FF2B5EF4-FFF2-40B4-BE49-F238E27FC236}">
                      <a16:creationId xmlns:a16="http://schemas.microsoft.com/office/drawing/2014/main" id="{3234A305-71F7-4B31-86D0-4F3BF3EDF023}"/>
                    </a:ext>
                  </a:extLst>
                </p:cNvPr>
                <p:cNvSpPr/>
                <p:nvPr/>
              </p:nvSpPr>
              <p:spPr>
                <a:xfrm>
                  <a:off x="4482022" y="4935683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697"/>
                      </a:lnTo>
                      <a:cubicBezTo>
                        <a:pt x="29650" y="9030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79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4" name="Google Shape;2159;p34">
                  <a:extLst>
                    <a:ext uri="{FF2B5EF4-FFF2-40B4-BE49-F238E27FC236}">
                      <a16:creationId xmlns:a16="http://schemas.microsoft.com/office/drawing/2014/main" id="{98E71FE1-653D-4542-870D-2BBCFB812B9A}"/>
                    </a:ext>
                  </a:extLst>
                </p:cNvPr>
                <p:cNvSpPr/>
                <p:nvPr/>
              </p:nvSpPr>
              <p:spPr>
                <a:xfrm>
                  <a:off x="4464795" y="4925682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8268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5" name="Google Shape;2160;p34">
                  <a:extLst>
                    <a:ext uri="{FF2B5EF4-FFF2-40B4-BE49-F238E27FC236}">
                      <a16:creationId xmlns:a16="http://schemas.microsoft.com/office/drawing/2014/main" id="{4D813DDB-5C13-4BE3-984C-A9EE6D31D3D4}"/>
                    </a:ext>
                  </a:extLst>
                </p:cNvPr>
                <p:cNvSpPr/>
                <p:nvPr/>
              </p:nvSpPr>
              <p:spPr>
                <a:xfrm>
                  <a:off x="4447522" y="4915490"/>
                  <a:ext cx="29387" cy="172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7202" extrusionOk="0">
                      <a:moveTo>
                        <a:pt x="761" y="9601"/>
                      </a:moveTo>
                      <a:lnTo>
                        <a:pt x="12944" y="16745"/>
                      </a:lnTo>
                      <a:cubicBezTo>
                        <a:pt x="14173" y="17355"/>
                        <a:pt x="15618" y="17355"/>
                        <a:pt x="16846" y="16745"/>
                      </a:cubicBezTo>
                      <a:lnTo>
                        <a:pt x="28458" y="9982"/>
                      </a:lnTo>
                      <a:cubicBezTo>
                        <a:pt x="29600" y="9316"/>
                        <a:pt x="29791" y="8363"/>
                        <a:pt x="28458" y="7792"/>
                      </a:cubicBezTo>
                      <a:lnTo>
                        <a:pt x="16180" y="457"/>
                      </a:lnTo>
                      <a:cubicBezTo>
                        <a:pt x="14951" y="-152"/>
                        <a:pt x="13507" y="-152"/>
                        <a:pt x="12278" y="457"/>
                      </a:cubicBezTo>
                      <a:lnTo>
                        <a:pt x="666" y="7220"/>
                      </a:lnTo>
                      <a:cubicBezTo>
                        <a:pt x="-190" y="8077"/>
                        <a:pt x="-286" y="8935"/>
                        <a:pt x="761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6" name="Google Shape;2161;p34">
                  <a:extLst>
                    <a:ext uri="{FF2B5EF4-FFF2-40B4-BE49-F238E27FC236}">
                      <a16:creationId xmlns:a16="http://schemas.microsoft.com/office/drawing/2014/main" id="{21DA274E-7410-469F-B5AD-47584F83A5B3}"/>
                    </a:ext>
                  </a:extLst>
                </p:cNvPr>
                <p:cNvSpPr/>
                <p:nvPr/>
              </p:nvSpPr>
              <p:spPr>
                <a:xfrm>
                  <a:off x="4624469" y="5017884"/>
                  <a:ext cx="34098" cy="193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098" h="19393" extrusionOk="0">
                      <a:moveTo>
                        <a:pt x="1035" y="9411"/>
                      </a:moveTo>
                      <a:lnTo>
                        <a:pt x="17691" y="18936"/>
                      </a:lnTo>
                      <a:cubicBezTo>
                        <a:pt x="18887" y="19546"/>
                        <a:pt x="20303" y="19546"/>
                        <a:pt x="21499" y="18936"/>
                      </a:cubicBezTo>
                      <a:lnTo>
                        <a:pt x="33205" y="12268"/>
                      </a:lnTo>
                      <a:cubicBezTo>
                        <a:pt x="34348" y="11602"/>
                        <a:pt x="34443" y="10554"/>
                        <a:pt x="33205" y="9982"/>
                      </a:cubicBezTo>
                      <a:lnTo>
                        <a:pt x="16549" y="457"/>
                      </a:lnTo>
                      <a:cubicBezTo>
                        <a:pt x="15321" y="-152"/>
                        <a:pt x="13876" y="-152"/>
                        <a:pt x="12647" y="457"/>
                      </a:cubicBezTo>
                      <a:lnTo>
                        <a:pt x="1035" y="7220"/>
                      </a:lnTo>
                      <a:cubicBezTo>
                        <a:pt x="-297" y="7887"/>
                        <a:pt x="-392" y="8839"/>
                        <a:pt x="1035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7" name="Google Shape;2162;p34">
                  <a:extLst>
                    <a:ext uri="{FF2B5EF4-FFF2-40B4-BE49-F238E27FC236}">
                      <a16:creationId xmlns:a16="http://schemas.microsoft.com/office/drawing/2014/main" id="{E60715FB-ADB6-46F3-A94C-2A160B282CAC}"/>
                    </a:ext>
                  </a:extLst>
                </p:cNvPr>
                <p:cNvSpPr/>
                <p:nvPr/>
              </p:nvSpPr>
              <p:spPr>
                <a:xfrm>
                  <a:off x="4516514" y="4955590"/>
                  <a:ext cx="33778" cy="193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778" h="19392" extrusionOk="0">
                      <a:moveTo>
                        <a:pt x="679" y="9411"/>
                      </a:moveTo>
                      <a:lnTo>
                        <a:pt x="17335" y="18936"/>
                      </a:lnTo>
                      <a:cubicBezTo>
                        <a:pt x="18563" y="19545"/>
                        <a:pt x="20008" y="19545"/>
                        <a:pt x="21237" y="18936"/>
                      </a:cubicBezTo>
                      <a:lnTo>
                        <a:pt x="32849" y="12173"/>
                      </a:lnTo>
                      <a:cubicBezTo>
                        <a:pt x="33991" y="11506"/>
                        <a:pt x="34181" y="10554"/>
                        <a:pt x="32849" y="9982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8" name="Google Shape;2163;p34">
                  <a:extLst>
                    <a:ext uri="{FF2B5EF4-FFF2-40B4-BE49-F238E27FC236}">
                      <a16:creationId xmlns:a16="http://schemas.microsoft.com/office/drawing/2014/main" id="{D85D3B3F-278C-4DBF-8F5E-5B8FA7CC0F97}"/>
                    </a:ext>
                  </a:extLst>
                </p:cNvPr>
                <p:cNvSpPr/>
                <p:nvPr/>
              </p:nvSpPr>
              <p:spPr>
                <a:xfrm>
                  <a:off x="4538177" y="4968068"/>
                  <a:ext cx="98308" cy="568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308" h="56826" extrusionOk="0">
                      <a:moveTo>
                        <a:pt x="716" y="9411"/>
                      </a:moveTo>
                      <a:lnTo>
                        <a:pt x="81902" y="56369"/>
                      </a:lnTo>
                      <a:cubicBezTo>
                        <a:pt x="83131" y="56978"/>
                        <a:pt x="84576" y="56978"/>
                        <a:pt x="85804" y="56369"/>
                      </a:cubicBezTo>
                      <a:lnTo>
                        <a:pt x="97416" y="49606"/>
                      </a:lnTo>
                      <a:cubicBezTo>
                        <a:pt x="98558" y="48939"/>
                        <a:pt x="98653" y="47987"/>
                        <a:pt x="97416" y="47415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887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9" name="Google Shape;2164;p34">
                  <a:extLst>
                    <a:ext uri="{FF2B5EF4-FFF2-40B4-BE49-F238E27FC236}">
                      <a16:creationId xmlns:a16="http://schemas.microsoft.com/office/drawing/2014/main" id="{4F0BFDD1-E1D5-4460-AFD6-7B1074790915}"/>
                    </a:ext>
                  </a:extLst>
                </p:cNvPr>
                <p:cNvSpPr/>
                <p:nvPr/>
              </p:nvSpPr>
              <p:spPr>
                <a:xfrm>
                  <a:off x="4683753" y="5013502"/>
                  <a:ext cx="29387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6916" extrusionOk="0">
                      <a:moveTo>
                        <a:pt x="761" y="9411"/>
                      </a:moveTo>
                      <a:lnTo>
                        <a:pt x="12944" y="16459"/>
                      </a:lnTo>
                      <a:cubicBezTo>
                        <a:pt x="14173" y="17069"/>
                        <a:pt x="15618" y="17069"/>
                        <a:pt x="16846" y="16459"/>
                      </a:cubicBezTo>
                      <a:lnTo>
                        <a:pt x="28458" y="9792"/>
                      </a:lnTo>
                      <a:cubicBezTo>
                        <a:pt x="29600" y="9125"/>
                        <a:pt x="29791" y="8077"/>
                        <a:pt x="28458" y="7506"/>
                      </a:cubicBezTo>
                      <a:lnTo>
                        <a:pt x="16275" y="457"/>
                      </a:lnTo>
                      <a:cubicBezTo>
                        <a:pt x="15047" y="-152"/>
                        <a:pt x="13602" y="-152"/>
                        <a:pt x="12373" y="457"/>
                      </a:cubicBezTo>
                      <a:lnTo>
                        <a:pt x="666" y="7125"/>
                      </a:lnTo>
                      <a:cubicBezTo>
                        <a:pt x="-190" y="7792"/>
                        <a:pt x="-286" y="8839"/>
                        <a:pt x="761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0" name="Google Shape;2165;p34">
                  <a:extLst>
                    <a:ext uri="{FF2B5EF4-FFF2-40B4-BE49-F238E27FC236}">
                      <a16:creationId xmlns:a16="http://schemas.microsoft.com/office/drawing/2014/main" id="{97AAD260-096F-4C6E-8487-670886E34F59}"/>
                    </a:ext>
                  </a:extLst>
                </p:cNvPr>
                <p:cNvSpPr/>
                <p:nvPr/>
              </p:nvSpPr>
              <p:spPr>
                <a:xfrm>
                  <a:off x="4666502" y="5003310"/>
                  <a:ext cx="2937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4" h="17106" extrusionOk="0">
                      <a:moveTo>
                        <a:pt x="690" y="9601"/>
                      </a:moveTo>
                      <a:lnTo>
                        <a:pt x="12873" y="16650"/>
                      </a:lnTo>
                      <a:cubicBezTo>
                        <a:pt x="14102" y="17259"/>
                        <a:pt x="15546" y="17259"/>
                        <a:pt x="16775" y="16650"/>
                      </a:cubicBezTo>
                      <a:lnTo>
                        <a:pt x="28482" y="9982"/>
                      </a:lnTo>
                      <a:cubicBezTo>
                        <a:pt x="29624" y="9316"/>
                        <a:pt x="29719" y="8268"/>
                        <a:pt x="28482" y="7696"/>
                      </a:cubicBezTo>
                      <a:lnTo>
                        <a:pt x="16109" y="457"/>
                      </a:lnTo>
                      <a:cubicBezTo>
                        <a:pt x="14880" y="-152"/>
                        <a:pt x="13435" y="-152"/>
                        <a:pt x="12207" y="457"/>
                      </a:cubicBezTo>
                      <a:lnTo>
                        <a:pt x="595" y="7220"/>
                      </a:lnTo>
                      <a:cubicBezTo>
                        <a:pt x="-167" y="7982"/>
                        <a:pt x="-262" y="9030"/>
                        <a:pt x="69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1" name="Google Shape;2166;p34">
                  <a:extLst>
                    <a:ext uri="{FF2B5EF4-FFF2-40B4-BE49-F238E27FC236}">
                      <a16:creationId xmlns:a16="http://schemas.microsoft.com/office/drawing/2014/main" id="{CF03BAA4-AD2D-4116-A39A-BBD68DE72C78}"/>
                    </a:ext>
                  </a:extLst>
                </p:cNvPr>
                <p:cNvSpPr/>
                <p:nvPr/>
              </p:nvSpPr>
              <p:spPr>
                <a:xfrm>
                  <a:off x="4649277" y="4993405"/>
                  <a:ext cx="2931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13" h="17011" extrusionOk="0">
                      <a:moveTo>
                        <a:pt x="688" y="9506"/>
                      </a:moveTo>
                      <a:lnTo>
                        <a:pt x="12871" y="16554"/>
                      </a:lnTo>
                      <a:cubicBezTo>
                        <a:pt x="14099" y="17164"/>
                        <a:pt x="15544" y="17164"/>
                        <a:pt x="16773" y="16554"/>
                      </a:cubicBezTo>
                      <a:lnTo>
                        <a:pt x="28385" y="9791"/>
                      </a:lnTo>
                      <a:cubicBezTo>
                        <a:pt x="29527" y="9125"/>
                        <a:pt x="29717" y="8077"/>
                        <a:pt x="28385" y="7506"/>
                      </a:cubicBezTo>
                      <a:lnTo>
                        <a:pt x="16202" y="457"/>
                      </a:lnTo>
                      <a:cubicBezTo>
                        <a:pt x="14973" y="-152"/>
                        <a:pt x="13528" y="-152"/>
                        <a:pt x="12299" y="457"/>
                      </a:cubicBezTo>
                      <a:lnTo>
                        <a:pt x="973" y="7220"/>
                      </a:lnTo>
                      <a:cubicBezTo>
                        <a:pt x="-169" y="7982"/>
                        <a:pt x="-359" y="8934"/>
                        <a:pt x="688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2" name="Google Shape;2167;p34">
                  <a:extLst>
                    <a:ext uri="{FF2B5EF4-FFF2-40B4-BE49-F238E27FC236}">
                      <a16:creationId xmlns:a16="http://schemas.microsoft.com/office/drawing/2014/main" id="{B5A09B25-0176-4BFE-BEDC-601807E5D95E}"/>
                    </a:ext>
                  </a:extLst>
                </p:cNvPr>
                <p:cNvSpPr/>
                <p:nvPr/>
              </p:nvSpPr>
              <p:spPr>
                <a:xfrm>
                  <a:off x="4631964" y="4983594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0" y="9696"/>
                      </a:lnTo>
                      <a:cubicBezTo>
                        <a:pt x="29613" y="9030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506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3" name="Google Shape;2168;p34">
                  <a:extLst>
                    <a:ext uri="{FF2B5EF4-FFF2-40B4-BE49-F238E27FC236}">
                      <a16:creationId xmlns:a16="http://schemas.microsoft.com/office/drawing/2014/main" id="{20DC31E4-108F-4977-BFD5-3BFA56D1D5ED}"/>
                    </a:ext>
                  </a:extLst>
                </p:cNvPr>
                <p:cNvSpPr/>
                <p:nvPr/>
              </p:nvSpPr>
              <p:spPr>
                <a:xfrm>
                  <a:off x="4614700" y="4973593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650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98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4" name="Google Shape;2169;p34">
                  <a:extLst>
                    <a:ext uri="{FF2B5EF4-FFF2-40B4-BE49-F238E27FC236}">
                      <a16:creationId xmlns:a16="http://schemas.microsoft.com/office/drawing/2014/main" id="{39875552-B1B8-4C23-AC15-BCA926945234}"/>
                    </a:ext>
                  </a:extLst>
                </p:cNvPr>
                <p:cNvSpPr/>
                <p:nvPr/>
              </p:nvSpPr>
              <p:spPr>
                <a:xfrm>
                  <a:off x="4597237" y="4963591"/>
                  <a:ext cx="295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541" h="16916" extrusionOk="0">
                      <a:moveTo>
                        <a:pt x="857" y="9411"/>
                      </a:moveTo>
                      <a:lnTo>
                        <a:pt x="13135" y="16459"/>
                      </a:lnTo>
                      <a:cubicBezTo>
                        <a:pt x="14363" y="17069"/>
                        <a:pt x="15808" y="17069"/>
                        <a:pt x="17037" y="16459"/>
                      </a:cubicBezTo>
                      <a:lnTo>
                        <a:pt x="28648" y="9792"/>
                      </a:lnTo>
                      <a:cubicBezTo>
                        <a:pt x="29791" y="9125"/>
                        <a:pt x="29886" y="8077"/>
                        <a:pt x="28648" y="7506"/>
                      </a:cubicBezTo>
                      <a:lnTo>
                        <a:pt x="16466" y="457"/>
                      </a:lnTo>
                      <a:cubicBezTo>
                        <a:pt x="15237" y="-152"/>
                        <a:pt x="13792" y="-152"/>
                        <a:pt x="12563" y="457"/>
                      </a:cubicBezTo>
                      <a:lnTo>
                        <a:pt x="857" y="7220"/>
                      </a:lnTo>
                      <a:cubicBezTo>
                        <a:pt x="-286" y="7791"/>
                        <a:pt x="-286" y="8458"/>
                        <a:pt x="85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5" name="Google Shape;2170;p34">
                  <a:extLst>
                    <a:ext uri="{FF2B5EF4-FFF2-40B4-BE49-F238E27FC236}">
                      <a16:creationId xmlns:a16="http://schemas.microsoft.com/office/drawing/2014/main" id="{DA95887B-5B0E-486A-9A69-465332C1835D}"/>
                    </a:ext>
                  </a:extLst>
                </p:cNvPr>
                <p:cNvSpPr/>
                <p:nvPr/>
              </p:nvSpPr>
              <p:spPr>
                <a:xfrm>
                  <a:off x="4580242" y="4953400"/>
                  <a:ext cx="29308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08" h="17106" extrusionOk="0">
                      <a:moveTo>
                        <a:pt x="624" y="9601"/>
                      </a:moveTo>
                      <a:lnTo>
                        <a:pt x="12807" y="16650"/>
                      </a:lnTo>
                      <a:cubicBezTo>
                        <a:pt x="14036" y="17259"/>
                        <a:pt x="15481" y="17259"/>
                        <a:pt x="16709" y="16650"/>
                      </a:cubicBezTo>
                      <a:lnTo>
                        <a:pt x="28416" y="9887"/>
                      </a:lnTo>
                      <a:cubicBezTo>
                        <a:pt x="29558" y="9220"/>
                        <a:pt x="29654" y="8268"/>
                        <a:pt x="28416" y="7601"/>
                      </a:cubicBezTo>
                      <a:lnTo>
                        <a:pt x="16709" y="457"/>
                      </a:lnTo>
                      <a:cubicBezTo>
                        <a:pt x="15481" y="-152"/>
                        <a:pt x="14036" y="-152"/>
                        <a:pt x="12807" y="457"/>
                      </a:cubicBezTo>
                      <a:lnTo>
                        <a:pt x="1195" y="7220"/>
                      </a:lnTo>
                      <a:cubicBezTo>
                        <a:pt x="-232" y="8077"/>
                        <a:pt x="-327" y="9125"/>
                        <a:pt x="624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6" name="Google Shape;2171;p34">
                  <a:extLst>
                    <a:ext uri="{FF2B5EF4-FFF2-40B4-BE49-F238E27FC236}">
                      <a16:creationId xmlns:a16="http://schemas.microsoft.com/office/drawing/2014/main" id="{A4F32FA9-25C2-4A54-823F-95F7CC8124B0}"/>
                    </a:ext>
                  </a:extLst>
                </p:cNvPr>
                <p:cNvSpPr/>
                <p:nvPr/>
              </p:nvSpPr>
              <p:spPr>
                <a:xfrm>
                  <a:off x="4562889" y="4943589"/>
                  <a:ext cx="29375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5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696"/>
                      </a:lnTo>
                      <a:cubicBezTo>
                        <a:pt x="29589" y="9030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220"/>
                      </a:lnTo>
                      <a:cubicBezTo>
                        <a:pt x="-202" y="7887"/>
                        <a:pt x="-297" y="9411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7" name="Google Shape;2172;p34">
                  <a:extLst>
                    <a:ext uri="{FF2B5EF4-FFF2-40B4-BE49-F238E27FC236}">
                      <a16:creationId xmlns:a16="http://schemas.microsoft.com/office/drawing/2014/main" id="{39A84835-78FD-437E-918E-3C9FF8C150B9}"/>
                    </a:ext>
                  </a:extLst>
                </p:cNvPr>
                <p:cNvSpPr/>
                <p:nvPr/>
              </p:nvSpPr>
              <p:spPr>
                <a:xfrm>
                  <a:off x="4545668" y="4933492"/>
                  <a:ext cx="29333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33" h="17487" extrusionOk="0">
                      <a:moveTo>
                        <a:pt x="649" y="9982"/>
                      </a:moveTo>
                      <a:lnTo>
                        <a:pt x="12832" y="17031"/>
                      </a:lnTo>
                      <a:cubicBezTo>
                        <a:pt x="14060" y="17640"/>
                        <a:pt x="15505" y="17640"/>
                        <a:pt x="16734" y="17031"/>
                      </a:cubicBezTo>
                      <a:lnTo>
                        <a:pt x="28441" y="10363"/>
                      </a:lnTo>
                      <a:cubicBezTo>
                        <a:pt x="29583" y="9696"/>
                        <a:pt x="29678" y="8649"/>
                        <a:pt x="28441" y="8077"/>
                      </a:cubicBezTo>
                      <a:lnTo>
                        <a:pt x="16448" y="457"/>
                      </a:lnTo>
                      <a:cubicBezTo>
                        <a:pt x="15253" y="-152"/>
                        <a:pt x="13837" y="-152"/>
                        <a:pt x="12641" y="457"/>
                      </a:cubicBezTo>
                      <a:lnTo>
                        <a:pt x="934" y="7125"/>
                      </a:lnTo>
                      <a:cubicBezTo>
                        <a:pt x="-208" y="7982"/>
                        <a:pt x="-303" y="9030"/>
                        <a:pt x="649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8" name="Google Shape;2173;p34">
                  <a:extLst>
                    <a:ext uri="{FF2B5EF4-FFF2-40B4-BE49-F238E27FC236}">
                      <a16:creationId xmlns:a16="http://schemas.microsoft.com/office/drawing/2014/main" id="{90A6C6FA-0DC5-449A-BD99-B7C29021869D}"/>
                    </a:ext>
                  </a:extLst>
                </p:cNvPr>
                <p:cNvSpPr/>
                <p:nvPr/>
              </p:nvSpPr>
              <p:spPr>
                <a:xfrm>
                  <a:off x="4528402" y="4923967"/>
                  <a:ext cx="29313" cy="166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13" h="16630" extrusionOk="0">
                      <a:moveTo>
                        <a:pt x="688" y="9125"/>
                      </a:moveTo>
                      <a:lnTo>
                        <a:pt x="12871" y="16173"/>
                      </a:lnTo>
                      <a:cubicBezTo>
                        <a:pt x="14099" y="16783"/>
                        <a:pt x="15544" y="16783"/>
                        <a:pt x="16773" y="16173"/>
                      </a:cubicBezTo>
                      <a:lnTo>
                        <a:pt x="28384" y="9506"/>
                      </a:lnTo>
                      <a:cubicBezTo>
                        <a:pt x="29527" y="8839"/>
                        <a:pt x="29717" y="7791"/>
                        <a:pt x="28384" y="7220"/>
                      </a:cubicBezTo>
                      <a:lnTo>
                        <a:pt x="16487" y="457"/>
                      </a:lnTo>
                      <a:cubicBezTo>
                        <a:pt x="15259" y="-152"/>
                        <a:pt x="13814" y="-152"/>
                        <a:pt x="12585" y="457"/>
                      </a:cubicBezTo>
                      <a:lnTo>
                        <a:pt x="973" y="7220"/>
                      </a:lnTo>
                      <a:cubicBezTo>
                        <a:pt x="-169" y="7601"/>
                        <a:pt x="-359" y="8553"/>
                        <a:pt x="688" y="9125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9" name="Google Shape;2174;p34">
                  <a:extLst>
                    <a:ext uri="{FF2B5EF4-FFF2-40B4-BE49-F238E27FC236}">
                      <a16:creationId xmlns:a16="http://schemas.microsoft.com/office/drawing/2014/main" id="{EC1396B1-E6F1-454B-A795-2CB160F33568}"/>
                    </a:ext>
                  </a:extLst>
                </p:cNvPr>
                <p:cNvSpPr/>
                <p:nvPr/>
              </p:nvSpPr>
              <p:spPr>
                <a:xfrm>
                  <a:off x="4511410" y="4913585"/>
                  <a:ext cx="290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041" h="17011" extrusionOk="0">
                      <a:moveTo>
                        <a:pt x="357" y="9506"/>
                      </a:moveTo>
                      <a:lnTo>
                        <a:pt x="12635" y="16554"/>
                      </a:lnTo>
                      <a:cubicBezTo>
                        <a:pt x="13830" y="17164"/>
                        <a:pt x="15247" y="17164"/>
                        <a:pt x="16442" y="16554"/>
                      </a:cubicBezTo>
                      <a:lnTo>
                        <a:pt x="28149" y="9792"/>
                      </a:lnTo>
                      <a:cubicBezTo>
                        <a:pt x="29291" y="9125"/>
                        <a:pt x="29386" y="8172"/>
                        <a:pt x="28149" y="7506"/>
                      </a:cubicBezTo>
                      <a:lnTo>
                        <a:pt x="15966" y="457"/>
                      </a:lnTo>
                      <a:cubicBezTo>
                        <a:pt x="14737" y="-152"/>
                        <a:pt x="13293" y="-152"/>
                        <a:pt x="12064" y="457"/>
                      </a:cubicBezTo>
                      <a:lnTo>
                        <a:pt x="357" y="7220"/>
                      </a:lnTo>
                      <a:cubicBezTo>
                        <a:pt x="-119" y="7982"/>
                        <a:pt x="-119" y="8934"/>
                        <a:pt x="357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0" name="Google Shape;2175;p34">
                  <a:extLst>
                    <a:ext uri="{FF2B5EF4-FFF2-40B4-BE49-F238E27FC236}">
                      <a16:creationId xmlns:a16="http://schemas.microsoft.com/office/drawing/2014/main" id="{C4C19A8B-D323-4831-8AAB-EC782BA75ABE}"/>
                    </a:ext>
                  </a:extLst>
                </p:cNvPr>
                <p:cNvSpPr/>
                <p:nvPr/>
              </p:nvSpPr>
              <p:spPr>
                <a:xfrm>
                  <a:off x="4493824" y="4903774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696"/>
                      </a:lnTo>
                      <a:cubicBezTo>
                        <a:pt x="29650" y="9030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791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1" name="Google Shape;2176;p34">
                  <a:extLst>
                    <a:ext uri="{FF2B5EF4-FFF2-40B4-BE49-F238E27FC236}">
                      <a16:creationId xmlns:a16="http://schemas.microsoft.com/office/drawing/2014/main" id="{CE6725B1-48ED-433A-8E6A-C4D4D7AF6127}"/>
                    </a:ext>
                  </a:extLst>
                </p:cNvPr>
                <p:cNvSpPr/>
                <p:nvPr/>
              </p:nvSpPr>
              <p:spPr>
                <a:xfrm>
                  <a:off x="4701039" y="5023503"/>
                  <a:ext cx="42331" cy="244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331" h="24441" extrusionOk="0">
                      <a:moveTo>
                        <a:pt x="607" y="9411"/>
                      </a:moveTo>
                      <a:lnTo>
                        <a:pt x="25829" y="23984"/>
                      </a:lnTo>
                      <a:cubicBezTo>
                        <a:pt x="27058" y="24594"/>
                        <a:pt x="28503" y="24594"/>
                        <a:pt x="29732" y="23984"/>
                      </a:cubicBezTo>
                      <a:lnTo>
                        <a:pt x="41439" y="17221"/>
                      </a:lnTo>
                      <a:cubicBezTo>
                        <a:pt x="42581" y="16555"/>
                        <a:pt x="42676" y="15602"/>
                        <a:pt x="41439" y="15031"/>
                      </a:cubicBezTo>
                      <a:lnTo>
                        <a:pt x="16121" y="457"/>
                      </a:lnTo>
                      <a:cubicBezTo>
                        <a:pt x="14892" y="-152"/>
                        <a:pt x="13448" y="-152"/>
                        <a:pt x="12219" y="457"/>
                      </a:cubicBezTo>
                      <a:lnTo>
                        <a:pt x="607" y="7220"/>
                      </a:lnTo>
                      <a:cubicBezTo>
                        <a:pt x="-154" y="7792"/>
                        <a:pt x="-249" y="8839"/>
                        <a:pt x="60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2" name="Google Shape;2177;p34">
                  <a:extLst>
                    <a:ext uri="{FF2B5EF4-FFF2-40B4-BE49-F238E27FC236}">
                      <a16:creationId xmlns:a16="http://schemas.microsoft.com/office/drawing/2014/main" id="{6D2C7877-AEA5-484A-AF3C-8B529158852E}"/>
                    </a:ext>
                  </a:extLst>
                </p:cNvPr>
                <p:cNvSpPr/>
                <p:nvPr/>
              </p:nvSpPr>
              <p:spPr>
                <a:xfrm>
                  <a:off x="4675609" y="5027945"/>
                  <a:ext cx="29345" cy="171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5" h="17142" extrusionOk="0">
                      <a:moveTo>
                        <a:pt x="720" y="9541"/>
                      </a:moveTo>
                      <a:lnTo>
                        <a:pt x="12903" y="16685"/>
                      </a:lnTo>
                      <a:cubicBezTo>
                        <a:pt x="14131" y="17295"/>
                        <a:pt x="15576" y="17295"/>
                        <a:pt x="16805" y="16685"/>
                      </a:cubicBezTo>
                      <a:lnTo>
                        <a:pt x="28416" y="9923"/>
                      </a:lnTo>
                      <a:cubicBezTo>
                        <a:pt x="29559" y="9256"/>
                        <a:pt x="29749" y="8303"/>
                        <a:pt x="28416" y="7732"/>
                      </a:cubicBezTo>
                      <a:lnTo>
                        <a:pt x="16519" y="493"/>
                      </a:lnTo>
                      <a:cubicBezTo>
                        <a:pt x="15302" y="-164"/>
                        <a:pt x="13834" y="-164"/>
                        <a:pt x="12617" y="493"/>
                      </a:cubicBezTo>
                      <a:lnTo>
                        <a:pt x="1005" y="7256"/>
                      </a:lnTo>
                      <a:cubicBezTo>
                        <a:pt x="-232" y="8017"/>
                        <a:pt x="-327" y="8970"/>
                        <a:pt x="720" y="954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3" name="Google Shape;2178;p34">
                  <a:extLst>
                    <a:ext uri="{FF2B5EF4-FFF2-40B4-BE49-F238E27FC236}">
                      <a16:creationId xmlns:a16="http://schemas.microsoft.com/office/drawing/2014/main" id="{56E17C0F-9911-4E7E-8C95-387C45054DCA}"/>
                    </a:ext>
                  </a:extLst>
                </p:cNvPr>
                <p:cNvSpPr/>
                <p:nvPr/>
              </p:nvSpPr>
              <p:spPr>
                <a:xfrm>
                  <a:off x="4658328" y="5018170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4" name="Google Shape;2179;p34">
                  <a:extLst>
                    <a:ext uri="{FF2B5EF4-FFF2-40B4-BE49-F238E27FC236}">
                      <a16:creationId xmlns:a16="http://schemas.microsoft.com/office/drawing/2014/main" id="{67ABF7DF-AFFB-416B-8D33-2CA35C187EF7}"/>
                    </a:ext>
                  </a:extLst>
                </p:cNvPr>
                <p:cNvSpPr/>
                <p:nvPr/>
              </p:nvSpPr>
              <p:spPr>
                <a:xfrm>
                  <a:off x="4641064" y="5008168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791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5" name="Google Shape;2180;p34">
                  <a:extLst>
                    <a:ext uri="{FF2B5EF4-FFF2-40B4-BE49-F238E27FC236}">
                      <a16:creationId xmlns:a16="http://schemas.microsoft.com/office/drawing/2014/main" id="{42D4C2EA-3C9C-440F-8F9C-B3BD4D181659}"/>
                    </a:ext>
                  </a:extLst>
                </p:cNvPr>
                <p:cNvSpPr/>
                <p:nvPr/>
              </p:nvSpPr>
              <p:spPr>
                <a:xfrm>
                  <a:off x="4623779" y="4998072"/>
                  <a:ext cx="2936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7011" extrusionOk="0">
                      <a:moveTo>
                        <a:pt x="679" y="9506"/>
                      </a:moveTo>
                      <a:lnTo>
                        <a:pt x="12957" y="16554"/>
                      </a:lnTo>
                      <a:cubicBezTo>
                        <a:pt x="14185" y="17164"/>
                        <a:pt x="15630" y="17164"/>
                        <a:pt x="16859" y="16554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935"/>
                        <a:pt x="679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6" name="Google Shape;2181;p34">
                  <a:extLst>
                    <a:ext uri="{FF2B5EF4-FFF2-40B4-BE49-F238E27FC236}">
                      <a16:creationId xmlns:a16="http://schemas.microsoft.com/office/drawing/2014/main" id="{0129E856-9D3F-4A4D-8215-6974F21802EF}"/>
                    </a:ext>
                  </a:extLst>
                </p:cNvPr>
                <p:cNvSpPr/>
                <p:nvPr/>
              </p:nvSpPr>
              <p:spPr>
                <a:xfrm>
                  <a:off x="4606671" y="4988070"/>
                  <a:ext cx="2924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44" h="17106" extrusionOk="0">
                      <a:moveTo>
                        <a:pt x="560" y="9601"/>
                      </a:moveTo>
                      <a:lnTo>
                        <a:pt x="12742" y="16650"/>
                      </a:lnTo>
                      <a:cubicBezTo>
                        <a:pt x="13971" y="17259"/>
                        <a:pt x="15416" y="17259"/>
                        <a:pt x="16645" y="16650"/>
                      </a:cubicBezTo>
                      <a:lnTo>
                        <a:pt x="28352" y="9697"/>
                      </a:lnTo>
                      <a:cubicBezTo>
                        <a:pt x="29494" y="9030"/>
                        <a:pt x="29589" y="8077"/>
                        <a:pt x="28352" y="7506"/>
                      </a:cubicBezTo>
                      <a:lnTo>
                        <a:pt x="16169" y="457"/>
                      </a:lnTo>
                      <a:cubicBezTo>
                        <a:pt x="14940" y="-152"/>
                        <a:pt x="13495" y="-152"/>
                        <a:pt x="12267" y="457"/>
                      </a:cubicBezTo>
                      <a:lnTo>
                        <a:pt x="655" y="7220"/>
                      </a:lnTo>
                      <a:cubicBezTo>
                        <a:pt x="-202" y="7982"/>
                        <a:pt x="-202" y="9030"/>
                        <a:pt x="56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7" name="Google Shape;2182;p34">
                  <a:extLst>
                    <a:ext uri="{FF2B5EF4-FFF2-40B4-BE49-F238E27FC236}">
                      <a16:creationId xmlns:a16="http://schemas.microsoft.com/office/drawing/2014/main" id="{B273C575-3D5A-403A-AC68-6EC64B5BCA36}"/>
                    </a:ext>
                  </a:extLst>
                </p:cNvPr>
                <p:cNvSpPr/>
                <p:nvPr/>
              </p:nvSpPr>
              <p:spPr>
                <a:xfrm>
                  <a:off x="4589253" y="4978260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792"/>
                      </a:lnTo>
                      <a:cubicBezTo>
                        <a:pt x="29589" y="9125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125"/>
                      </a:lnTo>
                      <a:cubicBezTo>
                        <a:pt x="-202" y="7792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8" name="Google Shape;2183;p34">
                  <a:extLst>
                    <a:ext uri="{FF2B5EF4-FFF2-40B4-BE49-F238E27FC236}">
                      <a16:creationId xmlns:a16="http://schemas.microsoft.com/office/drawing/2014/main" id="{02B9B5DB-5CF7-46B1-89F3-4F1B2E8B6DB7}"/>
                    </a:ext>
                  </a:extLst>
                </p:cNvPr>
                <p:cNvSpPr/>
                <p:nvPr/>
              </p:nvSpPr>
              <p:spPr>
                <a:xfrm>
                  <a:off x="4572002" y="496825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9" name="Google Shape;2184;p34">
                  <a:extLst>
                    <a:ext uri="{FF2B5EF4-FFF2-40B4-BE49-F238E27FC236}">
                      <a16:creationId xmlns:a16="http://schemas.microsoft.com/office/drawing/2014/main" id="{36076D64-050B-434F-8727-E690DED63234}"/>
                    </a:ext>
                  </a:extLst>
                </p:cNvPr>
                <p:cNvSpPr/>
                <p:nvPr/>
              </p:nvSpPr>
              <p:spPr>
                <a:xfrm>
                  <a:off x="4554738" y="4958162"/>
                  <a:ext cx="293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11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27" y="17164"/>
                        <a:pt x="15572" y="17164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172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0" name="Google Shape;2185;p34">
                  <a:extLst>
                    <a:ext uri="{FF2B5EF4-FFF2-40B4-BE49-F238E27FC236}">
                      <a16:creationId xmlns:a16="http://schemas.microsoft.com/office/drawing/2014/main" id="{5D95F0ED-0773-4916-853E-8E6EB6C29758}"/>
                    </a:ext>
                  </a:extLst>
                </p:cNvPr>
                <p:cNvSpPr/>
                <p:nvPr/>
              </p:nvSpPr>
              <p:spPr>
                <a:xfrm>
                  <a:off x="4537453" y="4948351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85" y="17069"/>
                        <a:pt x="15630" y="17069"/>
                        <a:pt x="16859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1" name="Google Shape;2186;p34">
                  <a:extLst>
                    <a:ext uri="{FF2B5EF4-FFF2-40B4-BE49-F238E27FC236}">
                      <a16:creationId xmlns:a16="http://schemas.microsoft.com/office/drawing/2014/main" id="{D22C4244-C12F-4CCE-80BA-859B532CB6A4}"/>
                    </a:ext>
                  </a:extLst>
                </p:cNvPr>
                <p:cNvSpPr/>
                <p:nvPr/>
              </p:nvSpPr>
              <p:spPr>
                <a:xfrm>
                  <a:off x="4520202" y="4938350"/>
                  <a:ext cx="2929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91" h="16916" extrusionOk="0">
                      <a:moveTo>
                        <a:pt x="607" y="9411"/>
                      </a:moveTo>
                      <a:lnTo>
                        <a:pt x="12790" y="16459"/>
                      </a:lnTo>
                      <a:cubicBezTo>
                        <a:pt x="14019" y="17069"/>
                        <a:pt x="15464" y="17069"/>
                        <a:pt x="16692" y="16459"/>
                      </a:cubicBezTo>
                      <a:lnTo>
                        <a:pt x="28399" y="9791"/>
                      </a:lnTo>
                      <a:cubicBezTo>
                        <a:pt x="29541" y="9125"/>
                        <a:pt x="29636" y="8077"/>
                        <a:pt x="28399" y="7506"/>
                      </a:cubicBezTo>
                      <a:lnTo>
                        <a:pt x="16121" y="457"/>
                      </a:lnTo>
                      <a:cubicBezTo>
                        <a:pt x="14893" y="-152"/>
                        <a:pt x="13448" y="-152"/>
                        <a:pt x="12219" y="457"/>
                      </a:cubicBezTo>
                      <a:lnTo>
                        <a:pt x="607" y="7124"/>
                      </a:lnTo>
                      <a:cubicBezTo>
                        <a:pt x="-154" y="7791"/>
                        <a:pt x="-249" y="8839"/>
                        <a:pt x="60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2" name="Google Shape;2187;p34">
                  <a:extLst>
                    <a:ext uri="{FF2B5EF4-FFF2-40B4-BE49-F238E27FC236}">
                      <a16:creationId xmlns:a16="http://schemas.microsoft.com/office/drawing/2014/main" id="{AC10F7E2-6D87-47C6-84ED-7083C07E6240}"/>
                    </a:ext>
                  </a:extLst>
                </p:cNvPr>
                <p:cNvSpPr/>
                <p:nvPr/>
              </p:nvSpPr>
              <p:spPr>
                <a:xfrm>
                  <a:off x="4502927" y="4928253"/>
                  <a:ext cx="29376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7011" extrusionOk="0">
                      <a:moveTo>
                        <a:pt x="750" y="9506"/>
                      </a:moveTo>
                      <a:lnTo>
                        <a:pt x="12933" y="16555"/>
                      </a:lnTo>
                      <a:cubicBezTo>
                        <a:pt x="14161" y="17164"/>
                        <a:pt x="15606" y="17164"/>
                        <a:pt x="16835" y="16555"/>
                      </a:cubicBezTo>
                      <a:lnTo>
                        <a:pt x="28447" y="9792"/>
                      </a:lnTo>
                      <a:cubicBezTo>
                        <a:pt x="29589" y="9125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220"/>
                      </a:lnTo>
                      <a:cubicBezTo>
                        <a:pt x="-202" y="7982"/>
                        <a:pt x="-297" y="8934"/>
                        <a:pt x="750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3" name="Google Shape;2188;p34">
                  <a:extLst>
                    <a:ext uri="{FF2B5EF4-FFF2-40B4-BE49-F238E27FC236}">
                      <a16:creationId xmlns:a16="http://schemas.microsoft.com/office/drawing/2014/main" id="{0FB59AB0-A072-4229-A608-4E45EB4592EA}"/>
                    </a:ext>
                  </a:extLst>
                </p:cNvPr>
                <p:cNvSpPr/>
                <p:nvPr/>
              </p:nvSpPr>
              <p:spPr>
                <a:xfrm>
                  <a:off x="4464204" y="4906060"/>
                  <a:ext cx="50834" cy="289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834" h="28917" extrusionOk="0">
                      <a:moveTo>
                        <a:pt x="830" y="9411"/>
                      </a:moveTo>
                      <a:lnTo>
                        <a:pt x="34428" y="28461"/>
                      </a:lnTo>
                      <a:cubicBezTo>
                        <a:pt x="35624" y="29070"/>
                        <a:pt x="37040" y="29070"/>
                        <a:pt x="38235" y="28461"/>
                      </a:cubicBezTo>
                      <a:lnTo>
                        <a:pt x="49942" y="21698"/>
                      </a:lnTo>
                      <a:cubicBezTo>
                        <a:pt x="51084" y="21031"/>
                        <a:pt x="51179" y="20079"/>
                        <a:pt x="49942" y="19507"/>
                      </a:cubicBezTo>
                      <a:lnTo>
                        <a:pt x="16344" y="457"/>
                      </a:lnTo>
                      <a:cubicBezTo>
                        <a:pt x="15116" y="-152"/>
                        <a:pt x="13671" y="-152"/>
                        <a:pt x="12442" y="457"/>
                      </a:cubicBezTo>
                      <a:lnTo>
                        <a:pt x="830" y="7125"/>
                      </a:lnTo>
                      <a:cubicBezTo>
                        <a:pt x="-26" y="7792"/>
                        <a:pt x="-502" y="8839"/>
                        <a:pt x="83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4" name="Google Shape;2189;p34">
                  <a:extLst>
                    <a:ext uri="{FF2B5EF4-FFF2-40B4-BE49-F238E27FC236}">
                      <a16:creationId xmlns:a16="http://schemas.microsoft.com/office/drawing/2014/main" id="{2539FCE9-7863-45B0-8BCF-2D382343C03A}"/>
                    </a:ext>
                  </a:extLst>
                </p:cNvPr>
                <p:cNvSpPr/>
                <p:nvPr/>
              </p:nvSpPr>
              <p:spPr>
                <a:xfrm>
                  <a:off x="4692687" y="5037982"/>
                  <a:ext cx="33968" cy="194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968" h="19459" extrusionOk="0">
                      <a:moveTo>
                        <a:pt x="870" y="9506"/>
                      </a:moveTo>
                      <a:lnTo>
                        <a:pt x="17526" y="19031"/>
                      </a:lnTo>
                      <a:cubicBezTo>
                        <a:pt x="18764" y="19603"/>
                        <a:pt x="20190" y="19603"/>
                        <a:pt x="21428" y="19031"/>
                      </a:cubicBezTo>
                      <a:lnTo>
                        <a:pt x="33040" y="12268"/>
                      </a:lnTo>
                      <a:cubicBezTo>
                        <a:pt x="34182" y="11602"/>
                        <a:pt x="34372" y="10554"/>
                        <a:pt x="33040" y="9982"/>
                      </a:cubicBezTo>
                      <a:lnTo>
                        <a:pt x="16384" y="457"/>
                      </a:lnTo>
                      <a:cubicBezTo>
                        <a:pt x="15155" y="-152"/>
                        <a:pt x="13710" y="-152"/>
                        <a:pt x="12481" y="457"/>
                      </a:cubicBezTo>
                      <a:lnTo>
                        <a:pt x="870" y="7220"/>
                      </a:lnTo>
                      <a:cubicBezTo>
                        <a:pt x="13" y="7982"/>
                        <a:pt x="-558" y="8934"/>
                        <a:pt x="870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07" name="Google Shape;2190;p34">
                <a:extLst>
                  <a:ext uri="{FF2B5EF4-FFF2-40B4-BE49-F238E27FC236}">
                    <a16:creationId xmlns:a16="http://schemas.microsoft.com/office/drawing/2014/main" id="{8E3A928B-7785-47D2-8B1F-791B2B2F534D}"/>
                  </a:ext>
                </a:extLst>
              </p:cNvPr>
              <p:cNvGrpSpPr/>
              <p:nvPr/>
            </p:nvGrpSpPr>
            <p:grpSpPr>
              <a:xfrm>
                <a:off x="4543079" y="4626313"/>
                <a:ext cx="286486" cy="386884"/>
                <a:chOff x="4543079" y="4626313"/>
                <a:chExt cx="286486" cy="386884"/>
              </a:xfrm>
            </p:grpSpPr>
            <p:grpSp>
              <p:nvGrpSpPr>
                <p:cNvPr id="208" name="Google Shape;2191;p34">
                  <a:extLst>
                    <a:ext uri="{FF2B5EF4-FFF2-40B4-BE49-F238E27FC236}">
                      <a16:creationId xmlns:a16="http://schemas.microsoft.com/office/drawing/2014/main" id="{7D42F1F6-260D-4516-841B-53F70162F626}"/>
                    </a:ext>
                  </a:extLst>
                </p:cNvPr>
                <p:cNvGrpSpPr/>
                <p:nvPr/>
              </p:nvGrpSpPr>
              <p:grpSpPr>
                <a:xfrm>
                  <a:off x="4543079" y="4626313"/>
                  <a:ext cx="286486" cy="386884"/>
                  <a:chOff x="4543079" y="4626313"/>
                  <a:chExt cx="286486" cy="386884"/>
                </a:xfrm>
              </p:grpSpPr>
              <p:sp>
                <p:nvSpPr>
                  <p:cNvPr id="212" name="Google Shape;2192;p34">
                    <a:extLst>
                      <a:ext uri="{FF2B5EF4-FFF2-40B4-BE49-F238E27FC236}">
                        <a16:creationId xmlns:a16="http://schemas.microsoft.com/office/drawing/2014/main" id="{45591A6D-BEB8-40E6-8E48-56B45CEC3A13}"/>
                      </a:ext>
                    </a:extLst>
                  </p:cNvPr>
                  <p:cNvSpPr/>
                  <p:nvPr/>
                </p:nvSpPr>
                <p:spPr>
                  <a:xfrm>
                    <a:off x="4543081" y="4626313"/>
                    <a:ext cx="286484" cy="38688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6484" h="386884" extrusionOk="0">
                        <a:moveTo>
                          <a:pt x="277062" y="386884"/>
                        </a:moveTo>
                        <a:lnTo>
                          <a:pt x="277062" y="386884"/>
                        </a:lnTo>
                        <a:lnTo>
                          <a:pt x="0" y="226674"/>
                        </a:lnTo>
                        <a:lnTo>
                          <a:pt x="0" y="8646"/>
                        </a:lnTo>
                        <a:lnTo>
                          <a:pt x="2094" y="3693"/>
                        </a:lnTo>
                        <a:lnTo>
                          <a:pt x="4378" y="2550"/>
                        </a:lnTo>
                        <a:lnTo>
                          <a:pt x="4378" y="2550"/>
                        </a:lnTo>
                        <a:cubicBezTo>
                          <a:pt x="10268" y="-850"/>
                          <a:pt x="17524" y="-850"/>
                          <a:pt x="23414" y="2550"/>
                        </a:cubicBezTo>
                        <a:lnTo>
                          <a:pt x="276967" y="149140"/>
                        </a:lnTo>
                        <a:cubicBezTo>
                          <a:pt x="282880" y="152559"/>
                          <a:pt x="286511" y="158884"/>
                          <a:pt x="286485" y="165714"/>
                        </a:cubicBezTo>
                        <a:lnTo>
                          <a:pt x="286485" y="370310"/>
                        </a:lnTo>
                        <a:cubicBezTo>
                          <a:pt x="284867" y="380883"/>
                          <a:pt x="282963" y="383836"/>
                          <a:pt x="277062" y="386884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3" name="Google Shape;2193;p34">
                    <a:extLst>
                      <a:ext uri="{FF2B5EF4-FFF2-40B4-BE49-F238E27FC236}">
                        <a16:creationId xmlns:a16="http://schemas.microsoft.com/office/drawing/2014/main" id="{8A319791-0586-4FFD-96BB-D89BC6C4AA5E}"/>
                      </a:ext>
                    </a:extLst>
                  </p:cNvPr>
                  <p:cNvSpPr/>
                  <p:nvPr/>
                </p:nvSpPr>
                <p:spPr>
                  <a:xfrm>
                    <a:off x="4543081" y="4626313"/>
                    <a:ext cx="284295" cy="17552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4295" h="175524" extrusionOk="0">
                        <a:moveTo>
                          <a:pt x="251650" y="175524"/>
                        </a:moveTo>
                        <a:lnTo>
                          <a:pt x="0" y="15885"/>
                        </a:lnTo>
                        <a:lnTo>
                          <a:pt x="0" y="8646"/>
                        </a:lnTo>
                        <a:lnTo>
                          <a:pt x="2094" y="3693"/>
                        </a:lnTo>
                        <a:lnTo>
                          <a:pt x="4378" y="2550"/>
                        </a:lnTo>
                        <a:cubicBezTo>
                          <a:pt x="10268" y="-850"/>
                          <a:pt x="17524" y="-850"/>
                          <a:pt x="23414" y="2550"/>
                        </a:cubicBezTo>
                        <a:lnTo>
                          <a:pt x="276967" y="149140"/>
                        </a:lnTo>
                        <a:cubicBezTo>
                          <a:pt x="280042" y="150940"/>
                          <a:pt x="282574" y="153540"/>
                          <a:pt x="284296" y="156665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4" name="Google Shape;2194;p34">
                    <a:extLst>
                      <a:ext uri="{FF2B5EF4-FFF2-40B4-BE49-F238E27FC236}">
                        <a16:creationId xmlns:a16="http://schemas.microsoft.com/office/drawing/2014/main" id="{6F71F9F0-49B5-4951-87E1-D18226725248}"/>
                      </a:ext>
                    </a:extLst>
                  </p:cNvPr>
                  <p:cNvSpPr/>
                  <p:nvPr/>
                </p:nvSpPr>
                <p:spPr>
                  <a:xfrm>
                    <a:off x="4543079" y="4629510"/>
                    <a:ext cx="277444" cy="38368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444" h="383687" extrusionOk="0">
                        <a:moveTo>
                          <a:pt x="6283" y="497"/>
                        </a:moveTo>
                        <a:lnTo>
                          <a:pt x="272781" y="154230"/>
                        </a:lnTo>
                        <a:cubicBezTo>
                          <a:pt x="275643" y="155926"/>
                          <a:pt x="277410" y="159002"/>
                          <a:pt x="277445" y="162326"/>
                        </a:cubicBezTo>
                        <a:lnTo>
                          <a:pt x="277445" y="383688"/>
                        </a:lnTo>
                        <a:lnTo>
                          <a:pt x="2" y="223477"/>
                        </a:lnTo>
                        <a:lnTo>
                          <a:pt x="2" y="4402"/>
                        </a:lnTo>
                        <a:cubicBezTo>
                          <a:pt x="-62" y="2040"/>
                          <a:pt x="1803" y="68"/>
                          <a:pt x="4167" y="1"/>
                        </a:cubicBezTo>
                        <a:cubicBezTo>
                          <a:pt x="4904" y="-17"/>
                          <a:pt x="5632" y="154"/>
                          <a:pt x="6283" y="497"/>
                        </a:cubicBezTo>
                        <a:close/>
                      </a:path>
                    </a:pathLst>
                  </a:custGeom>
                  <a:solidFill>
                    <a:srgbClr val="DCEE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5" name="Google Shape;2195;p34">
                    <a:extLst>
                      <a:ext uri="{FF2B5EF4-FFF2-40B4-BE49-F238E27FC236}">
                        <a16:creationId xmlns:a16="http://schemas.microsoft.com/office/drawing/2014/main" id="{68E82990-96AB-42AA-99CC-577C9F2F8868}"/>
                      </a:ext>
                    </a:extLst>
                  </p:cNvPr>
                  <p:cNvSpPr/>
                  <p:nvPr/>
                </p:nvSpPr>
                <p:spPr>
                  <a:xfrm>
                    <a:off x="4543079" y="4629510"/>
                    <a:ext cx="277444" cy="38368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444" h="383687" extrusionOk="0">
                        <a:moveTo>
                          <a:pt x="6283" y="497"/>
                        </a:moveTo>
                        <a:lnTo>
                          <a:pt x="272781" y="154230"/>
                        </a:lnTo>
                        <a:cubicBezTo>
                          <a:pt x="275643" y="155926"/>
                          <a:pt x="277410" y="159002"/>
                          <a:pt x="277445" y="162326"/>
                        </a:cubicBezTo>
                        <a:lnTo>
                          <a:pt x="277445" y="383688"/>
                        </a:lnTo>
                        <a:lnTo>
                          <a:pt x="2" y="223477"/>
                        </a:lnTo>
                        <a:lnTo>
                          <a:pt x="2" y="4402"/>
                        </a:lnTo>
                        <a:cubicBezTo>
                          <a:pt x="-62" y="2040"/>
                          <a:pt x="1803" y="68"/>
                          <a:pt x="4167" y="1"/>
                        </a:cubicBezTo>
                        <a:cubicBezTo>
                          <a:pt x="4904" y="-17"/>
                          <a:pt x="5632" y="154"/>
                          <a:pt x="6283" y="497"/>
                        </a:cubicBezTo>
                        <a:close/>
                      </a:path>
                    </a:pathLst>
                  </a:custGeom>
                  <a:solidFill>
                    <a:srgbClr val="F4F4F4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6" name="Google Shape;2196;p34">
                    <a:extLst>
                      <a:ext uri="{FF2B5EF4-FFF2-40B4-BE49-F238E27FC236}">
                        <a16:creationId xmlns:a16="http://schemas.microsoft.com/office/drawing/2014/main" id="{24E8B3E5-55C1-4671-AC4C-D8253EA4BC8A}"/>
                      </a:ext>
                    </a:extLst>
                  </p:cNvPr>
                  <p:cNvSpPr/>
                  <p:nvPr/>
                </p:nvSpPr>
                <p:spPr>
                  <a:xfrm>
                    <a:off x="4543081" y="4845081"/>
                    <a:ext cx="277062" cy="16802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062" h="168020" extrusionOk="0">
                        <a:moveTo>
                          <a:pt x="277062" y="168021"/>
                        </a:moveTo>
                        <a:lnTo>
                          <a:pt x="277062" y="160210"/>
                        </a:lnTo>
                        <a:lnTo>
                          <a:pt x="0" y="0"/>
                        </a:lnTo>
                        <a:lnTo>
                          <a:pt x="0" y="7906"/>
                        </a:lnTo>
                        <a:lnTo>
                          <a:pt x="277062" y="168021"/>
                        </a:lnTo>
                        <a:close/>
                      </a:path>
                    </a:pathLst>
                  </a:custGeom>
                  <a:solidFill>
                    <a:srgbClr val="DBDBDB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209" name="Google Shape;2197;p34">
                  <a:extLst>
                    <a:ext uri="{FF2B5EF4-FFF2-40B4-BE49-F238E27FC236}">
                      <a16:creationId xmlns:a16="http://schemas.microsoft.com/office/drawing/2014/main" id="{BDA9C880-6435-4FC5-AFC3-B8FC9252C79E}"/>
                    </a:ext>
                  </a:extLst>
                </p:cNvPr>
                <p:cNvSpPr/>
                <p:nvPr/>
              </p:nvSpPr>
              <p:spPr>
                <a:xfrm>
                  <a:off x="4550219" y="4641437"/>
                  <a:ext cx="3426" cy="1999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6" h="199929" extrusionOk="0">
                      <a:moveTo>
                        <a:pt x="0" y="199930"/>
                      </a:moveTo>
                      <a:lnTo>
                        <a:pt x="0" y="0"/>
                      </a:lnTo>
                      <a:lnTo>
                        <a:pt x="3426" y="2000"/>
                      </a:lnTo>
                      <a:lnTo>
                        <a:pt x="3426" y="198310"/>
                      </a:lnTo>
                      <a:lnTo>
                        <a:pt x="0" y="199930"/>
                      </a:lnTo>
                      <a:close/>
                    </a:path>
                  </a:pathLst>
                </a:custGeom>
                <a:solidFill>
                  <a:srgbClr val="1E3779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0" name="Google Shape;2198;p34">
                  <a:extLst>
                    <a:ext uri="{FF2B5EF4-FFF2-40B4-BE49-F238E27FC236}">
                      <a16:creationId xmlns:a16="http://schemas.microsoft.com/office/drawing/2014/main" id="{3B176100-956F-43E3-B02B-19ADE898B476}"/>
                    </a:ext>
                  </a:extLst>
                </p:cNvPr>
                <p:cNvSpPr/>
                <p:nvPr/>
              </p:nvSpPr>
              <p:spPr>
                <a:xfrm>
                  <a:off x="4553645" y="4643437"/>
                  <a:ext cx="257645" cy="3448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7645" h="344805" extrusionOk="0">
                      <a:moveTo>
                        <a:pt x="0" y="0"/>
                      </a:moveTo>
                      <a:lnTo>
                        <a:pt x="0" y="196310"/>
                      </a:lnTo>
                      <a:lnTo>
                        <a:pt x="257646" y="344805"/>
                      </a:lnTo>
                      <a:lnTo>
                        <a:pt x="257646" y="14887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1" name="Google Shape;2199;p34">
                  <a:extLst>
                    <a:ext uri="{FF2B5EF4-FFF2-40B4-BE49-F238E27FC236}">
                      <a16:creationId xmlns:a16="http://schemas.microsoft.com/office/drawing/2014/main" id="{81E10A64-C3DE-428A-8456-CC3C034958F1}"/>
                    </a:ext>
                  </a:extLst>
                </p:cNvPr>
                <p:cNvSpPr/>
                <p:nvPr/>
              </p:nvSpPr>
              <p:spPr>
                <a:xfrm>
                  <a:off x="4550219" y="4839747"/>
                  <a:ext cx="261072" cy="152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1072" h="152400" extrusionOk="0">
                      <a:moveTo>
                        <a:pt x="0" y="1619"/>
                      </a:moveTo>
                      <a:lnTo>
                        <a:pt x="261072" y="152400"/>
                      </a:lnTo>
                      <a:lnTo>
                        <a:pt x="261072" y="148495"/>
                      </a:lnTo>
                      <a:lnTo>
                        <a:pt x="3426" y="0"/>
                      </a:lnTo>
                      <a:lnTo>
                        <a:pt x="0" y="1619"/>
                      </a:lnTo>
                      <a:close/>
                    </a:path>
                  </a:pathLst>
                </a:custGeom>
                <a:solidFill>
                  <a:srgbClr val="031F6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00" name="Google Shape;2200;p34">
              <a:extLst>
                <a:ext uri="{FF2B5EF4-FFF2-40B4-BE49-F238E27FC236}">
                  <a16:creationId xmlns:a16="http://schemas.microsoft.com/office/drawing/2014/main" id="{4F5D8673-1D24-434A-B6F6-0FF162C221A5}"/>
                </a:ext>
              </a:extLst>
            </p:cNvPr>
            <p:cNvSpPr/>
            <p:nvPr/>
          </p:nvSpPr>
          <p:spPr>
            <a:xfrm>
              <a:off x="2723181" y="3858886"/>
              <a:ext cx="360479" cy="597446"/>
            </a:xfrm>
            <a:custGeom>
              <a:avLst/>
              <a:gdLst/>
              <a:ahLst/>
              <a:cxnLst/>
              <a:rect l="l" t="t" r="r" b="b"/>
              <a:pathLst>
                <a:path w="360479" h="597446" extrusionOk="0">
                  <a:moveTo>
                    <a:pt x="124331" y="5750"/>
                  </a:moveTo>
                  <a:cubicBezTo>
                    <a:pt x="117764" y="22133"/>
                    <a:pt x="134515" y="42326"/>
                    <a:pt x="179153" y="56327"/>
                  </a:cubicBezTo>
                  <a:cubicBezTo>
                    <a:pt x="223792" y="70329"/>
                    <a:pt x="227884" y="52327"/>
                    <a:pt x="227884" y="52327"/>
                  </a:cubicBezTo>
                  <a:cubicBezTo>
                    <a:pt x="257639" y="65662"/>
                    <a:pt x="286647" y="80607"/>
                    <a:pt x="314781" y="97094"/>
                  </a:cubicBezTo>
                  <a:cubicBezTo>
                    <a:pt x="341526" y="116144"/>
                    <a:pt x="353424" y="170151"/>
                    <a:pt x="357040" y="261782"/>
                  </a:cubicBezTo>
                  <a:cubicBezTo>
                    <a:pt x="361228" y="367890"/>
                    <a:pt x="361609" y="525243"/>
                    <a:pt x="358087" y="552389"/>
                  </a:cubicBezTo>
                  <a:cubicBezTo>
                    <a:pt x="358087" y="552389"/>
                    <a:pt x="307929" y="602300"/>
                    <a:pt x="243874" y="597062"/>
                  </a:cubicBezTo>
                  <a:cubicBezTo>
                    <a:pt x="179820" y="591823"/>
                    <a:pt x="71793" y="534863"/>
                    <a:pt x="45619" y="491144"/>
                  </a:cubicBezTo>
                  <a:cubicBezTo>
                    <a:pt x="46285" y="398180"/>
                    <a:pt x="57231" y="383035"/>
                    <a:pt x="42193" y="329219"/>
                  </a:cubicBezTo>
                  <a:cubicBezTo>
                    <a:pt x="7738" y="206632"/>
                    <a:pt x="-10441" y="156340"/>
                    <a:pt x="6311" y="74901"/>
                  </a:cubicBezTo>
                  <a:cubicBezTo>
                    <a:pt x="20111" y="7750"/>
                    <a:pt x="39432" y="-632"/>
                    <a:pt x="65987" y="35"/>
                  </a:cubicBezTo>
                  <a:cubicBezTo>
                    <a:pt x="85522" y="901"/>
                    <a:pt x="104997" y="2816"/>
                    <a:pt x="124331" y="575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201;p34">
              <a:extLst>
                <a:ext uri="{FF2B5EF4-FFF2-40B4-BE49-F238E27FC236}">
                  <a16:creationId xmlns:a16="http://schemas.microsoft.com/office/drawing/2014/main" id="{74FBA9D9-EF9F-40C6-A858-87F032E69D7E}"/>
                </a:ext>
              </a:extLst>
            </p:cNvPr>
            <p:cNvSpPr/>
            <p:nvPr/>
          </p:nvSpPr>
          <p:spPr>
            <a:xfrm>
              <a:off x="2983060" y="3959444"/>
              <a:ext cx="457273" cy="356362"/>
            </a:xfrm>
            <a:custGeom>
              <a:avLst/>
              <a:gdLst/>
              <a:ahLst/>
              <a:cxnLst/>
              <a:rect l="l" t="t" r="r" b="b"/>
              <a:pathLst>
                <a:path w="457273" h="356362" extrusionOk="0">
                  <a:moveTo>
                    <a:pt x="202618" y="274952"/>
                  </a:moveTo>
                  <a:cubicBezTo>
                    <a:pt x="150080" y="288192"/>
                    <a:pt x="137707" y="255045"/>
                    <a:pt x="130759" y="227327"/>
                  </a:cubicBezTo>
                  <a:cubicBezTo>
                    <a:pt x="114388" y="160938"/>
                    <a:pt x="104870" y="100931"/>
                    <a:pt x="92497" y="62831"/>
                  </a:cubicBezTo>
                  <a:cubicBezTo>
                    <a:pt x="77840" y="18254"/>
                    <a:pt x="62421" y="11110"/>
                    <a:pt x="40721" y="2442"/>
                  </a:cubicBezTo>
                  <a:cubicBezTo>
                    <a:pt x="15308" y="-7750"/>
                    <a:pt x="-6868" y="13777"/>
                    <a:pt x="1983" y="70450"/>
                  </a:cubicBezTo>
                  <a:cubicBezTo>
                    <a:pt x="11977" y="137602"/>
                    <a:pt x="25112" y="184750"/>
                    <a:pt x="50143" y="264094"/>
                  </a:cubicBezTo>
                  <a:cubicBezTo>
                    <a:pt x="56711" y="284858"/>
                    <a:pt x="71368" y="321720"/>
                    <a:pt x="93354" y="339532"/>
                  </a:cubicBezTo>
                  <a:cubicBezTo>
                    <a:pt x="120575" y="361439"/>
                    <a:pt x="161406" y="360487"/>
                    <a:pt x="223367" y="345152"/>
                  </a:cubicBezTo>
                  <a:cubicBezTo>
                    <a:pt x="249731" y="338579"/>
                    <a:pt x="278665" y="322768"/>
                    <a:pt x="328062" y="299432"/>
                  </a:cubicBezTo>
                  <a:cubicBezTo>
                    <a:pt x="341482" y="293240"/>
                    <a:pt x="351952" y="289049"/>
                    <a:pt x="377650" y="277048"/>
                  </a:cubicBezTo>
                  <a:cubicBezTo>
                    <a:pt x="403454" y="265427"/>
                    <a:pt x="426079" y="247749"/>
                    <a:pt x="443608" y="225517"/>
                  </a:cubicBezTo>
                  <a:cubicBezTo>
                    <a:pt x="457123" y="205991"/>
                    <a:pt x="458931" y="196942"/>
                    <a:pt x="456171" y="192371"/>
                  </a:cubicBezTo>
                  <a:cubicBezTo>
                    <a:pt x="453411" y="187799"/>
                    <a:pt x="446654" y="187989"/>
                    <a:pt x="439420" y="196181"/>
                  </a:cubicBezTo>
                  <a:cubicBezTo>
                    <a:pt x="428946" y="210097"/>
                    <a:pt x="416049" y="222003"/>
                    <a:pt x="401349" y="231328"/>
                  </a:cubicBezTo>
                  <a:cubicBezTo>
                    <a:pt x="401349" y="231328"/>
                    <a:pt x="417910" y="214088"/>
                    <a:pt x="426952" y="202753"/>
                  </a:cubicBezTo>
                  <a:cubicBezTo>
                    <a:pt x="435249" y="193018"/>
                    <a:pt x="442167" y="182179"/>
                    <a:pt x="447510" y="170558"/>
                  </a:cubicBezTo>
                  <a:cubicBezTo>
                    <a:pt x="452269" y="159224"/>
                    <a:pt x="442466" y="143698"/>
                    <a:pt x="435042" y="151508"/>
                  </a:cubicBezTo>
                  <a:cubicBezTo>
                    <a:pt x="427618" y="159319"/>
                    <a:pt x="424001" y="167987"/>
                    <a:pt x="410391" y="184274"/>
                  </a:cubicBezTo>
                  <a:cubicBezTo>
                    <a:pt x="403232" y="192971"/>
                    <a:pt x="395051" y="200781"/>
                    <a:pt x="386025" y="207515"/>
                  </a:cubicBezTo>
                  <a:cubicBezTo>
                    <a:pt x="394480" y="196114"/>
                    <a:pt x="401992" y="184036"/>
                    <a:pt x="408487" y="171416"/>
                  </a:cubicBezTo>
                  <a:cubicBezTo>
                    <a:pt x="414319" y="161509"/>
                    <a:pt x="417162" y="150137"/>
                    <a:pt x="416673" y="138649"/>
                  </a:cubicBezTo>
                  <a:cubicBezTo>
                    <a:pt x="416673" y="132744"/>
                    <a:pt x="407916" y="125696"/>
                    <a:pt x="400016" y="136935"/>
                  </a:cubicBezTo>
                  <a:cubicBezTo>
                    <a:pt x="392117" y="148174"/>
                    <a:pt x="388310" y="162938"/>
                    <a:pt x="371463" y="180179"/>
                  </a:cubicBezTo>
                  <a:cubicBezTo>
                    <a:pt x="359471" y="192656"/>
                    <a:pt x="349287" y="199800"/>
                    <a:pt x="348906" y="196371"/>
                  </a:cubicBezTo>
                  <a:cubicBezTo>
                    <a:pt x="348525" y="192942"/>
                    <a:pt x="356235" y="185989"/>
                    <a:pt x="360518" y="171511"/>
                  </a:cubicBezTo>
                  <a:cubicBezTo>
                    <a:pt x="364801" y="157033"/>
                    <a:pt x="360518" y="141602"/>
                    <a:pt x="352428" y="139888"/>
                  </a:cubicBezTo>
                  <a:cubicBezTo>
                    <a:pt x="344338" y="138173"/>
                    <a:pt x="345956" y="138649"/>
                    <a:pt x="339579" y="152270"/>
                  </a:cubicBezTo>
                  <a:cubicBezTo>
                    <a:pt x="333202" y="165891"/>
                    <a:pt x="323779" y="176178"/>
                    <a:pt x="315879" y="196181"/>
                  </a:cubicBezTo>
                  <a:cubicBezTo>
                    <a:pt x="311874" y="210192"/>
                    <a:pt x="304450" y="222993"/>
                    <a:pt x="294274" y="233423"/>
                  </a:cubicBezTo>
                  <a:cubicBezTo>
                    <a:pt x="281330" y="247139"/>
                    <a:pt x="252681" y="262856"/>
                    <a:pt x="202618" y="274952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202;p34">
              <a:extLst>
                <a:ext uri="{FF2B5EF4-FFF2-40B4-BE49-F238E27FC236}">
                  <a16:creationId xmlns:a16="http://schemas.microsoft.com/office/drawing/2014/main" id="{05A5161C-00DD-4D36-AA56-90DB867382CF}"/>
                </a:ext>
              </a:extLst>
            </p:cNvPr>
            <p:cNvSpPr/>
            <p:nvPr/>
          </p:nvSpPr>
          <p:spPr>
            <a:xfrm>
              <a:off x="2966834" y="3952080"/>
              <a:ext cx="139371" cy="203905"/>
            </a:xfrm>
            <a:custGeom>
              <a:avLst/>
              <a:gdLst/>
              <a:ahLst/>
              <a:cxnLst/>
              <a:rect l="l" t="t" r="r" b="b"/>
              <a:pathLst>
                <a:path w="139371" h="203905" extrusionOk="0">
                  <a:moveTo>
                    <a:pt x="37531" y="948"/>
                  </a:moveTo>
                  <a:cubicBezTo>
                    <a:pt x="72652" y="-4291"/>
                    <a:pt x="97493" y="11521"/>
                    <a:pt x="113007" y="64861"/>
                  </a:cubicBezTo>
                  <a:cubicBezTo>
                    <a:pt x="128521" y="118201"/>
                    <a:pt x="139371" y="161921"/>
                    <a:pt x="139371" y="161921"/>
                  </a:cubicBezTo>
                  <a:cubicBezTo>
                    <a:pt x="125444" y="182018"/>
                    <a:pt x="104367" y="196020"/>
                    <a:pt x="80456" y="201068"/>
                  </a:cubicBezTo>
                  <a:cubicBezTo>
                    <a:pt x="38483" y="211165"/>
                    <a:pt x="23350" y="191067"/>
                    <a:pt x="23350" y="191067"/>
                  </a:cubicBezTo>
                  <a:cubicBezTo>
                    <a:pt x="23350" y="191067"/>
                    <a:pt x="11643" y="135251"/>
                    <a:pt x="4314" y="97246"/>
                  </a:cubicBezTo>
                  <a:cubicBezTo>
                    <a:pt x="-3015" y="59241"/>
                    <a:pt x="-5965" y="7330"/>
                    <a:pt x="37531" y="94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203;p34">
              <a:extLst>
                <a:ext uri="{FF2B5EF4-FFF2-40B4-BE49-F238E27FC236}">
                  <a16:creationId xmlns:a16="http://schemas.microsoft.com/office/drawing/2014/main" id="{3E501264-CCAA-4DCB-9DBA-DABA2D2DB58A}"/>
                </a:ext>
              </a:extLst>
            </p:cNvPr>
            <p:cNvSpPr/>
            <p:nvPr/>
          </p:nvSpPr>
          <p:spPr>
            <a:xfrm>
              <a:off x="2806828" y="3576743"/>
              <a:ext cx="227254" cy="250802"/>
            </a:xfrm>
            <a:custGeom>
              <a:avLst/>
              <a:gdLst/>
              <a:ahLst/>
              <a:cxnLst/>
              <a:rect l="l" t="t" r="r" b="b"/>
              <a:pathLst>
                <a:path w="227254" h="250802" extrusionOk="0">
                  <a:moveTo>
                    <a:pt x="214479" y="103393"/>
                  </a:moveTo>
                  <a:cubicBezTo>
                    <a:pt x="214479" y="103393"/>
                    <a:pt x="269967" y="18907"/>
                    <a:pt x="149663" y="1762"/>
                  </a:cubicBezTo>
                  <a:cubicBezTo>
                    <a:pt x="62861" y="-10716"/>
                    <a:pt x="6896" y="45100"/>
                    <a:pt x="710" y="105679"/>
                  </a:cubicBezTo>
                  <a:cubicBezTo>
                    <a:pt x="-5477" y="163496"/>
                    <a:pt x="30119" y="223599"/>
                    <a:pt x="55817" y="247411"/>
                  </a:cubicBezTo>
                  <a:cubicBezTo>
                    <a:pt x="68381" y="251888"/>
                    <a:pt x="95316" y="254460"/>
                    <a:pt x="130817" y="238363"/>
                  </a:cubicBezTo>
                  <a:cubicBezTo>
                    <a:pt x="132258" y="222532"/>
                    <a:pt x="132799" y="206635"/>
                    <a:pt x="132435" y="190738"/>
                  </a:cubicBezTo>
                  <a:cubicBezTo>
                    <a:pt x="132435" y="190738"/>
                    <a:pt x="90748" y="101869"/>
                    <a:pt x="214479" y="10339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204;p34">
              <a:extLst>
                <a:ext uri="{FF2B5EF4-FFF2-40B4-BE49-F238E27FC236}">
                  <a16:creationId xmlns:a16="http://schemas.microsoft.com/office/drawing/2014/main" id="{DF52C575-A358-4473-A925-CF2665F1A7B1}"/>
                </a:ext>
              </a:extLst>
            </p:cNvPr>
            <p:cNvSpPr/>
            <p:nvPr/>
          </p:nvSpPr>
          <p:spPr>
            <a:xfrm>
              <a:off x="3061186" y="4495381"/>
              <a:ext cx="201300" cy="278129"/>
            </a:xfrm>
            <a:custGeom>
              <a:avLst/>
              <a:gdLst/>
              <a:ahLst/>
              <a:cxnLst/>
              <a:rect l="l" t="t" r="r" b="b"/>
              <a:pathLst>
                <a:path w="201300" h="278129" extrusionOk="0">
                  <a:moveTo>
                    <a:pt x="201301" y="253746"/>
                  </a:moveTo>
                  <a:lnTo>
                    <a:pt x="201301" y="0"/>
                  </a:lnTo>
                  <a:lnTo>
                    <a:pt x="0" y="117634"/>
                  </a:lnTo>
                  <a:lnTo>
                    <a:pt x="77570" y="278130"/>
                  </a:lnTo>
                  <a:lnTo>
                    <a:pt x="201301" y="253746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Google Shape;2205;p34">
              <a:extLst>
                <a:ext uri="{FF2B5EF4-FFF2-40B4-BE49-F238E27FC236}">
                  <a16:creationId xmlns:a16="http://schemas.microsoft.com/office/drawing/2014/main" id="{A7FEBFE1-EEF5-4AA8-8FE5-9F45DABA938D}"/>
                </a:ext>
              </a:extLst>
            </p:cNvPr>
            <p:cNvSpPr/>
            <p:nvPr/>
          </p:nvSpPr>
          <p:spPr>
            <a:xfrm>
              <a:off x="3130570" y="4465187"/>
              <a:ext cx="131916" cy="77057"/>
            </a:xfrm>
            <a:custGeom>
              <a:avLst/>
              <a:gdLst/>
              <a:ahLst/>
              <a:cxnLst/>
              <a:rect l="l" t="t" r="r" b="b"/>
              <a:pathLst>
                <a:path w="131916" h="77057" extrusionOk="0">
                  <a:moveTo>
                    <a:pt x="0" y="44863"/>
                  </a:moveTo>
                  <a:lnTo>
                    <a:pt x="77284" y="0"/>
                  </a:lnTo>
                  <a:lnTo>
                    <a:pt x="131916" y="31528"/>
                  </a:lnTo>
                  <a:lnTo>
                    <a:pt x="51777" y="77057"/>
                  </a:lnTo>
                  <a:lnTo>
                    <a:pt x="0" y="4486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7073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28652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xtraction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8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3CD8CF6-48EA-4809-BAC3-9EFADC4C5449}"/>
              </a:ext>
            </a:extLst>
          </p:cNvPr>
          <p:cNvSpPr txBox="1">
            <a:spLocks/>
          </p:cNvSpPr>
          <p:nvPr/>
        </p:nvSpPr>
        <p:spPr>
          <a:xfrm>
            <a:off x="457199" y="1351800"/>
            <a:ext cx="8930641" cy="379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latin typeface="Barlow Light" panose="020B0604020202020204" charset="0"/>
              </a:rPr>
              <a:t>Job postings from Indeed (Web Scrape)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Indeed.ca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Indeed.com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Indeed.sg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Indeed.au</a:t>
            </a:r>
          </a:p>
          <a:p>
            <a:r>
              <a:rPr lang="en-CA" sz="1800" dirty="0">
                <a:latin typeface="Barlow Light" panose="020B0604020202020204" charset="0"/>
              </a:rPr>
              <a:t>Health and wellness surveys (csv) 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Kaggle</a:t>
            </a:r>
          </a:p>
          <a:p>
            <a:r>
              <a:rPr lang="en-CA" sz="1800" dirty="0">
                <a:latin typeface="Barlow Light" panose="020B0604020202020204" charset="0"/>
              </a:rPr>
              <a:t>Latitude and Longitude (API)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api.opencagedata.com</a:t>
            </a:r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pPr lvl="1"/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pPr marL="571500" lvl="1" indent="0">
              <a:buNone/>
            </a:pPr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	</a:t>
            </a:r>
          </a:p>
          <a:p>
            <a:endParaRPr lang="en-CA" dirty="0">
              <a:latin typeface="Barlow Light" panose="020B0604020202020204" charset="0"/>
            </a:endParaRPr>
          </a:p>
        </p:txBody>
      </p:sp>
      <p:pic>
        <p:nvPicPr>
          <p:cNvPr id="3074" name="Picture 2" descr="Image result for beautiful soup logo">
            <a:extLst>
              <a:ext uri="{FF2B5EF4-FFF2-40B4-BE49-F238E27FC236}">
                <a16:creationId xmlns:a16="http://schemas.microsoft.com/office/drawing/2014/main" id="{F5CB9060-7FCB-47D1-A9FB-5B05CED824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1122" y="1351800"/>
            <a:ext cx="2944882" cy="1555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xplosion: 8 Points 1">
            <a:extLst>
              <a:ext uri="{FF2B5EF4-FFF2-40B4-BE49-F238E27FC236}">
                <a16:creationId xmlns:a16="http://schemas.microsoft.com/office/drawing/2014/main" id="{401E47C5-8EF9-4704-9209-3BF2CABAF113}"/>
              </a:ext>
            </a:extLst>
          </p:cNvPr>
          <p:cNvSpPr/>
          <p:nvPr/>
        </p:nvSpPr>
        <p:spPr>
          <a:xfrm>
            <a:off x="5453650" y="428313"/>
            <a:ext cx="2036648" cy="1283039"/>
          </a:xfrm>
          <a:prstGeom prst="irregularSeal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/>
              <a:t>Challenges!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917B633-DF38-4E5F-96FD-B7B95A0E11A1}"/>
              </a:ext>
            </a:extLst>
          </p:cNvPr>
          <p:cNvSpPr txBox="1"/>
          <p:nvPr/>
        </p:nvSpPr>
        <p:spPr>
          <a:xfrm>
            <a:off x="5901122" y="3247650"/>
            <a:ext cx="2944882" cy="1169551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CA" u="sng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Solutions:</a:t>
            </a:r>
          </a:p>
          <a:p>
            <a:r>
              <a:rPr lang="en-CA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1/ User Agent</a:t>
            </a:r>
          </a:p>
          <a:p>
            <a:r>
              <a:rPr lang="en-CA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2/ Proxy</a:t>
            </a:r>
          </a:p>
          <a:p>
            <a:r>
              <a:rPr lang="en-CA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3/ VPN</a:t>
            </a:r>
          </a:p>
          <a:p>
            <a:r>
              <a:rPr lang="en-CA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4/ Random </a:t>
            </a:r>
            <a:r>
              <a:rPr lang="en-CA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  <a:sym typeface="Barlow Light"/>
              </a:rPr>
              <a:t>time delay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ransformation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9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0C0ECFD-2B7F-4EAA-8641-A744150483D5}"/>
              </a:ext>
            </a:extLst>
          </p:cNvPr>
          <p:cNvSpPr txBox="1">
            <a:spLocks/>
          </p:cNvSpPr>
          <p:nvPr/>
        </p:nvSpPr>
        <p:spPr>
          <a:xfrm>
            <a:off x="622569" y="1449077"/>
            <a:ext cx="5869459" cy="2887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latin typeface="Barlow Light" panose="020B0604020202020204" charset="0"/>
              </a:rPr>
              <a:t>Data inconsistencies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Indeed job postings (location)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Survey responses (gender, typos) </a:t>
            </a:r>
          </a:p>
          <a:p>
            <a:pPr marL="457200" lvl="1">
              <a:buFont typeface="Barlow Light"/>
              <a:buChar char="▸"/>
            </a:pPr>
            <a:endParaRPr lang="en-CA" sz="1800" dirty="0">
              <a:latin typeface="Barlow Light" panose="020B0604020202020204" charset="0"/>
            </a:endParaRPr>
          </a:p>
          <a:p>
            <a:r>
              <a:rPr lang="en-CA" sz="1800" dirty="0">
                <a:latin typeface="Barlow Light" panose="020B0604020202020204" charset="0"/>
              </a:rPr>
              <a:t>Foreign Keys 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Country code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Job type code</a:t>
            </a:r>
          </a:p>
          <a:p>
            <a:pPr lvl="1"/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endParaRPr lang="en-CA" dirty="0">
              <a:latin typeface="Barlow Light" panose="020B0604020202020204" charset="0"/>
            </a:endParaRPr>
          </a:p>
        </p:txBody>
      </p:sp>
      <p:grpSp>
        <p:nvGrpSpPr>
          <p:cNvPr id="6" name="Google Shape;3616;p38">
            <a:extLst>
              <a:ext uri="{FF2B5EF4-FFF2-40B4-BE49-F238E27FC236}">
                <a16:creationId xmlns:a16="http://schemas.microsoft.com/office/drawing/2014/main" id="{86F3A65A-9211-469B-9BC9-BA7AE2797672}"/>
              </a:ext>
            </a:extLst>
          </p:cNvPr>
          <p:cNvGrpSpPr/>
          <p:nvPr/>
        </p:nvGrpSpPr>
        <p:grpSpPr>
          <a:xfrm>
            <a:off x="5223754" y="1146950"/>
            <a:ext cx="3198301" cy="3085068"/>
            <a:chOff x="2244025" y="145922"/>
            <a:chExt cx="4382832" cy="4762352"/>
          </a:xfrm>
        </p:grpSpPr>
        <p:grpSp>
          <p:nvGrpSpPr>
            <p:cNvPr id="7" name="Google Shape;3617;p38">
              <a:extLst>
                <a:ext uri="{FF2B5EF4-FFF2-40B4-BE49-F238E27FC236}">
                  <a16:creationId xmlns:a16="http://schemas.microsoft.com/office/drawing/2014/main" id="{B71284FB-DBF3-4D19-9472-3C219D96A99F}"/>
                </a:ext>
              </a:extLst>
            </p:cNvPr>
            <p:cNvGrpSpPr/>
            <p:nvPr/>
          </p:nvGrpSpPr>
          <p:grpSpPr>
            <a:xfrm>
              <a:off x="4124355" y="330300"/>
              <a:ext cx="2502502" cy="3373185"/>
              <a:chOff x="5785580" y="1232275"/>
              <a:chExt cx="2502502" cy="3373185"/>
            </a:xfrm>
          </p:grpSpPr>
          <p:sp>
            <p:nvSpPr>
              <p:cNvPr id="155" name="Google Shape;3618;p38">
                <a:extLst>
                  <a:ext uri="{FF2B5EF4-FFF2-40B4-BE49-F238E27FC236}">
                    <a16:creationId xmlns:a16="http://schemas.microsoft.com/office/drawing/2014/main" id="{26A5583C-0C62-4BBB-B990-082FC4CB45D1}"/>
                  </a:ext>
                </a:extLst>
              </p:cNvPr>
              <p:cNvSpPr/>
              <p:nvPr/>
            </p:nvSpPr>
            <p:spPr>
              <a:xfrm>
                <a:off x="6314607" y="3851433"/>
                <a:ext cx="944490" cy="545783"/>
              </a:xfrm>
              <a:custGeom>
                <a:avLst/>
                <a:gdLst/>
                <a:ahLst/>
                <a:cxnLst/>
                <a:rect l="l" t="t" r="r" b="b"/>
                <a:pathLst>
                  <a:path w="944490" h="545783" extrusionOk="0">
                    <a:moveTo>
                      <a:pt x="500911" y="532447"/>
                    </a:moveTo>
                    <a:lnTo>
                      <a:pt x="23232" y="256222"/>
                    </a:lnTo>
                    <a:cubicBezTo>
                      <a:pt x="-11153" y="236411"/>
                      <a:pt x="-6867" y="201644"/>
                      <a:pt x="32757" y="178689"/>
                    </a:cubicBezTo>
                    <a:lnTo>
                      <a:pt x="342129" y="0"/>
                    </a:lnTo>
                    <a:lnTo>
                      <a:pt x="944490" y="347758"/>
                    </a:lnTo>
                    <a:lnTo>
                      <a:pt x="635023" y="526447"/>
                    </a:lnTo>
                    <a:cubicBezTo>
                      <a:pt x="595494" y="549783"/>
                      <a:pt x="535296" y="552259"/>
                      <a:pt x="500911" y="532447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" name="Google Shape;3619;p38">
                <a:extLst>
                  <a:ext uri="{FF2B5EF4-FFF2-40B4-BE49-F238E27FC236}">
                    <a16:creationId xmlns:a16="http://schemas.microsoft.com/office/drawing/2014/main" id="{CD0A1BCC-7F00-4FB9-B2E6-7DFECEC7AE4E}"/>
                  </a:ext>
                </a:extLst>
              </p:cNvPr>
              <p:cNvSpPr/>
              <p:nvPr/>
            </p:nvSpPr>
            <p:spPr>
              <a:xfrm>
                <a:off x="6357717" y="3826573"/>
                <a:ext cx="944624" cy="545413"/>
              </a:xfrm>
              <a:custGeom>
                <a:avLst/>
                <a:gdLst/>
                <a:ahLst/>
                <a:cxnLst/>
                <a:rect l="l" t="t" r="r" b="b"/>
                <a:pathLst>
                  <a:path w="944624" h="545413" extrusionOk="0">
                    <a:moveTo>
                      <a:pt x="500854" y="531971"/>
                    </a:moveTo>
                    <a:lnTo>
                      <a:pt x="23271" y="256223"/>
                    </a:lnTo>
                    <a:cubicBezTo>
                      <a:pt x="-11210" y="236315"/>
                      <a:pt x="-6828" y="201644"/>
                      <a:pt x="32796" y="178689"/>
                    </a:cubicBezTo>
                    <a:lnTo>
                      <a:pt x="342263" y="0"/>
                    </a:lnTo>
                    <a:lnTo>
                      <a:pt x="944624" y="347758"/>
                    </a:lnTo>
                    <a:lnTo>
                      <a:pt x="635252" y="526352"/>
                    </a:lnTo>
                    <a:cubicBezTo>
                      <a:pt x="595533" y="549402"/>
                      <a:pt x="535335" y="551879"/>
                      <a:pt x="500854" y="531971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3620;p38">
                <a:extLst>
                  <a:ext uri="{FF2B5EF4-FFF2-40B4-BE49-F238E27FC236}">
                    <a16:creationId xmlns:a16="http://schemas.microsoft.com/office/drawing/2014/main" id="{777C8C3D-5C70-4530-8564-15ECFD405AC5}"/>
                  </a:ext>
                </a:extLst>
              </p:cNvPr>
              <p:cNvSpPr/>
              <p:nvPr/>
            </p:nvSpPr>
            <p:spPr>
              <a:xfrm>
                <a:off x="7274623" y="4156138"/>
                <a:ext cx="27813" cy="18192"/>
              </a:xfrm>
              <a:custGeom>
                <a:avLst/>
                <a:gdLst/>
                <a:ahLst/>
                <a:cxnLst/>
                <a:rect l="l" t="t" r="r" b="b"/>
                <a:pathLst>
                  <a:path w="27813" h="18192" extrusionOk="0">
                    <a:moveTo>
                      <a:pt x="27813" y="18193"/>
                    </a:moveTo>
                    <a:lnTo>
                      <a:pt x="27813" y="0"/>
                    </a:lnTo>
                    <a:lnTo>
                      <a:pt x="0" y="16002"/>
                    </a:lnTo>
                    <a:lnTo>
                      <a:pt x="27813" y="18193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" name="Google Shape;3621;p38">
                <a:extLst>
                  <a:ext uri="{FF2B5EF4-FFF2-40B4-BE49-F238E27FC236}">
                    <a16:creationId xmlns:a16="http://schemas.microsoft.com/office/drawing/2014/main" id="{1C56B124-ABAC-436D-B835-77440366451D}"/>
                  </a:ext>
                </a:extLst>
              </p:cNvPr>
              <p:cNvSpPr/>
              <p:nvPr/>
            </p:nvSpPr>
            <p:spPr>
              <a:xfrm>
                <a:off x="6357747" y="4031456"/>
                <a:ext cx="28575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8575" h="18478" extrusionOk="0">
                    <a:moveTo>
                      <a:pt x="0" y="18479"/>
                    </a:moveTo>
                    <a:lnTo>
                      <a:pt x="0" y="0"/>
                    </a:lnTo>
                    <a:lnTo>
                      <a:pt x="28575" y="11811"/>
                    </a:lnTo>
                    <a:lnTo>
                      <a:pt x="0" y="18479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" name="Google Shape;3622;p38">
                <a:extLst>
                  <a:ext uri="{FF2B5EF4-FFF2-40B4-BE49-F238E27FC236}">
                    <a16:creationId xmlns:a16="http://schemas.microsoft.com/office/drawing/2014/main" id="{71BA1EF6-5C8A-40B3-A5F2-E0D064E0C3FB}"/>
                  </a:ext>
                </a:extLst>
              </p:cNvPr>
              <p:cNvSpPr/>
              <p:nvPr/>
            </p:nvSpPr>
            <p:spPr>
              <a:xfrm>
                <a:off x="6357717" y="3808380"/>
                <a:ext cx="944624" cy="545381"/>
              </a:xfrm>
              <a:custGeom>
                <a:avLst/>
                <a:gdLst/>
                <a:ahLst/>
                <a:cxnLst/>
                <a:rect l="l" t="t" r="r" b="b"/>
                <a:pathLst>
                  <a:path w="944624" h="545381" extrusionOk="0">
                    <a:moveTo>
                      <a:pt x="500854" y="531971"/>
                    </a:moveTo>
                    <a:lnTo>
                      <a:pt x="23271" y="256223"/>
                    </a:lnTo>
                    <a:cubicBezTo>
                      <a:pt x="-11210" y="236316"/>
                      <a:pt x="-6828" y="201549"/>
                      <a:pt x="32796" y="178594"/>
                    </a:cubicBezTo>
                    <a:lnTo>
                      <a:pt x="342263" y="0"/>
                    </a:lnTo>
                    <a:lnTo>
                      <a:pt x="944624" y="347758"/>
                    </a:lnTo>
                    <a:lnTo>
                      <a:pt x="635157" y="526352"/>
                    </a:lnTo>
                    <a:cubicBezTo>
                      <a:pt x="595533" y="549307"/>
                      <a:pt x="535335" y="551879"/>
                      <a:pt x="500854" y="531971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" name="Google Shape;3623;p38">
                <a:extLst>
                  <a:ext uri="{FF2B5EF4-FFF2-40B4-BE49-F238E27FC236}">
                    <a16:creationId xmlns:a16="http://schemas.microsoft.com/office/drawing/2014/main" id="{D6B3C691-810E-407F-9735-C9F385A0732A}"/>
                  </a:ext>
                </a:extLst>
              </p:cNvPr>
              <p:cNvSpPr/>
              <p:nvPr/>
            </p:nvSpPr>
            <p:spPr>
              <a:xfrm>
                <a:off x="6627114" y="3561873"/>
                <a:ext cx="675322" cy="594264"/>
              </a:xfrm>
              <a:custGeom>
                <a:avLst/>
                <a:gdLst/>
                <a:ahLst/>
                <a:cxnLst/>
                <a:rect l="l" t="t" r="r" b="b"/>
                <a:pathLst>
                  <a:path w="675322" h="594264" extrusionOk="0">
                    <a:moveTo>
                      <a:pt x="74581" y="247269"/>
                    </a:moveTo>
                    <a:lnTo>
                      <a:pt x="0" y="0"/>
                    </a:lnTo>
                    <a:lnTo>
                      <a:pt x="608933" y="349186"/>
                    </a:lnTo>
                    <a:lnTo>
                      <a:pt x="675322" y="594265"/>
                    </a:lnTo>
                    <a:lnTo>
                      <a:pt x="74581" y="247269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" name="Google Shape;3624;p38">
                <a:extLst>
                  <a:ext uri="{FF2B5EF4-FFF2-40B4-BE49-F238E27FC236}">
                    <a16:creationId xmlns:a16="http://schemas.microsoft.com/office/drawing/2014/main" id="{AC90ECA1-CB36-4412-9CC7-2E85CF627D8D}"/>
                  </a:ext>
                </a:extLst>
              </p:cNvPr>
              <p:cNvSpPr/>
              <p:nvPr/>
            </p:nvSpPr>
            <p:spPr>
              <a:xfrm>
                <a:off x="7276147" y="4135183"/>
                <a:ext cx="26289" cy="31146"/>
              </a:xfrm>
              <a:custGeom>
                <a:avLst/>
                <a:gdLst/>
                <a:ahLst/>
                <a:cxnLst/>
                <a:rect l="l" t="t" r="r" b="b"/>
                <a:pathLst>
                  <a:path w="26289" h="31146" extrusionOk="0">
                    <a:moveTo>
                      <a:pt x="8572" y="31147"/>
                    </a:moveTo>
                    <a:lnTo>
                      <a:pt x="26289" y="2095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3625;p38">
                <a:extLst>
                  <a:ext uri="{FF2B5EF4-FFF2-40B4-BE49-F238E27FC236}">
                    <a16:creationId xmlns:a16="http://schemas.microsoft.com/office/drawing/2014/main" id="{84F30E2B-C19C-4FD2-B2AF-9E0783137A10}"/>
                  </a:ext>
                </a:extLst>
              </p:cNvPr>
              <p:cNvSpPr/>
              <p:nvPr/>
            </p:nvSpPr>
            <p:spPr>
              <a:xfrm>
                <a:off x="6607968" y="3571113"/>
                <a:ext cx="676751" cy="595217"/>
              </a:xfrm>
              <a:custGeom>
                <a:avLst/>
                <a:gdLst/>
                <a:ahLst/>
                <a:cxnLst/>
                <a:rect l="l" t="t" r="r" b="b"/>
                <a:pathLst>
                  <a:path w="676751" h="595217" extrusionOk="0">
                    <a:moveTo>
                      <a:pt x="74486" y="247364"/>
                    </a:moveTo>
                    <a:lnTo>
                      <a:pt x="0" y="0"/>
                    </a:lnTo>
                    <a:lnTo>
                      <a:pt x="608933" y="349282"/>
                    </a:lnTo>
                    <a:lnTo>
                      <a:pt x="676751" y="595217"/>
                    </a:lnTo>
                    <a:lnTo>
                      <a:pt x="74486" y="247364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3626;p38">
                <a:extLst>
                  <a:ext uri="{FF2B5EF4-FFF2-40B4-BE49-F238E27FC236}">
                    <a16:creationId xmlns:a16="http://schemas.microsoft.com/office/drawing/2014/main" id="{486FAEF4-9B2F-4AC7-A5FA-63803EFC8891}"/>
                  </a:ext>
                </a:extLst>
              </p:cNvPr>
              <p:cNvSpPr/>
              <p:nvPr/>
            </p:nvSpPr>
            <p:spPr>
              <a:xfrm>
                <a:off x="5811392" y="1232275"/>
                <a:ext cx="2476690" cy="3358041"/>
              </a:xfrm>
              <a:custGeom>
                <a:avLst/>
                <a:gdLst/>
                <a:ahLst/>
                <a:cxnLst/>
                <a:rect l="l" t="t" r="r" b="b"/>
                <a:pathLst>
                  <a:path w="2476690" h="3358041" extrusionOk="0">
                    <a:moveTo>
                      <a:pt x="2416778" y="3350869"/>
                    </a:moveTo>
                    <a:lnTo>
                      <a:pt x="59817" y="1990032"/>
                    </a:lnTo>
                    <a:cubicBezTo>
                      <a:pt x="26765" y="1970982"/>
                      <a:pt x="0" y="1919737"/>
                      <a:pt x="0" y="1875732"/>
                    </a:cubicBezTo>
                    <a:lnTo>
                      <a:pt x="0" y="52456"/>
                    </a:lnTo>
                    <a:cubicBezTo>
                      <a:pt x="0" y="8356"/>
                      <a:pt x="26765" y="-11933"/>
                      <a:pt x="59817" y="7213"/>
                    </a:cubicBezTo>
                    <a:lnTo>
                      <a:pt x="2416778" y="1368050"/>
                    </a:lnTo>
                    <a:cubicBezTo>
                      <a:pt x="2449925" y="1387100"/>
                      <a:pt x="2476691" y="1438344"/>
                      <a:pt x="2476691" y="1482350"/>
                    </a:cubicBezTo>
                    <a:lnTo>
                      <a:pt x="2476691" y="3305625"/>
                    </a:lnTo>
                    <a:cubicBezTo>
                      <a:pt x="2476691" y="3349726"/>
                      <a:pt x="2449925" y="3369919"/>
                      <a:pt x="2416778" y="3350869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3627;p38">
                <a:extLst>
                  <a:ext uri="{FF2B5EF4-FFF2-40B4-BE49-F238E27FC236}">
                    <a16:creationId xmlns:a16="http://schemas.microsoft.com/office/drawing/2014/main" id="{B86141DD-8B38-4381-AD1B-4B5F741D09BD}"/>
                  </a:ext>
                </a:extLst>
              </p:cNvPr>
              <p:cNvSpPr/>
              <p:nvPr/>
            </p:nvSpPr>
            <p:spPr>
              <a:xfrm>
                <a:off x="8240363" y="4509420"/>
                <a:ext cx="26098" cy="92487"/>
              </a:xfrm>
              <a:custGeom>
                <a:avLst/>
                <a:gdLst/>
                <a:ahLst/>
                <a:cxnLst/>
                <a:rect l="l" t="t" r="r" b="b"/>
                <a:pathLst>
                  <a:path w="26098" h="92487" extrusionOk="0">
                    <a:moveTo>
                      <a:pt x="0" y="92488"/>
                    </a:moveTo>
                    <a:lnTo>
                      <a:pt x="26098" y="77438"/>
                    </a:lnTo>
                    <a:lnTo>
                      <a:pt x="14859" y="0"/>
                    </a:lnTo>
                    <a:lnTo>
                      <a:pt x="0" y="92488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3628;p38">
                <a:extLst>
                  <a:ext uri="{FF2B5EF4-FFF2-40B4-BE49-F238E27FC236}">
                    <a16:creationId xmlns:a16="http://schemas.microsoft.com/office/drawing/2014/main" id="{02C3F58E-929F-4524-85D4-5140BE63A504}"/>
                  </a:ext>
                </a:extLst>
              </p:cNvPr>
              <p:cNvSpPr/>
              <p:nvPr/>
            </p:nvSpPr>
            <p:spPr>
              <a:xfrm>
                <a:off x="5807106" y="1235868"/>
                <a:ext cx="62674" cy="27245"/>
              </a:xfrm>
              <a:custGeom>
                <a:avLst/>
                <a:gdLst/>
                <a:ahLst/>
                <a:cxnLst/>
                <a:rect l="l" t="t" r="r" b="b"/>
                <a:pathLst>
                  <a:path w="62674" h="27245" extrusionOk="0">
                    <a:moveTo>
                      <a:pt x="0" y="14859"/>
                    </a:moveTo>
                    <a:lnTo>
                      <a:pt x="25717" y="0"/>
                    </a:lnTo>
                    <a:lnTo>
                      <a:pt x="62675" y="21431"/>
                    </a:lnTo>
                    <a:cubicBezTo>
                      <a:pt x="62675" y="21431"/>
                      <a:pt x="23336" y="27432"/>
                      <a:pt x="22384" y="27242"/>
                    </a:cubicBezTo>
                    <a:cubicBezTo>
                      <a:pt x="21431" y="27051"/>
                      <a:pt x="0" y="14859"/>
                      <a:pt x="0" y="14859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3629;p38">
                <a:extLst>
                  <a:ext uri="{FF2B5EF4-FFF2-40B4-BE49-F238E27FC236}">
                    <a16:creationId xmlns:a16="http://schemas.microsoft.com/office/drawing/2014/main" id="{D0CDF36E-5EF9-4843-83C6-ACCF4AE0D778}"/>
                  </a:ext>
                </a:extLst>
              </p:cNvPr>
              <p:cNvSpPr/>
              <p:nvPr/>
            </p:nvSpPr>
            <p:spPr>
              <a:xfrm>
                <a:off x="5789771" y="1244753"/>
                <a:ext cx="2476690" cy="3358040"/>
              </a:xfrm>
              <a:custGeom>
                <a:avLst/>
                <a:gdLst/>
                <a:ahLst/>
                <a:cxnLst/>
                <a:rect l="l" t="t" r="r" b="b"/>
                <a:pathLst>
                  <a:path w="2476690" h="3358040" extrusionOk="0">
                    <a:moveTo>
                      <a:pt x="2416874" y="3350869"/>
                    </a:moveTo>
                    <a:lnTo>
                      <a:pt x="59817" y="1990032"/>
                    </a:lnTo>
                    <a:cubicBezTo>
                      <a:pt x="26765" y="1970982"/>
                      <a:pt x="0" y="1919737"/>
                      <a:pt x="0" y="1875732"/>
                    </a:cubicBezTo>
                    <a:lnTo>
                      <a:pt x="0" y="52456"/>
                    </a:lnTo>
                    <a:cubicBezTo>
                      <a:pt x="0" y="8356"/>
                      <a:pt x="26765" y="-11933"/>
                      <a:pt x="59817" y="7213"/>
                    </a:cubicBezTo>
                    <a:lnTo>
                      <a:pt x="2416874" y="1368049"/>
                    </a:lnTo>
                    <a:cubicBezTo>
                      <a:pt x="2449925" y="1387099"/>
                      <a:pt x="2476691" y="1438344"/>
                      <a:pt x="2476691" y="1482349"/>
                    </a:cubicBezTo>
                    <a:lnTo>
                      <a:pt x="2476691" y="3305625"/>
                    </a:lnTo>
                    <a:cubicBezTo>
                      <a:pt x="2476691" y="3349726"/>
                      <a:pt x="2449925" y="3369919"/>
                      <a:pt x="2416874" y="3350869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3630;p38">
                <a:extLst>
                  <a:ext uri="{FF2B5EF4-FFF2-40B4-BE49-F238E27FC236}">
                    <a16:creationId xmlns:a16="http://schemas.microsoft.com/office/drawing/2014/main" id="{2F5966C0-7787-4D12-BA48-5F636C2818E9}"/>
                  </a:ext>
                </a:extLst>
              </p:cNvPr>
              <p:cNvSpPr/>
              <p:nvPr/>
            </p:nvSpPr>
            <p:spPr>
              <a:xfrm>
                <a:off x="5785580" y="1247175"/>
                <a:ext cx="2476785" cy="3358285"/>
              </a:xfrm>
              <a:custGeom>
                <a:avLst/>
                <a:gdLst/>
                <a:ahLst/>
                <a:cxnLst/>
                <a:rect l="l" t="t" r="r" b="b"/>
                <a:pathLst>
                  <a:path w="2476785" h="3358285" extrusionOk="0">
                    <a:moveTo>
                      <a:pt x="2476786" y="1482309"/>
                    </a:moveTo>
                    <a:lnTo>
                      <a:pt x="2476786" y="3305775"/>
                    </a:lnTo>
                    <a:cubicBezTo>
                      <a:pt x="2476786" y="3349971"/>
                      <a:pt x="2449925" y="3370259"/>
                      <a:pt x="2416874" y="3351019"/>
                    </a:cubicBezTo>
                    <a:lnTo>
                      <a:pt x="59817" y="1989992"/>
                    </a:lnTo>
                    <a:cubicBezTo>
                      <a:pt x="26765" y="1970942"/>
                      <a:pt x="0" y="1919697"/>
                      <a:pt x="0" y="1875692"/>
                    </a:cubicBezTo>
                    <a:lnTo>
                      <a:pt x="0" y="52416"/>
                    </a:lnTo>
                    <a:cubicBezTo>
                      <a:pt x="0" y="8315"/>
                      <a:pt x="26765" y="-11878"/>
                      <a:pt x="59817" y="7172"/>
                    </a:cubicBezTo>
                    <a:lnTo>
                      <a:pt x="2416874" y="1368009"/>
                    </a:lnTo>
                    <a:cubicBezTo>
                      <a:pt x="2449925" y="1387059"/>
                      <a:pt x="2476786" y="1438304"/>
                      <a:pt x="2476786" y="148230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3631;p38">
                <a:extLst>
                  <a:ext uri="{FF2B5EF4-FFF2-40B4-BE49-F238E27FC236}">
                    <a16:creationId xmlns:a16="http://schemas.microsoft.com/office/drawing/2014/main" id="{C8667E16-37AD-4C50-9047-A4ABBC82B1EB}"/>
                  </a:ext>
                </a:extLst>
              </p:cNvPr>
              <p:cNvSpPr/>
              <p:nvPr/>
            </p:nvSpPr>
            <p:spPr>
              <a:xfrm>
                <a:off x="5815488" y="1286421"/>
                <a:ext cx="2415539" cy="3200710"/>
              </a:xfrm>
              <a:custGeom>
                <a:avLst/>
                <a:gdLst/>
                <a:ahLst/>
                <a:cxnLst/>
                <a:rect l="l" t="t" r="r" b="b"/>
                <a:pathLst>
                  <a:path w="2415539" h="3200710" extrusionOk="0">
                    <a:moveTo>
                      <a:pt x="2414111" y="3200711"/>
                    </a:moveTo>
                    <a:lnTo>
                      <a:pt x="0" y="1806727"/>
                    </a:lnTo>
                    <a:lnTo>
                      <a:pt x="1333" y="20504"/>
                    </a:lnTo>
                    <a:cubicBezTo>
                      <a:pt x="1333" y="2121"/>
                      <a:pt x="14097" y="-5214"/>
                      <a:pt x="29908" y="3930"/>
                    </a:cubicBezTo>
                    <a:lnTo>
                      <a:pt x="2386965" y="1364672"/>
                    </a:lnTo>
                    <a:cubicBezTo>
                      <a:pt x="2403853" y="1375759"/>
                      <a:pt x="2414464" y="1394219"/>
                      <a:pt x="2415540" y="141439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3632;p38">
                <a:extLst>
                  <a:ext uri="{FF2B5EF4-FFF2-40B4-BE49-F238E27FC236}">
                    <a16:creationId xmlns:a16="http://schemas.microsoft.com/office/drawing/2014/main" id="{F82A290B-97ED-4402-9AD3-F0C553796811}"/>
                  </a:ext>
                </a:extLst>
              </p:cNvPr>
              <p:cNvSpPr/>
              <p:nvPr/>
            </p:nvSpPr>
            <p:spPr>
              <a:xfrm>
                <a:off x="5915882" y="1476290"/>
                <a:ext cx="2188940" cy="1460906"/>
              </a:xfrm>
              <a:custGeom>
                <a:avLst/>
                <a:gdLst/>
                <a:ahLst/>
                <a:cxnLst/>
                <a:rect l="l" t="t" r="r" b="b"/>
                <a:pathLst>
                  <a:path w="2188940" h="1460906" extrusionOk="0">
                    <a:moveTo>
                      <a:pt x="2164556" y="1457981"/>
                    </a:moveTo>
                    <a:lnTo>
                      <a:pt x="24384" y="222303"/>
                    </a:lnTo>
                    <a:cubicBezTo>
                      <a:pt x="9306" y="211583"/>
                      <a:pt x="248" y="194317"/>
                      <a:pt x="0" y="175821"/>
                    </a:cubicBezTo>
                    <a:lnTo>
                      <a:pt x="0" y="21326"/>
                    </a:lnTo>
                    <a:cubicBezTo>
                      <a:pt x="0" y="3419"/>
                      <a:pt x="10858" y="-4868"/>
                      <a:pt x="24384" y="2942"/>
                    </a:cubicBezTo>
                    <a:lnTo>
                      <a:pt x="2164556" y="1238335"/>
                    </a:lnTo>
                    <a:cubicBezTo>
                      <a:pt x="2179587" y="1249136"/>
                      <a:pt x="2188626" y="1266405"/>
                      <a:pt x="2188940" y="1284912"/>
                    </a:cubicBezTo>
                    <a:lnTo>
                      <a:pt x="2188940" y="1439408"/>
                    </a:lnTo>
                    <a:cubicBezTo>
                      <a:pt x="2188940" y="1457410"/>
                      <a:pt x="2177987" y="1465792"/>
                      <a:pt x="2164556" y="145798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3633;p38">
                <a:extLst>
                  <a:ext uri="{FF2B5EF4-FFF2-40B4-BE49-F238E27FC236}">
                    <a16:creationId xmlns:a16="http://schemas.microsoft.com/office/drawing/2014/main" id="{765C580E-4AAD-49B4-8E6A-182A6863ADE7}"/>
                  </a:ext>
                </a:extLst>
              </p:cNvPr>
              <p:cNvSpPr/>
              <p:nvPr/>
            </p:nvSpPr>
            <p:spPr>
              <a:xfrm rot="-1801764">
                <a:off x="5975652" y="1564561"/>
                <a:ext cx="76512" cy="132469"/>
              </a:xfrm>
              <a:custGeom>
                <a:avLst/>
                <a:gdLst/>
                <a:ahLst/>
                <a:cxnLst/>
                <a:rect l="l" t="t" r="r" b="b"/>
                <a:pathLst>
                  <a:path w="76580" h="132587" extrusionOk="0">
                    <a:moveTo>
                      <a:pt x="76581" y="66294"/>
                    </a:moveTo>
                    <a:cubicBezTo>
                      <a:pt x="76581" y="102907"/>
                      <a:pt x="59438" y="132588"/>
                      <a:pt x="38290" y="132588"/>
                    </a:cubicBezTo>
                    <a:cubicBezTo>
                      <a:pt x="17143" y="132588"/>
                      <a:pt x="0" y="102907"/>
                      <a:pt x="0" y="66294"/>
                    </a:cubicBezTo>
                    <a:cubicBezTo>
                      <a:pt x="0" y="29681"/>
                      <a:pt x="17143" y="0"/>
                      <a:pt x="38290" y="0"/>
                    </a:cubicBezTo>
                    <a:cubicBezTo>
                      <a:pt x="59438" y="0"/>
                      <a:pt x="76581" y="29681"/>
                      <a:pt x="76581" y="66294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3634;p38">
                <a:extLst>
                  <a:ext uri="{FF2B5EF4-FFF2-40B4-BE49-F238E27FC236}">
                    <a16:creationId xmlns:a16="http://schemas.microsoft.com/office/drawing/2014/main" id="{5F3B8316-C4F2-447B-9B53-2FB0803899A6}"/>
                  </a:ext>
                </a:extLst>
              </p:cNvPr>
              <p:cNvSpPr/>
              <p:nvPr/>
            </p:nvSpPr>
            <p:spPr>
              <a:xfrm>
                <a:off x="6935438" y="2145169"/>
                <a:ext cx="197262" cy="149154"/>
              </a:xfrm>
              <a:custGeom>
                <a:avLst/>
                <a:gdLst/>
                <a:ahLst/>
                <a:cxnLst/>
                <a:rect l="l" t="t" r="r" b="b"/>
                <a:pathLst>
                  <a:path w="197262" h="149154" extrusionOk="0">
                    <a:moveTo>
                      <a:pt x="191167" y="148450"/>
                    </a:moveTo>
                    <a:lnTo>
                      <a:pt x="6096" y="41485"/>
                    </a:lnTo>
                    <a:cubicBezTo>
                      <a:pt x="2314" y="38818"/>
                      <a:pt x="48" y="34493"/>
                      <a:pt x="0" y="29864"/>
                    </a:cubicBezTo>
                    <a:lnTo>
                      <a:pt x="0" y="5385"/>
                    </a:lnTo>
                    <a:cubicBezTo>
                      <a:pt x="0" y="813"/>
                      <a:pt x="2667" y="-1187"/>
                      <a:pt x="6096" y="718"/>
                    </a:cubicBezTo>
                    <a:lnTo>
                      <a:pt x="191167" y="107683"/>
                    </a:lnTo>
                    <a:cubicBezTo>
                      <a:pt x="194948" y="110350"/>
                      <a:pt x="197215" y="114675"/>
                      <a:pt x="197263" y="119304"/>
                    </a:cubicBezTo>
                    <a:lnTo>
                      <a:pt x="197263" y="143783"/>
                    </a:lnTo>
                    <a:cubicBezTo>
                      <a:pt x="197263" y="148260"/>
                      <a:pt x="194596" y="150355"/>
                      <a:pt x="191167" y="148450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2" name="Google Shape;3635;p38">
                <a:extLst>
                  <a:ext uri="{FF2B5EF4-FFF2-40B4-BE49-F238E27FC236}">
                    <a16:creationId xmlns:a16="http://schemas.microsoft.com/office/drawing/2014/main" id="{61D52AE8-7781-487A-AC79-0F739FF8E089}"/>
                  </a:ext>
                </a:extLst>
              </p:cNvPr>
              <p:cNvSpPr/>
              <p:nvPr/>
            </p:nvSpPr>
            <p:spPr>
              <a:xfrm>
                <a:off x="7235094" y="2318577"/>
                <a:ext cx="197262" cy="148968"/>
              </a:xfrm>
              <a:custGeom>
                <a:avLst/>
                <a:gdLst/>
                <a:ahLst/>
                <a:cxnLst/>
                <a:rect l="l" t="t" r="r" b="b"/>
                <a:pathLst>
                  <a:path w="197262" h="148968" extrusionOk="0">
                    <a:moveTo>
                      <a:pt x="191167" y="148397"/>
                    </a:moveTo>
                    <a:lnTo>
                      <a:pt x="6096" y="41527"/>
                    </a:lnTo>
                    <a:cubicBezTo>
                      <a:pt x="2324" y="38850"/>
                      <a:pt x="57" y="34535"/>
                      <a:pt x="0" y="29906"/>
                    </a:cubicBezTo>
                    <a:lnTo>
                      <a:pt x="0" y="5332"/>
                    </a:lnTo>
                    <a:cubicBezTo>
                      <a:pt x="0" y="855"/>
                      <a:pt x="2667" y="-1241"/>
                      <a:pt x="6096" y="760"/>
                    </a:cubicBezTo>
                    <a:lnTo>
                      <a:pt x="191167" y="107630"/>
                    </a:lnTo>
                    <a:cubicBezTo>
                      <a:pt x="194948" y="110297"/>
                      <a:pt x="197215" y="114622"/>
                      <a:pt x="197263" y="119251"/>
                    </a:cubicBezTo>
                    <a:lnTo>
                      <a:pt x="197263" y="143825"/>
                    </a:lnTo>
                    <a:cubicBezTo>
                      <a:pt x="197263" y="148397"/>
                      <a:pt x="194405" y="149921"/>
                      <a:pt x="191167" y="14839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3" name="Google Shape;3636;p38">
                <a:extLst>
                  <a:ext uri="{FF2B5EF4-FFF2-40B4-BE49-F238E27FC236}">
                    <a16:creationId xmlns:a16="http://schemas.microsoft.com/office/drawing/2014/main" id="{D6396416-D140-4AF3-9510-932863FBC211}"/>
                  </a:ext>
                </a:extLst>
              </p:cNvPr>
              <p:cNvSpPr/>
              <p:nvPr/>
            </p:nvSpPr>
            <p:spPr>
              <a:xfrm>
                <a:off x="7529798" y="2488369"/>
                <a:ext cx="197358" cy="149033"/>
              </a:xfrm>
              <a:custGeom>
                <a:avLst/>
                <a:gdLst/>
                <a:ahLst/>
                <a:cxnLst/>
                <a:rect l="l" t="t" r="r" b="b"/>
                <a:pathLst>
                  <a:path w="197358" h="149033" extrusionOk="0">
                    <a:moveTo>
                      <a:pt x="191262" y="148437"/>
                    </a:moveTo>
                    <a:lnTo>
                      <a:pt x="6096" y="41566"/>
                    </a:lnTo>
                    <a:cubicBezTo>
                      <a:pt x="2353" y="38823"/>
                      <a:pt x="105" y="34489"/>
                      <a:pt x="0" y="29851"/>
                    </a:cubicBezTo>
                    <a:lnTo>
                      <a:pt x="0" y="5371"/>
                    </a:lnTo>
                    <a:cubicBezTo>
                      <a:pt x="0" y="894"/>
                      <a:pt x="2762" y="-1201"/>
                      <a:pt x="6096" y="704"/>
                    </a:cubicBezTo>
                    <a:lnTo>
                      <a:pt x="191262" y="107670"/>
                    </a:lnTo>
                    <a:cubicBezTo>
                      <a:pt x="195043" y="110337"/>
                      <a:pt x="197310" y="114661"/>
                      <a:pt x="197358" y="119290"/>
                    </a:cubicBezTo>
                    <a:lnTo>
                      <a:pt x="197358" y="143769"/>
                    </a:lnTo>
                    <a:cubicBezTo>
                      <a:pt x="197358" y="148342"/>
                      <a:pt x="194977" y="150056"/>
                      <a:pt x="191262" y="14843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4" name="Google Shape;3637;p38">
                <a:extLst>
                  <a:ext uri="{FF2B5EF4-FFF2-40B4-BE49-F238E27FC236}">
                    <a16:creationId xmlns:a16="http://schemas.microsoft.com/office/drawing/2014/main" id="{858A1A7C-62DA-4E9B-BA01-1975EBFC3EEE}"/>
                  </a:ext>
                </a:extLst>
              </p:cNvPr>
              <p:cNvSpPr/>
              <p:nvPr/>
            </p:nvSpPr>
            <p:spPr>
              <a:xfrm>
                <a:off x="7829454" y="2661668"/>
                <a:ext cx="197358" cy="148943"/>
              </a:xfrm>
              <a:custGeom>
                <a:avLst/>
                <a:gdLst/>
                <a:ahLst/>
                <a:cxnLst/>
                <a:rect l="l" t="t" r="r" b="b"/>
                <a:pathLst>
                  <a:path w="197358" h="148943" extrusionOk="0">
                    <a:moveTo>
                      <a:pt x="191262" y="148207"/>
                    </a:moveTo>
                    <a:lnTo>
                      <a:pt x="6096" y="41336"/>
                    </a:lnTo>
                    <a:cubicBezTo>
                      <a:pt x="2362" y="38631"/>
                      <a:pt x="105" y="34326"/>
                      <a:pt x="0" y="29716"/>
                    </a:cubicBezTo>
                    <a:lnTo>
                      <a:pt x="0" y="5332"/>
                    </a:lnTo>
                    <a:cubicBezTo>
                      <a:pt x="0" y="855"/>
                      <a:pt x="2762" y="-1241"/>
                      <a:pt x="6096" y="760"/>
                    </a:cubicBezTo>
                    <a:lnTo>
                      <a:pt x="191262" y="107630"/>
                    </a:lnTo>
                    <a:cubicBezTo>
                      <a:pt x="195024" y="110316"/>
                      <a:pt x="197282" y="114631"/>
                      <a:pt x="197358" y="119251"/>
                    </a:cubicBezTo>
                    <a:lnTo>
                      <a:pt x="197358" y="143825"/>
                    </a:lnTo>
                    <a:cubicBezTo>
                      <a:pt x="197358" y="148207"/>
                      <a:pt x="194596" y="150112"/>
                      <a:pt x="191262" y="14820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" name="Google Shape;3638;p38">
                <a:extLst>
                  <a:ext uri="{FF2B5EF4-FFF2-40B4-BE49-F238E27FC236}">
                    <a16:creationId xmlns:a16="http://schemas.microsoft.com/office/drawing/2014/main" id="{AB029A08-98B9-4DE8-87D4-567733F4027B}"/>
                  </a:ext>
                </a:extLst>
              </p:cNvPr>
              <p:cNvSpPr/>
              <p:nvPr/>
            </p:nvSpPr>
            <p:spPr>
              <a:xfrm>
                <a:off x="7391400" y="2634856"/>
                <a:ext cx="551783" cy="685887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685887" extrusionOk="0">
                    <a:moveTo>
                      <a:pt x="527018" y="682987"/>
                    </a:moveTo>
                    <a:lnTo>
                      <a:pt x="23908" y="392474"/>
                    </a:lnTo>
                    <a:cubicBezTo>
                      <a:pt x="9173" y="381730"/>
                      <a:pt x="324" y="364700"/>
                      <a:pt x="0" y="346469"/>
                    </a:cubicBezTo>
                    <a:lnTo>
                      <a:pt x="0" y="21285"/>
                    </a:lnTo>
                    <a:cubicBezTo>
                      <a:pt x="0" y="3378"/>
                      <a:pt x="10859" y="-4813"/>
                      <a:pt x="24289" y="2902"/>
                    </a:cubicBezTo>
                    <a:lnTo>
                      <a:pt x="527399" y="293319"/>
                    </a:lnTo>
                    <a:cubicBezTo>
                      <a:pt x="542430" y="304120"/>
                      <a:pt x="551469" y="321389"/>
                      <a:pt x="551783" y="339896"/>
                    </a:cubicBezTo>
                    <a:lnTo>
                      <a:pt x="551783" y="664508"/>
                    </a:lnTo>
                    <a:cubicBezTo>
                      <a:pt x="551402" y="682511"/>
                      <a:pt x="540448" y="690702"/>
                      <a:pt x="527018" y="68298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" name="Google Shape;3639;p38">
                <a:extLst>
                  <a:ext uri="{FF2B5EF4-FFF2-40B4-BE49-F238E27FC236}">
                    <a16:creationId xmlns:a16="http://schemas.microsoft.com/office/drawing/2014/main" id="{45479138-57E5-44C3-94CE-C38BB21E3728}"/>
                  </a:ext>
                </a:extLst>
              </p:cNvPr>
              <p:cNvSpPr/>
              <p:nvPr/>
            </p:nvSpPr>
            <p:spPr>
              <a:xfrm>
                <a:off x="5981604" y="2604685"/>
                <a:ext cx="1286351" cy="820016"/>
              </a:xfrm>
              <a:custGeom>
                <a:avLst/>
                <a:gdLst/>
                <a:ahLst/>
                <a:cxnLst/>
                <a:rect l="l" t="t" r="r" b="b"/>
                <a:pathLst>
                  <a:path w="1286351" h="820016" extrusionOk="0">
                    <a:moveTo>
                      <a:pt x="1274159" y="818599"/>
                    </a:moveTo>
                    <a:lnTo>
                      <a:pt x="12192" y="89937"/>
                    </a:lnTo>
                    <a:cubicBezTo>
                      <a:pt x="4686" y="84555"/>
                      <a:pt x="162" y="75935"/>
                      <a:pt x="0" y="66696"/>
                    </a:cubicBezTo>
                    <a:lnTo>
                      <a:pt x="0" y="10784"/>
                    </a:lnTo>
                    <a:cubicBezTo>
                      <a:pt x="0" y="1830"/>
                      <a:pt x="5525" y="-2265"/>
                      <a:pt x="12192" y="1259"/>
                    </a:cubicBezTo>
                    <a:lnTo>
                      <a:pt x="1274159" y="729826"/>
                    </a:lnTo>
                    <a:cubicBezTo>
                      <a:pt x="1281693" y="735189"/>
                      <a:pt x="1286218" y="743818"/>
                      <a:pt x="1286351" y="753067"/>
                    </a:cubicBezTo>
                    <a:lnTo>
                      <a:pt x="1286351" y="808979"/>
                    </a:lnTo>
                    <a:cubicBezTo>
                      <a:pt x="1285970" y="818313"/>
                      <a:pt x="1280922" y="822409"/>
                      <a:pt x="1274159" y="818599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7" name="Google Shape;3640;p38">
                <a:extLst>
                  <a:ext uri="{FF2B5EF4-FFF2-40B4-BE49-F238E27FC236}">
                    <a16:creationId xmlns:a16="http://schemas.microsoft.com/office/drawing/2014/main" id="{0E3BE04E-3EAD-4D06-98E7-0C5BDC670C5C}"/>
                  </a:ext>
                </a:extLst>
              </p:cNvPr>
              <p:cNvSpPr/>
              <p:nvPr/>
            </p:nvSpPr>
            <p:spPr>
              <a:xfrm>
                <a:off x="5985319" y="2767047"/>
                <a:ext cx="1158430" cy="718178"/>
              </a:xfrm>
              <a:custGeom>
                <a:avLst/>
                <a:gdLst/>
                <a:ahLst/>
                <a:cxnLst/>
                <a:rect l="l" t="t" r="r" b="b"/>
                <a:pathLst>
                  <a:path w="1158430" h="718178" extrusionOk="0">
                    <a:moveTo>
                      <a:pt x="1146239" y="716722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1146239" y="656047"/>
                    </a:lnTo>
                    <a:cubicBezTo>
                      <a:pt x="1153735" y="661448"/>
                      <a:pt x="1158249" y="670059"/>
                      <a:pt x="1158431" y="679288"/>
                    </a:cubicBezTo>
                    <a:lnTo>
                      <a:pt x="1158431" y="707101"/>
                    </a:lnTo>
                    <a:cubicBezTo>
                      <a:pt x="1158431" y="716436"/>
                      <a:pt x="1152906" y="720627"/>
                      <a:pt x="1146239" y="71672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" name="Google Shape;3641;p38">
                <a:extLst>
                  <a:ext uri="{FF2B5EF4-FFF2-40B4-BE49-F238E27FC236}">
                    <a16:creationId xmlns:a16="http://schemas.microsoft.com/office/drawing/2014/main" id="{DB330FA7-5F26-4303-9DAC-F370B0BCADB2}"/>
                  </a:ext>
                </a:extLst>
              </p:cNvPr>
              <p:cNvSpPr/>
              <p:nvPr/>
            </p:nvSpPr>
            <p:spPr>
              <a:xfrm>
                <a:off x="5985319" y="2872624"/>
                <a:ext cx="1158430" cy="718059"/>
              </a:xfrm>
              <a:custGeom>
                <a:avLst/>
                <a:gdLst/>
                <a:ahLst/>
                <a:cxnLst/>
                <a:rect l="l" t="t" r="r" b="b"/>
                <a:pathLst>
                  <a:path w="1158430" h="718059" extrusionOk="0">
                    <a:moveTo>
                      <a:pt x="1146239" y="716587"/>
                    </a:moveTo>
                    <a:lnTo>
                      <a:pt x="12192" y="61933"/>
                    </a:lnTo>
                    <a:cubicBezTo>
                      <a:pt x="4658" y="56523"/>
                      <a:pt x="133" y="47865"/>
                      <a:pt x="0" y="38597"/>
                    </a:cubicBezTo>
                    <a:lnTo>
                      <a:pt x="0" y="10784"/>
                    </a:lnTo>
                    <a:cubicBezTo>
                      <a:pt x="0" y="1830"/>
                      <a:pt x="5429" y="-2265"/>
                      <a:pt x="12192" y="1259"/>
                    </a:cubicBezTo>
                    <a:lnTo>
                      <a:pt x="1146239" y="655912"/>
                    </a:lnTo>
                    <a:cubicBezTo>
                      <a:pt x="1153735" y="661351"/>
                      <a:pt x="1158249" y="669990"/>
                      <a:pt x="1158431" y="679248"/>
                    </a:cubicBezTo>
                    <a:lnTo>
                      <a:pt x="1158431" y="707062"/>
                    </a:lnTo>
                    <a:cubicBezTo>
                      <a:pt x="1158431" y="716396"/>
                      <a:pt x="1152906" y="720492"/>
                      <a:pt x="1146239" y="71658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9" name="Google Shape;3642;p38">
                <a:extLst>
                  <a:ext uri="{FF2B5EF4-FFF2-40B4-BE49-F238E27FC236}">
                    <a16:creationId xmlns:a16="http://schemas.microsoft.com/office/drawing/2014/main" id="{D7B7DD5D-E15B-4990-9186-5FE136AB1966}"/>
                  </a:ext>
                </a:extLst>
              </p:cNvPr>
              <p:cNvSpPr/>
              <p:nvPr/>
            </p:nvSpPr>
            <p:spPr>
              <a:xfrm>
                <a:off x="5985319" y="2978121"/>
                <a:ext cx="868489" cy="550694"/>
              </a:xfrm>
              <a:custGeom>
                <a:avLst/>
                <a:gdLst/>
                <a:ahLst/>
                <a:cxnLst/>
                <a:rect l="l" t="t" r="r" b="b"/>
                <a:pathLst>
                  <a:path w="868489" h="550694" extrusionOk="0">
                    <a:moveTo>
                      <a:pt x="856297" y="549272"/>
                    </a:moveTo>
                    <a:lnTo>
                      <a:pt x="12192" y="61878"/>
                    </a:lnTo>
                    <a:cubicBezTo>
                      <a:pt x="4658" y="56515"/>
                      <a:pt x="133" y="47885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856297" y="488979"/>
                    </a:lnTo>
                    <a:cubicBezTo>
                      <a:pt x="863889" y="494294"/>
                      <a:pt x="868432" y="502952"/>
                      <a:pt x="868489" y="512220"/>
                    </a:cubicBezTo>
                    <a:lnTo>
                      <a:pt x="868489" y="540033"/>
                    </a:lnTo>
                    <a:cubicBezTo>
                      <a:pt x="868489" y="548986"/>
                      <a:pt x="863155" y="553082"/>
                      <a:pt x="856297" y="54927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0" name="Google Shape;3643;p38">
                <a:extLst>
                  <a:ext uri="{FF2B5EF4-FFF2-40B4-BE49-F238E27FC236}">
                    <a16:creationId xmlns:a16="http://schemas.microsoft.com/office/drawing/2014/main" id="{1D02F470-078C-4AAF-AC27-68D5B565E831}"/>
                  </a:ext>
                </a:extLst>
              </p:cNvPr>
              <p:cNvSpPr/>
              <p:nvPr/>
            </p:nvSpPr>
            <p:spPr>
              <a:xfrm>
                <a:off x="7391018" y="3086134"/>
                <a:ext cx="551783" cy="368151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151" extrusionOk="0">
                    <a:moveTo>
                      <a:pt x="539591" y="366678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539591" y="306099"/>
                    </a:lnTo>
                    <a:cubicBezTo>
                      <a:pt x="547135" y="311490"/>
                      <a:pt x="551669" y="320158"/>
                      <a:pt x="551784" y="329435"/>
                    </a:cubicBezTo>
                    <a:lnTo>
                      <a:pt x="551784" y="357248"/>
                    </a:lnTo>
                    <a:cubicBezTo>
                      <a:pt x="551784" y="366487"/>
                      <a:pt x="546354" y="370583"/>
                      <a:pt x="539591" y="36667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1" name="Google Shape;3644;p38">
                <a:extLst>
                  <a:ext uri="{FF2B5EF4-FFF2-40B4-BE49-F238E27FC236}">
                    <a16:creationId xmlns:a16="http://schemas.microsoft.com/office/drawing/2014/main" id="{8F6C4D80-1368-4251-A66F-9BE41B33A011}"/>
                  </a:ext>
                </a:extLst>
              </p:cNvPr>
              <p:cNvSpPr/>
              <p:nvPr/>
            </p:nvSpPr>
            <p:spPr>
              <a:xfrm>
                <a:off x="7391018" y="3191616"/>
                <a:ext cx="551783" cy="368230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230" extrusionOk="0">
                    <a:moveTo>
                      <a:pt x="539591" y="366733"/>
                    </a:moveTo>
                    <a:lnTo>
                      <a:pt x="12192" y="61933"/>
                    </a:lnTo>
                    <a:cubicBezTo>
                      <a:pt x="4648" y="56542"/>
                      <a:pt x="114" y="47874"/>
                      <a:pt x="0" y="38597"/>
                    </a:cubicBezTo>
                    <a:lnTo>
                      <a:pt x="0" y="10784"/>
                    </a:lnTo>
                    <a:cubicBezTo>
                      <a:pt x="0" y="1831"/>
                      <a:pt x="5429" y="-2265"/>
                      <a:pt x="12192" y="1259"/>
                    </a:cubicBezTo>
                    <a:lnTo>
                      <a:pt x="539591" y="306059"/>
                    </a:lnTo>
                    <a:cubicBezTo>
                      <a:pt x="547126" y="311422"/>
                      <a:pt x="551650" y="320051"/>
                      <a:pt x="551784" y="329300"/>
                    </a:cubicBezTo>
                    <a:lnTo>
                      <a:pt x="551784" y="357113"/>
                    </a:lnTo>
                    <a:cubicBezTo>
                      <a:pt x="551784" y="366447"/>
                      <a:pt x="546354" y="370734"/>
                      <a:pt x="539591" y="36673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2" name="Google Shape;3645;p38">
                <a:extLst>
                  <a:ext uri="{FF2B5EF4-FFF2-40B4-BE49-F238E27FC236}">
                    <a16:creationId xmlns:a16="http://schemas.microsoft.com/office/drawing/2014/main" id="{C2C14055-2347-4011-B01F-69B09D1B1DC3}"/>
                  </a:ext>
                </a:extLst>
              </p:cNvPr>
              <p:cNvSpPr/>
              <p:nvPr/>
            </p:nvSpPr>
            <p:spPr>
              <a:xfrm>
                <a:off x="7391018" y="3297399"/>
                <a:ext cx="413670" cy="288153"/>
              </a:xfrm>
              <a:custGeom>
                <a:avLst/>
                <a:gdLst/>
                <a:ahLst/>
                <a:cxnLst/>
                <a:rect l="l" t="t" r="r" b="b"/>
                <a:pathLst>
                  <a:path w="413670" h="288153" extrusionOk="0">
                    <a:moveTo>
                      <a:pt x="401479" y="286668"/>
                    </a:moveTo>
                    <a:lnTo>
                      <a:pt x="12192" y="61878"/>
                    </a:lnTo>
                    <a:cubicBezTo>
                      <a:pt x="4658" y="56515"/>
                      <a:pt x="133" y="47885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401479" y="226851"/>
                    </a:lnTo>
                    <a:cubicBezTo>
                      <a:pt x="409023" y="232242"/>
                      <a:pt x="413556" y="240910"/>
                      <a:pt x="413671" y="250187"/>
                    </a:cubicBezTo>
                    <a:lnTo>
                      <a:pt x="413671" y="277905"/>
                    </a:lnTo>
                    <a:cubicBezTo>
                      <a:pt x="413671" y="286477"/>
                      <a:pt x="408242" y="290573"/>
                      <a:pt x="401479" y="28666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3" name="Google Shape;3646;p38">
                <a:extLst>
                  <a:ext uri="{FF2B5EF4-FFF2-40B4-BE49-F238E27FC236}">
                    <a16:creationId xmlns:a16="http://schemas.microsoft.com/office/drawing/2014/main" id="{7A894A08-CABF-4C72-AB05-B6FD3B995761}"/>
                  </a:ext>
                </a:extLst>
              </p:cNvPr>
              <p:cNvSpPr/>
              <p:nvPr/>
            </p:nvSpPr>
            <p:spPr>
              <a:xfrm>
                <a:off x="7391400" y="3447774"/>
                <a:ext cx="551783" cy="685927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685927" extrusionOk="0">
                    <a:moveTo>
                      <a:pt x="527018" y="683027"/>
                    </a:moveTo>
                    <a:lnTo>
                      <a:pt x="23908" y="392515"/>
                    </a:lnTo>
                    <a:cubicBezTo>
                      <a:pt x="9039" y="381675"/>
                      <a:pt x="172" y="364435"/>
                      <a:pt x="0" y="346033"/>
                    </a:cubicBezTo>
                    <a:lnTo>
                      <a:pt x="0" y="21326"/>
                    </a:lnTo>
                    <a:cubicBezTo>
                      <a:pt x="0" y="3419"/>
                      <a:pt x="10859" y="-4868"/>
                      <a:pt x="24289" y="2942"/>
                    </a:cubicBezTo>
                    <a:lnTo>
                      <a:pt x="527399" y="293359"/>
                    </a:lnTo>
                    <a:cubicBezTo>
                      <a:pt x="542430" y="304161"/>
                      <a:pt x="551469" y="321430"/>
                      <a:pt x="551783" y="339937"/>
                    </a:cubicBezTo>
                    <a:lnTo>
                      <a:pt x="551783" y="664549"/>
                    </a:lnTo>
                    <a:cubicBezTo>
                      <a:pt x="551402" y="682551"/>
                      <a:pt x="540448" y="690742"/>
                      <a:pt x="527018" y="68302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4" name="Google Shape;3647;p38">
                <a:extLst>
                  <a:ext uri="{FF2B5EF4-FFF2-40B4-BE49-F238E27FC236}">
                    <a16:creationId xmlns:a16="http://schemas.microsoft.com/office/drawing/2014/main" id="{095D6882-AEE7-48E4-BD22-98639FF98E65}"/>
                  </a:ext>
                </a:extLst>
              </p:cNvPr>
              <p:cNvSpPr/>
              <p:nvPr/>
            </p:nvSpPr>
            <p:spPr>
              <a:xfrm>
                <a:off x="7391018" y="3899093"/>
                <a:ext cx="551783" cy="368152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152" extrusionOk="0">
                    <a:moveTo>
                      <a:pt x="539591" y="366678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539591" y="306099"/>
                    </a:lnTo>
                    <a:cubicBezTo>
                      <a:pt x="547135" y="311490"/>
                      <a:pt x="551669" y="320158"/>
                      <a:pt x="551784" y="329435"/>
                    </a:cubicBezTo>
                    <a:lnTo>
                      <a:pt x="551784" y="357248"/>
                    </a:lnTo>
                    <a:cubicBezTo>
                      <a:pt x="551784" y="366487"/>
                      <a:pt x="546354" y="370583"/>
                      <a:pt x="539591" y="36667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5" name="Google Shape;3648;p38">
                <a:extLst>
                  <a:ext uri="{FF2B5EF4-FFF2-40B4-BE49-F238E27FC236}">
                    <a16:creationId xmlns:a16="http://schemas.microsoft.com/office/drawing/2014/main" id="{E6E31172-AC2B-44A0-AA8C-03E5617639A5}"/>
                  </a:ext>
                </a:extLst>
              </p:cNvPr>
              <p:cNvSpPr/>
              <p:nvPr/>
            </p:nvSpPr>
            <p:spPr>
              <a:xfrm>
                <a:off x="7462456" y="2876264"/>
                <a:ext cx="257937" cy="241458"/>
              </a:xfrm>
              <a:custGeom>
                <a:avLst/>
                <a:gdLst/>
                <a:ahLst/>
                <a:cxnLst/>
                <a:rect l="l" t="t" r="r" b="b"/>
                <a:pathLst>
                  <a:path w="257937" h="241458" extrusionOk="0">
                    <a:moveTo>
                      <a:pt x="99632" y="92012"/>
                    </a:moveTo>
                    <a:lnTo>
                      <a:pt x="64294" y="1048"/>
                    </a:lnTo>
                    <a:lnTo>
                      <a:pt x="0" y="92488"/>
                    </a:lnTo>
                    <a:lnTo>
                      <a:pt x="70580" y="133255"/>
                    </a:lnTo>
                    <a:lnTo>
                      <a:pt x="128588" y="166783"/>
                    </a:lnTo>
                    <a:lnTo>
                      <a:pt x="257937" y="241459"/>
                    </a:lnTo>
                    <a:lnTo>
                      <a:pt x="164306" y="0"/>
                    </a:lnTo>
                    <a:lnTo>
                      <a:pt x="99632" y="92012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6" name="Google Shape;3649;p38">
                <a:extLst>
                  <a:ext uri="{FF2B5EF4-FFF2-40B4-BE49-F238E27FC236}">
                    <a16:creationId xmlns:a16="http://schemas.microsoft.com/office/drawing/2014/main" id="{DD1E632B-73A2-46EE-8338-4DD6A37DB7FA}"/>
                  </a:ext>
                </a:extLst>
              </p:cNvPr>
              <p:cNvSpPr/>
              <p:nvPr/>
            </p:nvSpPr>
            <p:spPr>
              <a:xfrm rot="-1801764">
                <a:off x="7788337" y="2912905"/>
                <a:ext cx="68709" cy="119146"/>
              </a:xfrm>
              <a:custGeom>
                <a:avLst/>
                <a:gdLst/>
                <a:ahLst/>
                <a:cxnLst/>
                <a:rect l="l" t="t" r="r" b="b"/>
                <a:pathLst>
                  <a:path w="68770" h="119252" extrusionOk="0">
                    <a:moveTo>
                      <a:pt x="68771" y="59627"/>
                    </a:moveTo>
                    <a:cubicBezTo>
                      <a:pt x="68771" y="92557"/>
                      <a:pt x="53376" y="119253"/>
                      <a:pt x="34386" y="119253"/>
                    </a:cubicBezTo>
                    <a:cubicBezTo>
                      <a:pt x="15395" y="119253"/>
                      <a:pt x="0" y="92557"/>
                      <a:pt x="0" y="59627"/>
                    </a:cubicBezTo>
                    <a:cubicBezTo>
                      <a:pt x="0" y="26696"/>
                      <a:pt x="15395" y="0"/>
                      <a:pt x="34386" y="0"/>
                    </a:cubicBezTo>
                    <a:cubicBezTo>
                      <a:pt x="53376" y="0"/>
                      <a:pt x="68771" y="26696"/>
                      <a:pt x="68771" y="5962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7" name="Google Shape;3650;p38">
                <a:extLst>
                  <a:ext uri="{FF2B5EF4-FFF2-40B4-BE49-F238E27FC236}">
                    <a16:creationId xmlns:a16="http://schemas.microsoft.com/office/drawing/2014/main" id="{26DF1479-F98D-4456-A886-FEAC5CD84F8C}"/>
                  </a:ext>
                </a:extLst>
              </p:cNvPr>
              <p:cNvSpPr/>
              <p:nvPr/>
            </p:nvSpPr>
            <p:spPr>
              <a:xfrm>
                <a:off x="7466171" y="3701224"/>
                <a:ext cx="257936" cy="241363"/>
              </a:xfrm>
              <a:custGeom>
                <a:avLst/>
                <a:gdLst/>
                <a:ahLst/>
                <a:cxnLst/>
                <a:rect l="l" t="t" r="r" b="b"/>
                <a:pathLst>
                  <a:path w="257936" h="241363" extrusionOk="0">
                    <a:moveTo>
                      <a:pt x="99536" y="92012"/>
                    </a:moveTo>
                    <a:lnTo>
                      <a:pt x="64294" y="1048"/>
                    </a:lnTo>
                    <a:lnTo>
                      <a:pt x="0" y="92488"/>
                    </a:lnTo>
                    <a:lnTo>
                      <a:pt x="70580" y="133255"/>
                    </a:lnTo>
                    <a:lnTo>
                      <a:pt x="128588" y="166688"/>
                    </a:lnTo>
                    <a:lnTo>
                      <a:pt x="257937" y="241364"/>
                    </a:lnTo>
                    <a:lnTo>
                      <a:pt x="164211" y="0"/>
                    </a:lnTo>
                    <a:lnTo>
                      <a:pt x="99536" y="92012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" name="Google Shape;3651;p38">
                <a:extLst>
                  <a:ext uri="{FF2B5EF4-FFF2-40B4-BE49-F238E27FC236}">
                    <a16:creationId xmlns:a16="http://schemas.microsoft.com/office/drawing/2014/main" id="{B832B121-F238-4089-84FF-1582225D61F7}"/>
                  </a:ext>
                </a:extLst>
              </p:cNvPr>
              <p:cNvSpPr/>
              <p:nvPr/>
            </p:nvSpPr>
            <p:spPr>
              <a:xfrm rot="-1790023">
                <a:off x="7807389" y="3748630"/>
                <a:ext cx="69009" cy="119667"/>
              </a:xfrm>
              <a:custGeom>
                <a:avLst/>
                <a:gdLst/>
                <a:ahLst/>
                <a:cxnLst/>
                <a:rect l="l" t="t" r="r" b="b"/>
                <a:pathLst>
                  <a:path w="69007" h="119663" extrusionOk="0">
                    <a:moveTo>
                      <a:pt x="69009" y="59833"/>
                    </a:moveTo>
                    <a:cubicBezTo>
                      <a:pt x="69009" y="92877"/>
                      <a:pt x="53561" y="119665"/>
                      <a:pt x="34505" y="119665"/>
                    </a:cubicBezTo>
                    <a:cubicBezTo>
                      <a:pt x="15450" y="119665"/>
                      <a:pt x="2" y="92877"/>
                      <a:pt x="2" y="59833"/>
                    </a:cubicBezTo>
                    <a:cubicBezTo>
                      <a:pt x="2" y="26789"/>
                      <a:pt x="15450" y="1"/>
                      <a:pt x="34505" y="1"/>
                    </a:cubicBezTo>
                    <a:cubicBezTo>
                      <a:pt x="53561" y="1"/>
                      <a:pt x="69009" y="26789"/>
                      <a:pt x="69009" y="59833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" name="Google Shape;3652;p38">
                <a:extLst>
                  <a:ext uri="{FF2B5EF4-FFF2-40B4-BE49-F238E27FC236}">
                    <a16:creationId xmlns:a16="http://schemas.microsoft.com/office/drawing/2014/main" id="{D9DE43C5-7723-48BA-830F-00CFB0718DB9}"/>
                  </a:ext>
                </a:extLst>
              </p:cNvPr>
              <p:cNvSpPr/>
              <p:nvPr/>
            </p:nvSpPr>
            <p:spPr>
              <a:xfrm>
                <a:off x="5996654" y="1854288"/>
                <a:ext cx="1266348" cy="1335535"/>
              </a:xfrm>
              <a:custGeom>
                <a:avLst/>
                <a:gdLst/>
                <a:ahLst/>
                <a:cxnLst/>
                <a:rect l="l" t="t" r="r" b="b"/>
                <a:pathLst>
                  <a:path w="1266348" h="1335535" extrusionOk="0">
                    <a:moveTo>
                      <a:pt x="1244537" y="1332871"/>
                    </a:moveTo>
                    <a:lnTo>
                      <a:pt x="21907" y="630498"/>
                    </a:lnTo>
                    <a:cubicBezTo>
                      <a:pt x="8382" y="620868"/>
                      <a:pt x="257" y="605380"/>
                      <a:pt x="0" y="588778"/>
                    </a:cubicBezTo>
                    <a:lnTo>
                      <a:pt x="0" y="19088"/>
                    </a:lnTo>
                    <a:cubicBezTo>
                      <a:pt x="0" y="3086"/>
                      <a:pt x="9525" y="-4343"/>
                      <a:pt x="21907" y="2610"/>
                    </a:cubicBezTo>
                    <a:lnTo>
                      <a:pt x="1244537" y="704983"/>
                    </a:lnTo>
                    <a:cubicBezTo>
                      <a:pt x="1257995" y="714651"/>
                      <a:pt x="1266092" y="730129"/>
                      <a:pt x="1266349" y="746703"/>
                    </a:cubicBezTo>
                    <a:lnTo>
                      <a:pt x="1266349" y="1316393"/>
                    </a:lnTo>
                    <a:cubicBezTo>
                      <a:pt x="1266349" y="1332491"/>
                      <a:pt x="1256538" y="1339920"/>
                      <a:pt x="1244537" y="13328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" name="Google Shape;3653;p38">
                <a:extLst>
                  <a:ext uri="{FF2B5EF4-FFF2-40B4-BE49-F238E27FC236}">
                    <a16:creationId xmlns:a16="http://schemas.microsoft.com/office/drawing/2014/main" id="{C90A24FB-E5F5-4A06-A7CC-A312BBC41772}"/>
                  </a:ext>
                </a:extLst>
              </p:cNvPr>
              <p:cNvSpPr/>
              <p:nvPr/>
            </p:nvSpPr>
            <p:spPr>
              <a:xfrm>
                <a:off x="6187916" y="2312479"/>
                <a:ext cx="441007" cy="412813"/>
              </a:xfrm>
              <a:custGeom>
                <a:avLst/>
                <a:gdLst/>
                <a:ahLst/>
                <a:cxnLst/>
                <a:rect l="l" t="t" r="r" b="b"/>
                <a:pathLst>
                  <a:path w="441007" h="412813" extrusionOk="0">
                    <a:moveTo>
                      <a:pt x="170307" y="157353"/>
                    </a:moveTo>
                    <a:lnTo>
                      <a:pt x="109919" y="1810"/>
                    </a:lnTo>
                    <a:lnTo>
                      <a:pt x="0" y="158210"/>
                    </a:lnTo>
                    <a:lnTo>
                      <a:pt x="120682" y="227838"/>
                    </a:lnTo>
                    <a:lnTo>
                      <a:pt x="219837" y="285083"/>
                    </a:lnTo>
                    <a:lnTo>
                      <a:pt x="441008" y="412813"/>
                    </a:lnTo>
                    <a:lnTo>
                      <a:pt x="280797" y="0"/>
                    </a:lnTo>
                    <a:lnTo>
                      <a:pt x="170307" y="157353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" name="Google Shape;3654;p38">
                <a:extLst>
                  <a:ext uri="{FF2B5EF4-FFF2-40B4-BE49-F238E27FC236}">
                    <a16:creationId xmlns:a16="http://schemas.microsoft.com/office/drawing/2014/main" id="{FFFFF727-783B-4723-AA43-1B61D5259670}"/>
                  </a:ext>
                </a:extLst>
              </p:cNvPr>
              <p:cNvSpPr/>
              <p:nvPr/>
            </p:nvSpPr>
            <p:spPr>
              <a:xfrm rot="-1801764">
                <a:off x="6969573" y="2537060"/>
                <a:ext cx="117623" cy="203653"/>
              </a:xfrm>
              <a:custGeom>
                <a:avLst/>
                <a:gdLst/>
                <a:ahLst/>
                <a:cxnLst/>
                <a:rect l="l" t="t" r="r" b="b"/>
                <a:pathLst>
                  <a:path w="117728" h="203834" extrusionOk="0">
                    <a:moveTo>
                      <a:pt x="117729" y="101918"/>
                    </a:moveTo>
                    <a:cubicBezTo>
                      <a:pt x="117729" y="158205"/>
                      <a:pt x="91374" y="203835"/>
                      <a:pt x="58864" y="203835"/>
                    </a:cubicBezTo>
                    <a:cubicBezTo>
                      <a:pt x="26354" y="203835"/>
                      <a:pt x="0" y="158205"/>
                      <a:pt x="0" y="101918"/>
                    </a:cubicBezTo>
                    <a:cubicBezTo>
                      <a:pt x="0" y="45630"/>
                      <a:pt x="26354" y="0"/>
                      <a:pt x="58864" y="0"/>
                    </a:cubicBezTo>
                    <a:cubicBezTo>
                      <a:pt x="91374" y="0"/>
                      <a:pt x="117729" y="45630"/>
                      <a:pt x="117729" y="101918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8" name="Google Shape;3655;p38">
              <a:extLst>
                <a:ext uri="{FF2B5EF4-FFF2-40B4-BE49-F238E27FC236}">
                  <a16:creationId xmlns:a16="http://schemas.microsoft.com/office/drawing/2014/main" id="{4188C9E0-496B-4458-9D03-5339605FC8F0}"/>
                </a:ext>
              </a:extLst>
            </p:cNvPr>
            <p:cNvSpPr/>
            <p:nvPr/>
          </p:nvSpPr>
          <p:spPr>
            <a:xfrm>
              <a:off x="4124355" y="1157329"/>
              <a:ext cx="276891" cy="1108478"/>
            </a:xfrm>
            <a:custGeom>
              <a:avLst/>
              <a:gdLst/>
              <a:ahLst/>
              <a:cxnLst/>
              <a:rect l="l" t="t" r="r" b="b"/>
              <a:pathLst>
                <a:path w="276891" h="1108478" extrusionOk="0">
                  <a:moveTo>
                    <a:pt x="276892" y="217170"/>
                  </a:moveTo>
                  <a:lnTo>
                    <a:pt x="276892" y="1070610"/>
                  </a:lnTo>
                  <a:cubicBezTo>
                    <a:pt x="276892" y="1102424"/>
                    <a:pt x="257842" y="1117092"/>
                    <a:pt x="233648" y="1103281"/>
                  </a:cubicBezTo>
                  <a:lnTo>
                    <a:pt x="0" y="968693"/>
                  </a:lnTo>
                  <a:lnTo>
                    <a:pt x="0" y="0"/>
                  </a:lnTo>
                  <a:lnTo>
                    <a:pt x="233648" y="134779"/>
                  </a:lnTo>
                  <a:cubicBezTo>
                    <a:pt x="257461" y="148590"/>
                    <a:pt x="276892" y="185642"/>
                    <a:pt x="276892" y="217170"/>
                  </a:cubicBezTo>
                  <a:close/>
                </a:path>
              </a:pathLst>
            </a:custGeom>
            <a:solidFill>
              <a:srgbClr val="000000">
                <a:alpha val="47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3656;p38">
              <a:extLst>
                <a:ext uri="{FF2B5EF4-FFF2-40B4-BE49-F238E27FC236}">
                  <a16:creationId xmlns:a16="http://schemas.microsoft.com/office/drawing/2014/main" id="{1262398C-CFDB-400D-AFCA-F64CAD0C244A}"/>
                </a:ext>
              </a:extLst>
            </p:cNvPr>
            <p:cNvSpPr/>
            <p:nvPr/>
          </p:nvSpPr>
          <p:spPr>
            <a:xfrm>
              <a:off x="3407027" y="665933"/>
              <a:ext cx="814853" cy="1408939"/>
            </a:xfrm>
            <a:custGeom>
              <a:avLst/>
              <a:gdLst/>
              <a:ahLst/>
              <a:cxnLst/>
              <a:rect l="l" t="t" r="r" b="b"/>
              <a:pathLst>
                <a:path w="814853" h="1408939" extrusionOk="0">
                  <a:moveTo>
                    <a:pt x="771144" y="419483"/>
                  </a:moveTo>
                  <a:lnTo>
                    <a:pt x="53340" y="5050"/>
                  </a:lnTo>
                  <a:cubicBezTo>
                    <a:pt x="45901" y="-81"/>
                    <a:pt x="36462" y="-1389"/>
                    <a:pt x="27908" y="1526"/>
                  </a:cubicBezTo>
                  <a:lnTo>
                    <a:pt x="27908" y="1526"/>
                  </a:lnTo>
                  <a:cubicBezTo>
                    <a:pt x="25956" y="2313"/>
                    <a:pt x="24136" y="3372"/>
                    <a:pt x="22479" y="4669"/>
                  </a:cubicBezTo>
                  <a:lnTo>
                    <a:pt x="0" y="17718"/>
                  </a:lnTo>
                  <a:lnTo>
                    <a:pt x="10477" y="31720"/>
                  </a:lnTo>
                  <a:cubicBezTo>
                    <a:pt x="10477" y="33625"/>
                    <a:pt x="10477" y="35625"/>
                    <a:pt x="10477" y="37721"/>
                  </a:cubicBezTo>
                  <a:lnTo>
                    <a:pt x="10477" y="891161"/>
                  </a:lnTo>
                  <a:cubicBezTo>
                    <a:pt x="10477" y="922974"/>
                    <a:pt x="29527" y="959931"/>
                    <a:pt x="53721" y="973743"/>
                  </a:cubicBezTo>
                  <a:lnTo>
                    <a:pt x="757904" y="1380365"/>
                  </a:lnTo>
                  <a:lnTo>
                    <a:pt x="766858" y="1408940"/>
                  </a:lnTo>
                  <a:lnTo>
                    <a:pt x="797624" y="1391700"/>
                  </a:lnTo>
                  <a:cubicBezTo>
                    <a:pt x="799176" y="1391004"/>
                    <a:pt x="800643" y="1390147"/>
                    <a:pt x="802005" y="1389128"/>
                  </a:cubicBezTo>
                  <a:lnTo>
                    <a:pt x="802005" y="1389128"/>
                  </a:lnTo>
                  <a:cubicBezTo>
                    <a:pt x="811178" y="1380508"/>
                    <a:pt x="815854" y="1368135"/>
                    <a:pt x="814673" y="1355600"/>
                  </a:cubicBezTo>
                  <a:lnTo>
                    <a:pt x="814673" y="502160"/>
                  </a:lnTo>
                  <a:cubicBezTo>
                    <a:pt x="814388" y="470442"/>
                    <a:pt x="795052" y="433294"/>
                    <a:pt x="771144" y="419483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" name="Google Shape;3657;p38">
              <a:extLst>
                <a:ext uri="{FF2B5EF4-FFF2-40B4-BE49-F238E27FC236}">
                  <a16:creationId xmlns:a16="http://schemas.microsoft.com/office/drawing/2014/main" id="{2D38B314-36D0-4F6F-B43A-BCA08AB9F8A3}"/>
                </a:ext>
              </a:extLst>
            </p:cNvPr>
            <p:cNvSpPr/>
            <p:nvPr/>
          </p:nvSpPr>
          <p:spPr>
            <a:xfrm>
              <a:off x="3387120" y="682740"/>
              <a:ext cx="804386" cy="1393465"/>
            </a:xfrm>
            <a:custGeom>
              <a:avLst/>
              <a:gdLst/>
              <a:ahLst/>
              <a:cxnLst/>
              <a:rect l="l" t="t" r="r" b="b"/>
              <a:pathLst>
                <a:path w="804386" h="1393465" extrusionOk="0">
                  <a:moveTo>
                    <a:pt x="761143" y="1388323"/>
                  </a:moveTo>
                  <a:lnTo>
                    <a:pt x="43244" y="973890"/>
                  </a:lnTo>
                  <a:cubicBezTo>
                    <a:pt x="19431" y="960079"/>
                    <a:pt x="0" y="923122"/>
                    <a:pt x="0" y="891213"/>
                  </a:cubicBezTo>
                  <a:lnTo>
                    <a:pt x="0" y="37869"/>
                  </a:lnTo>
                  <a:cubicBezTo>
                    <a:pt x="0" y="6055"/>
                    <a:pt x="19050" y="-8613"/>
                    <a:pt x="43244" y="5198"/>
                  </a:cubicBezTo>
                  <a:lnTo>
                    <a:pt x="761143" y="419631"/>
                  </a:lnTo>
                  <a:cubicBezTo>
                    <a:pt x="785050" y="433442"/>
                    <a:pt x="804386" y="470399"/>
                    <a:pt x="804386" y="502308"/>
                  </a:cubicBezTo>
                  <a:lnTo>
                    <a:pt x="804386" y="1355652"/>
                  </a:lnTo>
                  <a:cubicBezTo>
                    <a:pt x="804386" y="1387085"/>
                    <a:pt x="785050" y="1402134"/>
                    <a:pt x="761143" y="1388323"/>
                  </a:cubicBezTo>
                  <a:close/>
                </a:path>
              </a:pathLst>
            </a:custGeom>
            <a:solidFill>
              <a:srgbClr val="F5F7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" name="Google Shape;3658;p38">
              <a:extLst>
                <a:ext uri="{FF2B5EF4-FFF2-40B4-BE49-F238E27FC236}">
                  <a16:creationId xmlns:a16="http://schemas.microsoft.com/office/drawing/2014/main" id="{C82BFF01-F952-4F0A-841B-10644E954A7A}"/>
                </a:ext>
              </a:extLst>
            </p:cNvPr>
            <p:cNvSpPr/>
            <p:nvPr/>
          </p:nvSpPr>
          <p:spPr>
            <a:xfrm>
              <a:off x="3499610" y="847672"/>
              <a:ext cx="17240" cy="769048"/>
            </a:xfrm>
            <a:custGeom>
              <a:avLst/>
              <a:gdLst/>
              <a:ahLst/>
              <a:cxnLst/>
              <a:rect l="l" t="t" r="r" b="b"/>
              <a:pathLst>
                <a:path w="17240" h="769048" extrusionOk="0">
                  <a:moveTo>
                    <a:pt x="0" y="759047"/>
                  </a:moveTo>
                  <a:lnTo>
                    <a:pt x="17240" y="769048"/>
                  </a:lnTo>
                  <a:lnTo>
                    <a:pt x="17240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3659;p38">
              <a:extLst>
                <a:ext uri="{FF2B5EF4-FFF2-40B4-BE49-F238E27FC236}">
                  <a16:creationId xmlns:a16="http://schemas.microsoft.com/office/drawing/2014/main" id="{141DFB32-3B97-4FF2-B333-707ADB997C2E}"/>
                </a:ext>
              </a:extLst>
            </p:cNvPr>
            <p:cNvSpPr/>
            <p:nvPr/>
          </p:nvSpPr>
          <p:spPr>
            <a:xfrm>
              <a:off x="3477988" y="1035502"/>
              <a:ext cx="60483" cy="177021"/>
            </a:xfrm>
            <a:custGeom>
              <a:avLst/>
              <a:gdLst/>
              <a:ahLst/>
              <a:cxnLst/>
              <a:rect l="l" t="t" r="r" b="b"/>
              <a:pathLst>
                <a:path w="60483" h="177021" extrusionOk="0">
                  <a:moveTo>
                    <a:pt x="30289" y="173358"/>
                  </a:moveTo>
                  <a:lnTo>
                    <a:pt x="30289" y="173358"/>
                  </a:lnTo>
                  <a:cubicBezTo>
                    <a:pt x="11573" y="160004"/>
                    <a:pt x="324" y="138535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525" y="-5998"/>
                    <a:pt x="30289" y="3623"/>
                  </a:cubicBezTo>
                  <a:lnTo>
                    <a:pt x="30289" y="3623"/>
                  </a:lnTo>
                  <a:cubicBezTo>
                    <a:pt x="48949" y="17022"/>
                    <a:pt x="60150" y="38472"/>
                    <a:pt x="60484" y="61439"/>
                  </a:cubicBezTo>
                  <a:lnTo>
                    <a:pt x="60484" y="150498"/>
                  </a:lnTo>
                  <a:cubicBezTo>
                    <a:pt x="60484" y="172787"/>
                    <a:pt x="46958" y="183074"/>
                    <a:pt x="30289" y="17335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3660;p38">
              <a:extLst>
                <a:ext uri="{FF2B5EF4-FFF2-40B4-BE49-F238E27FC236}">
                  <a16:creationId xmlns:a16="http://schemas.microsoft.com/office/drawing/2014/main" id="{3A5A3432-CEFD-4139-815C-36040646098B}"/>
                </a:ext>
              </a:extLst>
            </p:cNvPr>
            <p:cNvSpPr/>
            <p:nvPr/>
          </p:nvSpPr>
          <p:spPr>
            <a:xfrm>
              <a:off x="3684776" y="951970"/>
              <a:ext cx="17335" cy="768953"/>
            </a:xfrm>
            <a:custGeom>
              <a:avLst/>
              <a:gdLst/>
              <a:ahLst/>
              <a:cxnLst/>
              <a:rect l="l" t="t" r="r" b="b"/>
              <a:pathLst>
                <a:path w="17335" h="768953" extrusionOk="0">
                  <a:moveTo>
                    <a:pt x="0" y="758952"/>
                  </a:moveTo>
                  <a:lnTo>
                    <a:pt x="17336" y="768953"/>
                  </a:lnTo>
                  <a:lnTo>
                    <a:pt x="17336" y="10001"/>
                  </a:lnTo>
                  <a:lnTo>
                    <a:pt x="0" y="0"/>
                  </a:lnTo>
                  <a:lnTo>
                    <a:pt x="0" y="758952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3661;p38">
              <a:extLst>
                <a:ext uri="{FF2B5EF4-FFF2-40B4-BE49-F238E27FC236}">
                  <a16:creationId xmlns:a16="http://schemas.microsoft.com/office/drawing/2014/main" id="{D4C0F22E-F576-4754-8B7A-A9FDB4E6AE8F}"/>
                </a:ext>
              </a:extLst>
            </p:cNvPr>
            <p:cNvSpPr/>
            <p:nvPr/>
          </p:nvSpPr>
          <p:spPr>
            <a:xfrm>
              <a:off x="3663154" y="1389355"/>
              <a:ext cx="60579" cy="177060"/>
            </a:xfrm>
            <a:custGeom>
              <a:avLst/>
              <a:gdLst/>
              <a:ahLst/>
              <a:cxnLst/>
              <a:rect l="l" t="t" r="r" b="b"/>
              <a:pathLst>
                <a:path w="60579" h="177060" extrusionOk="0">
                  <a:moveTo>
                    <a:pt x="30289" y="173453"/>
                  </a:moveTo>
                  <a:lnTo>
                    <a:pt x="30289" y="173453"/>
                  </a:lnTo>
                  <a:cubicBezTo>
                    <a:pt x="11621" y="160014"/>
                    <a:pt x="391" y="138544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621" y="-5998"/>
                    <a:pt x="30289" y="3623"/>
                  </a:cubicBezTo>
                  <a:lnTo>
                    <a:pt x="30289" y="3623"/>
                  </a:lnTo>
                  <a:cubicBezTo>
                    <a:pt x="48987" y="17005"/>
                    <a:pt x="60217" y="38456"/>
                    <a:pt x="60579" y="61439"/>
                  </a:cubicBezTo>
                  <a:lnTo>
                    <a:pt x="60579" y="150498"/>
                  </a:lnTo>
                  <a:cubicBezTo>
                    <a:pt x="60579" y="172787"/>
                    <a:pt x="47053" y="183074"/>
                    <a:pt x="30289" y="17345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3662;p38">
              <a:extLst>
                <a:ext uri="{FF2B5EF4-FFF2-40B4-BE49-F238E27FC236}">
                  <a16:creationId xmlns:a16="http://schemas.microsoft.com/office/drawing/2014/main" id="{AF33C111-BFEC-4AA0-972A-169F48A222FF}"/>
                </a:ext>
              </a:extLst>
            </p:cNvPr>
            <p:cNvSpPr/>
            <p:nvPr/>
          </p:nvSpPr>
          <p:spPr>
            <a:xfrm>
              <a:off x="3870037" y="1058841"/>
              <a:ext cx="17335" cy="769048"/>
            </a:xfrm>
            <a:custGeom>
              <a:avLst/>
              <a:gdLst/>
              <a:ahLst/>
              <a:cxnLst/>
              <a:rect l="l" t="t" r="r" b="b"/>
              <a:pathLst>
                <a:path w="17335" h="769048" extrusionOk="0">
                  <a:moveTo>
                    <a:pt x="0" y="759047"/>
                  </a:moveTo>
                  <a:lnTo>
                    <a:pt x="17335" y="769049"/>
                  </a:lnTo>
                  <a:lnTo>
                    <a:pt x="17335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3663;p38">
              <a:extLst>
                <a:ext uri="{FF2B5EF4-FFF2-40B4-BE49-F238E27FC236}">
                  <a16:creationId xmlns:a16="http://schemas.microsoft.com/office/drawing/2014/main" id="{E3BA1118-5A72-4A67-B5B8-3B0840F32FF8}"/>
                </a:ext>
              </a:extLst>
            </p:cNvPr>
            <p:cNvSpPr/>
            <p:nvPr/>
          </p:nvSpPr>
          <p:spPr>
            <a:xfrm>
              <a:off x="3848416" y="1146769"/>
              <a:ext cx="60579" cy="177060"/>
            </a:xfrm>
            <a:custGeom>
              <a:avLst/>
              <a:gdLst/>
              <a:ahLst/>
              <a:cxnLst/>
              <a:rect l="l" t="t" r="r" b="b"/>
              <a:pathLst>
                <a:path w="60579" h="177060" extrusionOk="0">
                  <a:moveTo>
                    <a:pt x="30289" y="173438"/>
                  </a:moveTo>
                  <a:lnTo>
                    <a:pt x="30289" y="173438"/>
                  </a:lnTo>
                  <a:cubicBezTo>
                    <a:pt x="11592" y="160055"/>
                    <a:pt x="362" y="138605"/>
                    <a:pt x="0" y="115621"/>
                  </a:cubicBezTo>
                  <a:lnTo>
                    <a:pt x="0" y="26562"/>
                  </a:lnTo>
                  <a:cubicBezTo>
                    <a:pt x="0" y="4274"/>
                    <a:pt x="13525" y="-6013"/>
                    <a:pt x="30289" y="3607"/>
                  </a:cubicBezTo>
                  <a:lnTo>
                    <a:pt x="30289" y="3607"/>
                  </a:lnTo>
                  <a:cubicBezTo>
                    <a:pt x="48958" y="17047"/>
                    <a:pt x="60188" y="38516"/>
                    <a:pt x="60579" y="61519"/>
                  </a:cubicBezTo>
                  <a:lnTo>
                    <a:pt x="60579" y="150578"/>
                  </a:lnTo>
                  <a:cubicBezTo>
                    <a:pt x="60579" y="172866"/>
                    <a:pt x="46958" y="183058"/>
                    <a:pt x="30289" y="17343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3664;p38">
              <a:extLst>
                <a:ext uri="{FF2B5EF4-FFF2-40B4-BE49-F238E27FC236}">
                  <a16:creationId xmlns:a16="http://schemas.microsoft.com/office/drawing/2014/main" id="{5736B51D-2741-46E5-97EF-1C1F4E51E025}"/>
                </a:ext>
              </a:extLst>
            </p:cNvPr>
            <p:cNvSpPr/>
            <p:nvPr/>
          </p:nvSpPr>
          <p:spPr>
            <a:xfrm>
              <a:off x="4055299" y="1165807"/>
              <a:ext cx="17240" cy="768953"/>
            </a:xfrm>
            <a:custGeom>
              <a:avLst/>
              <a:gdLst/>
              <a:ahLst/>
              <a:cxnLst/>
              <a:rect l="l" t="t" r="r" b="b"/>
              <a:pathLst>
                <a:path w="17240" h="768953" extrusionOk="0">
                  <a:moveTo>
                    <a:pt x="0" y="759047"/>
                  </a:moveTo>
                  <a:lnTo>
                    <a:pt x="17240" y="768953"/>
                  </a:lnTo>
                  <a:lnTo>
                    <a:pt x="17240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3665;p38">
              <a:extLst>
                <a:ext uri="{FF2B5EF4-FFF2-40B4-BE49-F238E27FC236}">
                  <a16:creationId xmlns:a16="http://schemas.microsoft.com/office/drawing/2014/main" id="{59D0AD66-050B-45EC-BF41-A03B8BAF1E3D}"/>
                </a:ext>
              </a:extLst>
            </p:cNvPr>
            <p:cNvSpPr/>
            <p:nvPr/>
          </p:nvSpPr>
          <p:spPr>
            <a:xfrm>
              <a:off x="4033677" y="1453459"/>
              <a:ext cx="60483" cy="177021"/>
            </a:xfrm>
            <a:custGeom>
              <a:avLst/>
              <a:gdLst/>
              <a:ahLst/>
              <a:cxnLst/>
              <a:rect l="l" t="t" r="r" b="b"/>
              <a:pathLst>
                <a:path w="60483" h="177021" extrusionOk="0">
                  <a:moveTo>
                    <a:pt x="30290" y="173358"/>
                  </a:moveTo>
                  <a:lnTo>
                    <a:pt x="30290" y="173358"/>
                  </a:lnTo>
                  <a:cubicBezTo>
                    <a:pt x="11573" y="160004"/>
                    <a:pt x="324" y="138535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525" y="-5998"/>
                    <a:pt x="30290" y="3623"/>
                  </a:cubicBezTo>
                  <a:lnTo>
                    <a:pt x="30290" y="3623"/>
                  </a:lnTo>
                  <a:cubicBezTo>
                    <a:pt x="48949" y="17024"/>
                    <a:pt x="60150" y="38475"/>
                    <a:pt x="60484" y="61439"/>
                  </a:cubicBezTo>
                  <a:lnTo>
                    <a:pt x="60484" y="150498"/>
                  </a:lnTo>
                  <a:cubicBezTo>
                    <a:pt x="60484" y="172787"/>
                    <a:pt x="46958" y="183074"/>
                    <a:pt x="30290" y="17335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9" name="Google Shape;3666;p38">
              <a:extLst>
                <a:ext uri="{FF2B5EF4-FFF2-40B4-BE49-F238E27FC236}">
                  <a16:creationId xmlns:a16="http://schemas.microsoft.com/office/drawing/2014/main" id="{E80EE745-29AC-4AD7-82C4-71B70D23AA04}"/>
                </a:ext>
              </a:extLst>
            </p:cNvPr>
            <p:cNvGrpSpPr/>
            <p:nvPr/>
          </p:nvGrpSpPr>
          <p:grpSpPr>
            <a:xfrm>
              <a:off x="3457891" y="2611797"/>
              <a:ext cx="595122" cy="410622"/>
              <a:chOff x="5119116" y="3513772"/>
              <a:chExt cx="595122" cy="410622"/>
            </a:xfrm>
          </p:grpSpPr>
          <p:sp>
            <p:nvSpPr>
              <p:cNvPr id="138" name="Google Shape;3667;p38">
                <a:extLst>
                  <a:ext uri="{FF2B5EF4-FFF2-40B4-BE49-F238E27FC236}">
                    <a16:creationId xmlns:a16="http://schemas.microsoft.com/office/drawing/2014/main" id="{AD0DBF3A-87C7-4F7D-9EFD-454D2E2689F3}"/>
                  </a:ext>
                </a:extLst>
              </p:cNvPr>
              <p:cNvSpPr/>
              <p:nvPr/>
            </p:nvSpPr>
            <p:spPr>
              <a:xfrm>
                <a:off x="5119116" y="361864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3668;p38">
                <a:extLst>
                  <a:ext uri="{FF2B5EF4-FFF2-40B4-BE49-F238E27FC236}">
                    <a16:creationId xmlns:a16="http://schemas.microsoft.com/office/drawing/2014/main" id="{5EFF5393-540D-4FD9-844B-C11A9EEC8DCB}"/>
                  </a:ext>
                </a:extLst>
              </p:cNvPr>
              <p:cNvSpPr/>
              <p:nvPr/>
            </p:nvSpPr>
            <p:spPr>
              <a:xfrm>
                <a:off x="5184648" y="3579304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3669;p38">
                <a:extLst>
                  <a:ext uri="{FF2B5EF4-FFF2-40B4-BE49-F238E27FC236}">
                    <a16:creationId xmlns:a16="http://schemas.microsoft.com/office/drawing/2014/main" id="{F3762EF4-05E2-460C-9513-01915C27EBF7}"/>
                  </a:ext>
                </a:extLst>
              </p:cNvPr>
              <p:cNvSpPr/>
              <p:nvPr/>
            </p:nvSpPr>
            <p:spPr>
              <a:xfrm>
                <a:off x="5184743" y="3664839"/>
                <a:ext cx="52292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292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3670;p38">
                <a:extLst>
                  <a:ext uri="{FF2B5EF4-FFF2-40B4-BE49-F238E27FC236}">
                    <a16:creationId xmlns:a16="http://schemas.microsoft.com/office/drawing/2014/main" id="{6F32E373-96EB-47BF-9E6A-F5852F0D2D69}"/>
                  </a:ext>
                </a:extLst>
              </p:cNvPr>
              <p:cNvSpPr/>
              <p:nvPr/>
            </p:nvSpPr>
            <p:spPr>
              <a:xfrm>
                <a:off x="5674423" y="3666648"/>
                <a:ext cx="39814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814" h="93916" extrusionOk="0">
                    <a:moveTo>
                      <a:pt x="39814" y="0"/>
                    </a:moveTo>
                    <a:lnTo>
                      <a:pt x="39814" y="65532"/>
                    </a:lnTo>
                    <a:lnTo>
                      <a:pt x="13049" y="93916"/>
                    </a:lnTo>
                    <a:lnTo>
                      <a:pt x="0" y="18955"/>
                    </a:lnTo>
                    <a:lnTo>
                      <a:pt x="39814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3671;p38">
                <a:extLst>
                  <a:ext uri="{FF2B5EF4-FFF2-40B4-BE49-F238E27FC236}">
                    <a16:creationId xmlns:a16="http://schemas.microsoft.com/office/drawing/2014/main" id="{B9F409A4-F238-49C6-B8D0-936C3A222379}"/>
                  </a:ext>
                </a:extLst>
              </p:cNvPr>
              <p:cNvSpPr/>
              <p:nvPr/>
            </p:nvSpPr>
            <p:spPr>
              <a:xfrm>
                <a:off x="5184648" y="351377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8"/>
                      <a:pt x="411037" y="305753"/>
                      <a:pt x="264795" y="305753"/>
                    </a:cubicBezTo>
                    <a:cubicBezTo>
                      <a:pt x="118553" y="305753"/>
                      <a:pt x="0" y="237308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" name="Google Shape;3672;p38">
                <a:extLst>
                  <a:ext uri="{FF2B5EF4-FFF2-40B4-BE49-F238E27FC236}">
                    <a16:creationId xmlns:a16="http://schemas.microsoft.com/office/drawing/2014/main" id="{0D4BB3B3-58D0-405C-9D3C-3EC8146AFFA5}"/>
                  </a:ext>
                </a:extLst>
              </p:cNvPr>
              <p:cNvSpPr/>
              <p:nvPr/>
            </p:nvSpPr>
            <p:spPr>
              <a:xfrm>
                <a:off x="5260027" y="3555420"/>
                <a:ext cx="379097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097" h="218860" extrusionOk="0">
                    <a:moveTo>
                      <a:pt x="378772" y="115991"/>
                    </a:moveTo>
                    <a:cubicBezTo>
                      <a:pt x="376105" y="141708"/>
                      <a:pt x="357722" y="167140"/>
                      <a:pt x="323623" y="186857"/>
                    </a:cubicBezTo>
                    <a:cubicBezTo>
                      <a:pt x="249518" y="229529"/>
                      <a:pt x="129503" y="229529"/>
                      <a:pt x="55494" y="186857"/>
                    </a:cubicBezTo>
                    <a:cubicBezTo>
                      <a:pt x="21299" y="167140"/>
                      <a:pt x="3011" y="141708"/>
                      <a:pt x="344" y="115991"/>
                    </a:cubicBezTo>
                    <a:cubicBezTo>
                      <a:pt x="-2799" y="85892"/>
                      <a:pt x="15584" y="55031"/>
                      <a:pt x="55494" y="32076"/>
                    </a:cubicBezTo>
                    <a:cubicBezTo>
                      <a:pt x="129503" y="-10692"/>
                      <a:pt x="249518" y="-10692"/>
                      <a:pt x="323623" y="32076"/>
                    </a:cubicBezTo>
                    <a:cubicBezTo>
                      <a:pt x="363437" y="55031"/>
                      <a:pt x="381821" y="85892"/>
                      <a:pt x="378772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" name="Google Shape;3673;p38">
                <a:extLst>
                  <a:ext uri="{FF2B5EF4-FFF2-40B4-BE49-F238E27FC236}">
                    <a16:creationId xmlns:a16="http://schemas.microsoft.com/office/drawing/2014/main" id="{61D18ABE-258B-4E59-A26F-20D6A47DFABF}"/>
                  </a:ext>
                </a:extLst>
              </p:cNvPr>
              <p:cNvSpPr/>
              <p:nvPr/>
            </p:nvSpPr>
            <p:spPr>
              <a:xfrm>
                <a:off x="5260371" y="3568469"/>
                <a:ext cx="378428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428" h="205811" extrusionOk="0">
                    <a:moveTo>
                      <a:pt x="378428" y="102942"/>
                    </a:moveTo>
                    <a:cubicBezTo>
                      <a:pt x="375761" y="128659"/>
                      <a:pt x="357378" y="154091"/>
                      <a:pt x="323279" y="173808"/>
                    </a:cubicBezTo>
                    <a:cubicBezTo>
                      <a:pt x="249174" y="216479"/>
                      <a:pt x="129159" y="216479"/>
                      <a:pt x="55150" y="173808"/>
                    </a:cubicBezTo>
                    <a:cubicBezTo>
                      <a:pt x="20955" y="154091"/>
                      <a:pt x="2667" y="128659"/>
                      <a:pt x="0" y="102942"/>
                    </a:cubicBezTo>
                    <a:cubicBezTo>
                      <a:pt x="2667" y="77224"/>
                      <a:pt x="20955" y="51792"/>
                      <a:pt x="55150" y="32076"/>
                    </a:cubicBezTo>
                    <a:cubicBezTo>
                      <a:pt x="129159" y="-10692"/>
                      <a:pt x="249174" y="-10692"/>
                      <a:pt x="323279" y="32076"/>
                    </a:cubicBezTo>
                    <a:cubicBezTo>
                      <a:pt x="357283" y="51792"/>
                      <a:pt x="375666" y="77224"/>
                      <a:pt x="378428" y="102942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3674;p38">
                <a:extLst>
                  <a:ext uri="{FF2B5EF4-FFF2-40B4-BE49-F238E27FC236}">
                    <a16:creationId xmlns:a16="http://schemas.microsoft.com/office/drawing/2014/main" id="{F16B4574-9679-4105-892C-9A6DFA64F28C}"/>
                  </a:ext>
                </a:extLst>
              </p:cNvPr>
              <p:cNvSpPr/>
              <p:nvPr/>
            </p:nvSpPr>
            <p:spPr>
              <a:xfrm>
                <a:off x="5357145" y="3618071"/>
                <a:ext cx="176643" cy="110490"/>
              </a:xfrm>
              <a:custGeom>
                <a:avLst/>
                <a:gdLst/>
                <a:ahLst/>
                <a:cxnLst/>
                <a:rect l="l" t="t" r="r" b="b"/>
                <a:pathLst>
                  <a:path w="176643" h="110490" extrusionOk="0">
                    <a:moveTo>
                      <a:pt x="89535" y="17526"/>
                    </a:moveTo>
                    <a:cubicBezTo>
                      <a:pt x="87202" y="17488"/>
                      <a:pt x="84877" y="17678"/>
                      <a:pt x="82582" y="18097"/>
                    </a:cubicBezTo>
                    <a:cubicBezTo>
                      <a:pt x="79439" y="18097"/>
                      <a:pt x="76010" y="19145"/>
                      <a:pt x="72104" y="20003"/>
                    </a:cubicBezTo>
                    <a:cubicBezTo>
                      <a:pt x="68199" y="20860"/>
                      <a:pt x="64199" y="21812"/>
                      <a:pt x="60008" y="23050"/>
                    </a:cubicBezTo>
                    <a:cubicBezTo>
                      <a:pt x="55959" y="24260"/>
                      <a:pt x="52007" y="25784"/>
                      <a:pt x="48197" y="27622"/>
                    </a:cubicBezTo>
                    <a:lnTo>
                      <a:pt x="78581" y="45148"/>
                    </a:lnTo>
                    <a:lnTo>
                      <a:pt x="84106" y="43244"/>
                    </a:lnTo>
                    <a:cubicBezTo>
                      <a:pt x="91821" y="40672"/>
                      <a:pt x="99155" y="38481"/>
                      <a:pt x="106013" y="36671"/>
                    </a:cubicBezTo>
                    <a:cubicBezTo>
                      <a:pt x="112462" y="34947"/>
                      <a:pt x="119063" y="33861"/>
                      <a:pt x="125730" y="33433"/>
                    </a:cubicBezTo>
                    <a:cubicBezTo>
                      <a:pt x="131788" y="33023"/>
                      <a:pt x="137884" y="33433"/>
                      <a:pt x="143828" y="34671"/>
                    </a:cubicBezTo>
                    <a:cubicBezTo>
                      <a:pt x="149943" y="35938"/>
                      <a:pt x="155801" y="38224"/>
                      <a:pt x="161163" y="41434"/>
                    </a:cubicBezTo>
                    <a:cubicBezTo>
                      <a:pt x="166468" y="44072"/>
                      <a:pt x="171002" y="48044"/>
                      <a:pt x="174308" y="52959"/>
                    </a:cubicBezTo>
                    <a:cubicBezTo>
                      <a:pt x="176498" y="56521"/>
                      <a:pt x="177184" y="60798"/>
                      <a:pt x="176213" y="64865"/>
                    </a:cubicBezTo>
                    <a:cubicBezTo>
                      <a:pt x="174927" y="69342"/>
                      <a:pt x="172460" y="73390"/>
                      <a:pt x="169069" y="76581"/>
                    </a:cubicBezTo>
                    <a:cubicBezTo>
                      <a:pt x="164887" y="80781"/>
                      <a:pt x="160220" y="84458"/>
                      <a:pt x="155162" y="87535"/>
                    </a:cubicBezTo>
                    <a:lnTo>
                      <a:pt x="174212" y="98679"/>
                    </a:lnTo>
                    <a:lnTo>
                      <a:pt x="163735" y="104775"/>
                    </a:lnTo>
                    <a:lnTo>
                      <a:pt x="144113" y="93536"/>
                    </a:lnTo>
                    <a:cubicBezTo>
                      <a:pt x="134969" y="98107"/>
                      <a:pt x="125397" y="101775"/>
                      <a:pt x="115538" y="104489"/>
                    </a:cubicBezTo>
                    <a:cubicBezTo>
                      <a:pt x="105032" y="107432"/>
                      <a:pt x="94298" y="109442"/>
                      <a:pt x="83439" y="110490"/>
                    </a:cubicBezTo>
                    <a:lnTo>
                      <a:pt x="73247" y="92202"/>
                    </a:lnTo>
                    <a:cubicBezTo>
                      <a:pt x="76114" y="92145"/>
                      <a:pt x="78981" y="91926"/>
                      <a:pt x="81820" y="91535"/>
                    </a:cubicBezTo>
                    <a:cubicBezTo>
                      <a:pt x="86116" y="91049"/>
                      <a:pt x="90373" y="90316"/>
                      <a:pt x="94583" y="89345"/>
                    </a:cubicBezTo>
                    <a:cubicBezTo>
                      <a:pt x="99251" y="88392"/>
                      <a:pt x="104108" y="87058"/>
                      <a:pt x="109442" y="85534"/>
                    </a:cubicBezTo>
                    <a:cubicBezTo>
                      <a:pt x="114529" y="84077"/>
                      <a:pt x="119501" y="82239"/>
                      <a:pt x="124301" y="80010"/>
                    </a:cubicBezTo>
                    <a:lnTo>
                      <a:pt x="94012" y="62579"/>
                    </a:lnTo>
                    <a:lnTo>
                      <a:pt x="90107" y="63913"/>
                    </a:lnTo>
                    <a:lnTo>
                      <a:pt x="85916" y="65151"/>
                    </a:lnTo>
                    <a:cubicBezTo>
                      <a:pt x="79038" y="67485"/>
                      <a:pt x="72047" y="69456"/>
                      <a:pt x="64961" y="71056"/>
                    </a:cubicBezTo>
                    <a:cubicBezTo>
                      <a:pt x="59112" y="72409"/>
                      <a:pt x="53150" y="73209"/>
                      <a:pt x="47149" y="73438"/>
                    </a:cubicBezTo>
                    <a:cubicBezTo>
                      <a:pt x="41834" y="73657"/>
                      <a:pt x="36519" y="73171"/>
                      <a:pt x="31337" y="72009"/>
                    </a:cubicBezTo>
                    <a:cubicBezTo>
                      <a:pt x="26213" y="70761"/>
                      <a:pt x="21308" y="68771"/>
                      <a:pt x="16764" y="66104"/>
                    </a:cubicBezTo>
                    <a:cubicBezTo>
                      <a:pt x="11792" y="63465"/>
                      <a:pt x="7468" y="59760"/>
                      <a:pt x="4096" y="55245"/>
                    </a:cubicBezTo>
                    <a:cubicBezTo>
                      <a:pt x="1676" y="51797"/>
                      <a:pt x="476" y="47644"/>
                      <a:pt x="667" y="43434"/>
                    </a:cubicBezTo>
                    <a:cubicBezTo>
                      <a:pt x="1105" y="39091"/>
                      <a:pt x="2829" y="34976"/>
                      <a:pt x="5620" y="31623"/>
                    </a:cubicBezTo>
                    <a:cubicBezTo>
                      <a:pt x="9182" y="27327"/>
                      <a:pt x="13354" y="23565"/>
                      <a:pt x="18002" y="20479"/>
                    </a:cubicBezTo>
                    <a:lnTo>
                      <a:pt x="0" y="10096"/>
                    </a:lnTo>
                    <a:lnTo>
                      <a:pt x="10573" y="4000"/>
                    </a:lnTo>
                    <a:lnTo>
                      <a:pt x="28385" y="14288"/>
                    </a:lnTo>
                    <a:cubicBezTo>
                      <a:pt x="36709" y="10163"/>
                      <a:pt x="45463" y="6963"/>
                      <a:pt x="54483" y="4763"/>
                    </a:cubicBezTo>
                    <a:cubicBezTo>
                      <a:pt x="63103" y="2600"/>
                      <a:pt x="71847" y="1010"/>
                      <a:pt x="80677" y="0"/>
                    </a:cubicBezTo>
                    <a:close/>
                    <a:moveTo>
                      <a:pt x="37814" y="49054"/>
                    </a:moveTo>
                    <a:cubicBezTo>
                      <a:pt x="41796" y="51340"/>
                      <a:pt x="46387" y="52340"/>
                      <a:pt x="50959" y="51911"/>
                    </a:cubicBezTo>
                    <a:cubicBezTo>
                      <a:pt x="57150" y="51197"/>
                      <a:pt x="63256" y="49825"/>
                      <a:pt x="69152" y="47815"/>
                    </a:cubicBezTo>
                    <a:lnTo>
                      <a:pt x="40577" y="31337"/>
                    </a:lnTo>
                    <a:cubicBezTo>
                      <a:pt x="30194" y="38576"/>
                      <a:pt x="29242" y="44482"/>
                      <a:pt x="37814" y="49054"/>
                    </a:cubicBezTo>
                    <a:close/>
                    <a:moveTo>
                      <a:pt x="137732" y="57340"/>
                    </a:moveTo>
                    <a:cubicBezTo>
                      <a:pt x="133398" y="54978"/>
                      <a:pt x="128416" y="54112"/>
                      <a:pt x="123539" y="54864"/>
                    </a:cubicBezTo>
                    <a:cubicBezTo>
                      <a:pt x="116777" y="55683"/>
                      <a:pt x="110109" y="57150"/>
                      <a:pt x="103632" y="59246"/>
                    </a:cubicBezTo>
                    <a:lnTo>
                      <a:pt x="132207" y="75533"/>
                    </a:lnTo>
                    <a:cubicBezTo>
                      <a:pt x="144018" y="68580"/>
                      <a:pt x="145923" y="62484"/>
                      <a:pt x="137732" y="5772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" name="Google Shape;3675;p38">
                <a:extLst>
                  <a:ext uri="{FF2B5EF4-FFF2-40B4-BE49-F238E27FC236}">
                    <a16:creationId xmlns:a16="http://schemas.microsoft.com/office/drawing/2014/main" id="{76893D88-8E45-4F8E-8354-A11694DE8AB9}"/>
                  </a:ext>
                </a:extLst>
              </p:cNvPr>
              <p:cNvSpPr/>
              <p:nvPr/>
            </p:nvSpPr>
            <p:spPr>
              <a:xfrm>
                <a:off x="5430297" y="3699986"/>
                <a:ext cx="11620" cy="15239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39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3676;p38">
                <a:extLst>
                  <a:ext uri="{FF2B5EF4-FFF2-40B4-BE49-F238E27FC236}">
                    <a16:creationId xmlns:a16="http://schemas.microsoft.com/office/drawing/2014/main" id="{05480A1A-6BD8-467D-9634-09D455319A6F}"/>
                  </a:ext>
                </a:extLst>
              </p:cNvPr>
              <p:cNvSpPr/>
              <p:nvPr/>
            </p:nvSpPr>
            <p:spPr>
              <a:xfrm>
                <a:off x="5506497" y="3706463"/>
                <a:ext cx="25145" cy="11810"/>
              </a:xfrm>
              <a:custGeom>
                <a:avLst/>
                <a:gdLst/>
                <a:ahLst/>
                <a:cxnLst/>
                <a:rect l="l" t="t" r="r" b="b"/>
                <a:pathLst>
                  <a:path w="25145" h="11810" extrusionOk="0">
                    <a:moveTo>
                      <a:pt x="25146" y="10287"/>
                    </a:moveTo>
                    <a:lnTo>
                      <a:pt x="25146" y="0"/>
                    </a:lnTo>
                    <a:lnTo>
                      <a:pt x="0" y="2000"/>
                    </a:lnTo>
                    <a:lnTo>
                      <a:pt x="14478" y="11811"/>
                    </a:lnTo>
                    <a:lnTo>
                      <a:pt x="25146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" name="Google Shape;3677;p38">
                <a:extLst>
                  <a:ext uri="{FF2B5EF4-FFF2-40B4-BE49-F238E27FC236}">
                    <a16:creationId xmlns:a16="http://schemas.microsoft.com/office/drawing/2014/main" id="{03B04A82-8971-4FFD-ADEA-A4E60EB5FBA4}"/>
                  </a:ext>
                </a:extLst>
              </p:cNvPr>
              <p:cNvSpPr/>
              <p:nvPr/>
            </p:nvSpPr>
            <p:spPr>
              <a:xfrm>
                <a:off x="5514975" y="3668744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2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" name="Google Shape;3678;p38">
                <a:extLst>
                  <a:ext uri="{FF2B5EF4-FFF2-40B4-BE49-F238E27FC236}">
                    <a16:creationId xmlns:a16="http://schemas.microsoft.com/office/drawing/2014/main" id="{749F2996-156B-44B2-AEA5-323AE34FBB07}"/>
                  </a:ext>
                </a:extLst>
              </p:cNvPr>
              <p:cNvSpPr/>
              <p:nvPr/>
            </p:nvSpPr>
            <p:spPr>
              <a:xfrm>
                <a:off x="5455729" y="3672554"/>
                <a:ext cx="28384" cy="19811"/>
              </a:xfrm>
              <a:custGeom>
                <a:avLst/>
                <a:gdLst/>
                <a:ahLst/>
                <a:cxnLst/>
                <a:rect l="l" t="t" r="r" b="b"/>
                <a:pathLst>
                  <a:path w="28384" h="19811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384" y="15240"/>
                    </a:lnTo>
                    <a:lnTo>
                      <a:pt x="27051" y="19812"/>
                    </a:lnTo>
                    <a:cubicBezTo>
                      <a:pt x="27051" y="19812"/>
                      <a:pt x="10478" y="12859"/>
                      <a:pt x="9906" y="12382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" name="Google Shape;3679;p38">
                <a:extLst>
                  <a:ext uri="{FF2B5EF4-FFF2-40B4-BE49-F238E27FC236}">
                    <a16:creationId xmlns:a16="http://schemas.microsoft.com/office/drawing/2014/main" id="{156A9E03-D2D4-48D3-ACEF-8B929370AA5D}"/>
                  </a:ext>
                </a:extLst>
              </p:cNvPr>
              <p:cNvSpPr/>
              <p:nvPr/>
            </p:nvSpPr>
            <p:spPr>
              <a:xfrm>
                <a:off x="5397817" y="3639502"/>
                <a:ext cx="35337" cy="23336"/>
              </a:xfrm>
              <a:custGeom>
                <a:avLst/>
                <a:gdLst/>
                <a:ahLst/>
                <a:cxnLst/>
                <a:rect l="l" t="t" r="r" b="b"/>
                <a:pathLst>
                  <a:path w="35337" h="23336" extrusionOk="0">
                    <a:moveTo>
                      <a:pt x="0" y="6667"/>
                    </a:moveTo>
                    <a:lnTo>
                      <a:pt x="29337" y="23336"/>
                    </a:lnTo>
                    <a:lnTo>
                      <a:pt x="35338" y="18955"/>
                    </a:lnTo>
                    <a:cubicBezTo>
                      <a:pt x="35338" y="18955"/>
                      <a:pt x="31718" y="14764"/>
                      <a:pt x="31433" y="14288"/>
                    </a:cubicBezTo>
                    <a:cubicBezTo>
                      <a:pt x="28651" y="11287"/>
                      <a:pt x="25441" y="8715"/>
                      <a:pt x="21908" y="6667"/>
                    </a:cubicBezTo>
                    <a:cubicBezTo>
                      <a:pt x="19717" y="6667"/>
                      <a:pt x="5810" y="0"/>
                      <a:pt x="5810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3680;p38">
                <a:extLst>
                  <a:ext uri="{FF2B5EF4-FFF2-40B4-BE49-F238E27FC236}">
                    <a16:creationId xmlns:a16="http://schemas.microsoft.com/office/drawing/2014/main" id="{37D83B6E-7F79-4E36-8370-7D3116016CA6}"/>
                  </a:ext>
                </a:extLst>
              </p:cNvPr>
              <p:cNvSpPr/>
              <p:nvPr/>
            </p:nvSpPr>
            <p:spPr>
              <a:xfrm>
                <a:off x="5430297" y="3620928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9"/>
                    </a:moveTo>
                    <a:lnTo>
                      <a:pt x="16383" y="4381"/>
                    </a:lnTo>
                    <a:lnTo>
                      <a:pt x="2858" y="0"/>
                    </a:lnTo>
                    <a:lnTo>
                      <a:pt x="0" y="8096"/>
                    </a:lnTo>
                    <a:lnTo>
                      <a:pt x="762" y="11716"/>
                    </a:lnTo>
                    <a:lnTo>
                      <a:pt x="16383" y="1466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3681;p38">
                <a:extLst>
                  <a:ext uri="{FF2B5EF4-FFF2-40B4-BE49-F238E27FC236}">
                    <a16:creationId xmlns:a16="http://schemas.microsoft.com/office/drawing/2014/main" id="{E7306D74-9E99-427B-B1FD-B9B1B5DFD924}"/>
                  </a:ext>
                </a:extLst>
              </p:cNvPr>
              <p:cNvSpPr/>
              <p:nvPr/>
            </p:nvSpPr>
            <p:spPr>
              <a:xfrm>
                <a:off x="5357050" y="3617880"/>
                <a:ext cx="15620" cy="11620"/>
              </a:xfrm>
              <a:custGeom>
                <a:avLst/>
                <a:gdLst/>
                <a:ahLst/>
                <a:cxnLst/>
                <a:rect l="l" t="t" r="r" b="b"/>
                <a:pathLst>
                  <a:path w="15620" h="11620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621" y="1715"/>
                    </a:lnTo>
                    <a:lnTo>
                      <a:pt x="10573" y="11621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" name="Google Shape;3682;p38">
                <a:extLst>
                  <a:ext uri="{FF2B5EF4-FFF2-40B4-BE49-F238E27FC236}">
                    <a16:creationId xmlns:a16="http://schemas.microsoft.com/office/drawing/2014/main" id="{345A573F-4465-43BE-AA36-4305BCD4AD13}"/>
                  </a:ext>
                </a:extLst>
              </p:cNvPr>
              <p:cNvSpPr/>
              <p:nvPr/>
            </p:nvSpPr>
            <p:spPr>
              <a:xfrm>
                <a:off x="5357621" y="3652361"/>
                <a:ext cx="18002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8002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8002" y="0"/>
                    </a:lnTo>
                    <a:lnTo>
                      <a:pt x="13621" y="9525"/>
                    </a:lnTo>
                    <a:lnTo>
                      <a:pt x="5810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" name="Google Shape;3683;p38">
                <a:extLst>
                  <a:ext uri="{FF2B5EF4-FFF2-40B4-BE49-F238E27FC236}">
                    <a16:creationId xmlns:a16="http://schemas.microsoft.com/office/drawing/2014/main" id="{F5FA97A2-7FB4-41DA-8B09-346C4E9B06A8}"/>
                  </a:ext>
                </a:extLst>
              </p:cNvPr>
              <p:cNvSpPr/>
              <p:nvPr/>
            </p:nvSpPr>
            <p:spPr>
              <a:xfrm>
                <a:off x="5357145" y="3607879"/>
                <a:ext cx="176643" cy="110394"/>
              </a:xfrm>
              <a:custGeom>
                <a:avLst/>
                <a:gdLst/>
                <a:ahLst/>
                <a:cxnLst/>
                <a:rect l="l" t="t" r="r" b="b"/>
                <a:pathLst>
                  <a:path w="176643" h="110394" extrusionOk="0">
                    <a:moveTo>
                      <a:pt x="89535" y="17431"/>
                    </a:moveTo>
                    <a:cubicBezTo>
                      <a:pt x="87202" y="17393"/>
                      <a:pt x="84877" y="17583"/>
                      <a:pt x="82582" y="18002"/>
                    </a:cubicBezTo>
                    <a:cubicBezTo>
                      <a:pt x="79439" y="18479"/>
                      <a:pt x="76010" y="19050"/>
                      <a:pt x="72104" y="19907"/>
                    </a:cubicBezTo>
                    <a:cubicBezTo>
                      <a:pt x="68199" y="20764"/>
                      <a:pt x="64199" y="21717"/>
                      <a:pt x="60008" y="22955"/>
                    </a:cubicBezTo>
                    <a:cubicBezTo>
                      <a:pt x="55959" y="24165"/>
                      <a:pt x="52007" y="25689"/>
                      <a:pt x="48197" y="27527"/>
                    </a:cubicBezTo>
                    <a:lnTo>
                      <a:pt x="78581" y="45053"/>
                    </a:lnTo>
                    <a:lnTo>
                      <a:pt x="84106" y="43148"/>
                    </a:lnTo>
                    <a:cubicBezTo>
                      <a:pt x="91821" y="40577"/>
                      <a:pt x="99155" y="38386"/>
                      <a:pt x="106013" y="36576"/>
                    </a:cubicBezTo>
                    <a:cubicBezTo>
                      <a:pt x="112462" y="34852"/>
                      <a:pt x="119063" y="33766"/>
                      <a:pt x="125730" y="33338"/>
                    </a:cubicBezTo>
                    <a:cubicBezTo>
                      <a:pt x="131788" y="32928"/>
                      <a:pt x="137884" y="33338"/>
                      <a:pt x="143828" y="34576"/>
                    </a:cubicBezTo>
                    <a:cubicBezTo>
                      <a:pt x="149943" y="35843"/>
                      <a:pt x="155801" y="38128"/>
                      <a:pt x="161163" y="41338"/>
                    </a:cubicBezTo>
                    <a:cubicBezTo>
                      <a:pt x="166468" y="43977"/>
                      <a:pt x="171002" y="47949"/>
                      <a:pt x="174308" y="52864"/>
                    </a:cubicBezTo>
                    <a:cubicBezTo>
                      <a:pt x="176498" y="56417"/>
                      <a:pt x="177184" y="60703"/>
                      <a:pt x="176213" y="64770"/>
                    </a:cubicBezTo>
                    <a:cubicBezTo>
                      <a:pt x="174927" y="69247"/>
                      <a:pt x="172460" y="73295"/>
                      <a:pt x="169069" y="76486"/>
                    </a:cubicBezTo>
                    <a:cubicBezTo>
                      <a:pt x="164887" y="80686"/>
                      <a:pt x="160220" y="84363"/>
                      <a:pt x="155162" y="87439"/>
                    </a:cubicBezTo>
                    <a:lnTo>
                      <a:pt x="174212" y="98679"/>
                    </a:lnTo>
                    <a:lnTo>
                      <a:pt x="163735" y="104775"/>
                    </a:lnTo>
                    <a:lnTo>
                      <a:pt x="144113" y="93440"/>
                    </a:lnTo>
                    <a:cubicBezTo>
                      <a:pt x="134969" y="98012"/>
                      <a:pt x="125397" y="101679"/>
                      <a:pt x="115538" y="104394"/>
                    </a:cubicBezTo>
                    <a:cubicBezTo>
                      <a:pt x="105032" y="107337"/>
                      <a:pt x="94298" y="109347"/>
                      <a:pt x="83439" y="110395"/>
                    </a:cubicBezTo>
                    <a:lnTo>
                      <a:pt x="73247" y="92107"/>
                    </a:lnTo>
                    <a:cubicBezTo>
                      <a:pt x="76114" y="92050"/>
                      <a:pt x="78981" y="91830"/>
                      <a:pt x="81820" y="91440"/>
                    </a:cubicBezTo>
                    <a:cubicBezTo>
                      <a:pt x="86116" y="90954"/>
                      <a:pt x="90373" y="90221"/>
                      <a:pt x="94583" y="89249"/>
                    </a:cubicBezTo>
                    <a:cubicBezTo>
                      <a:pt x="99251" y="88297"/>
                      <a:pt x="104108" y="86963"/>
                      <a:pt x="109442" y="85439"/>
                    </a:cubicBezTo>
                    <a:cubicBezTo>
                      <a:pt x="114529" y="83991"/>
                      <a:pt x="119501" y="82144"/>
                      <a:pt x="124301" y="79915"/>
                    </a:cubicBezTo>
                    <a:lnTo>
                      <a:pt x="94012" y="62484"/>
                    </a:lnTo>
                    <a:lnTo>
                      <a:pt x="90107" y="63818"/>
                    </a:lnTo>
                    <a:lnTo>
                      <a:pt x="85916" y="65056"/>
                    </a:lnTo>
                    <a:cubicBezTo>
                      <a:pt x="79038" y="67389"/>
                      <a:pt x="72047" y="69361"/>
                      <a:pt x="64961" y="70961"/>
                    </a:cubicBezTo>
                    <a:cubicBezTo>
                      <a:pt x="59122" y="72362"/>
                      <a:pt x="53150" y="73152"/>
                      <a:pt x="47149" y="73343"/>
                    </a:cubicBezTo>
                    <a:cubicBezTo>
                      <a:pt x="41834" y="73562"/>
                      <a:pt x="36519" y="73076"/>
                      <a:pt x="31337" y="71914"/>
                    </a:cubicBezTo>
                    <a:cubicBezTo>
                      <a:pt x="26213" y="70666"/>
                      <a:pt x="21308" y="68675"/>
                      <a:pt x="16764" y="66008"/>
                    </a:cubicBezTo>
                    <a:cubicBezTo>
                      <a:pt x="11763" y="63408"/>
                      <a:pt x="7430" y="59693"/>
                      <a:pt x="4096" y="55150"/>
                    </a:cubicBezTo>
                    <a:cubicBezTo>
                      <a:pt x="1696" y="51730"/>
                      <a:pt x="495" y="47606"/>
                      <a:pt x="667" y="43434"/>
                    </a:cubicBezTo>
                    <a:cubicBezTo>
                      <a:pt x="1095" y="39062"/>
                      <a:pt x="2819" y="34919"/>
                      <a:pt x="5620" y="31528"/>
                    </a:cubicBezTo>
                    <a:cubicBezTo>
                      <a:pt x="9182" y="27232"/>
                      <a:pt x="13354" y="23469"/>
                      <a:pt x="18002" y="20384"/>
                    </a:cubicBezTo>
                    <a:lnTo>
                      <a:pt x="0" y="10001"/>
                    </a:lnTo>
                    <a:lnTo>
                      <a:pt x="10573" y="3905"/>
                    </a:lnTo>
                    <a:lnTo>
                      <a:pt x="28385" y="14192"/>
                    </a:lnTo>
                    <a:cubicBezTo>
                      <a:pt x="36728" y="10106"/>
                      <a:pt x="45472" y="6915"/>
                      <a:pt x="54483" y="4667"/>
                    </a:cubicBezTo>
                    <a:cubicBezTo>
                      <a:pt x="63094" y="2486"/>
                      <a:pt x="71847" y="924"/>
                      <a:pt x="80677" y="0"/>
                    </a:cubicBezTo>
                    <a:close/>
                    <a:moveTo>
                      <a:pt x="37814" y="49721"/>
                    </a:moveTo>
                    <a:cubicBezTo>
                      <a:pt x="41796" y="52006"/>
                      <a:pt x="46387" y="53007"/>
                      <a:pt x="50959" y="52578"/>
                    </a:cubicBezTo>
                    <a:cubicBezTo>
                      <a:pt x="57150" y="51864"/>
                      <a:pt x="63256" y="50492"/>
                      <a:pt x="69152" y="48482"/>
                    </a:cubicBezTo>
                    <a:lnTo>
                      <a:pt x="40577" y="32004"/>
                    </a:lnTo>
                    <a:cubicBezTo>
                      <a:pt x="30194" y="38481"/>
                      <a:pt x="29242" y="44387"/>
                      <a:pt x="37814" y="49721"/>
                    </a:cubicBezTo>
                    <a:close/>
                    <a:moveTo>
                      <a:pt x="137732" y="58103"/>
                    </a:moveTo>
                    <a:cubicBezTo>
                      <a:pt x="133407" y="55712"/>
                      <a:pt x="128426" y="54807"/>
                      <a:pt x="123539" y="55531"/>
                    </a:cubicBezTo>
                    <a:cubicBezTo>
                      <a:pt x="116786" y="56397"/>
                      <a:pt x="110128" y="57864"/>
                      <a:pt x="103632" y="59912"/>
                    </a:cubicBezTo>
                    <a:lnTo>
                      <a:pt x="132207" y="76295"/>
                    </a:lnTo>
                    <a:cubicBezTo>
                      <a:pt x="144018" y="68771"/>
                      <a:pt x="145923" y="62389"/>
                      <a:pt x="137732" y="5772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0" name="Google Shape;3684;p38">
              <a:extLst>
                <a:ext uri="{FF2B5EF4-FFF2-40B4-BE49-F238E27FC236}">
                  <a16:creationId xmlns:a16="http://schemas.microsoft.com/office/drawing/2014/main" id="{61A6BC41-DD0E-4236-A259-92B39035FD15}"/>
                </a:ext>
              </a:extLst>
            </p:cNvPr>
            <p:cNvGrpSpPr/>
            <p:nvPr/>
          </p:nvGrpSpPr>
          <p:grpSpPr>
            <a:xfrm>
              <a:off x="3545044" y="2530263"/>
              <a:ext cx="529590" cy="371284"/>
              <a:chOff x="5206269" y="3432238"/>
              <a:chExt cx="529590" cy="371284"/>
            </a:xfrm>
          </p:grpSpPr>
          <p:sp>
            <p:nvSpPr>
              <p:cNvPr id="122" name="Google Shape;3685;p38">
                <a:extLst>
                  <a:ext uri="{FF2B5EF4-FFF2-40B4-BE49-F238E27FC236}">
                    <a16:creationId xmlns:a16="http://schemas.microsoft.com/office/drawing/2014/main" id="{DA607B24-C20B-498A-B788-6A1ED6E41B29}"/>
                  </a:ext>
                </a:extLst>
              </p:cNvPr>
              <p:cNvSpPr/>
              <p:nvPr/>
            </p:nvSpPr>
            <p:spPr>
              <a:xfrm>
                <a:off x="5206269" y="3497770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3686;p38">
                <a:extLst>
                  <a:ext uri="{FF2B5EF4-FFF2-40B4-BE49-F238E27FC236}">
                    <a16:creationId xmlns:a16="http://schemas.microsoft.com/office/drawing/2014/main" id="{F5FD1540-4A1E-4B66-B12A-6F5157BD8D00}"/>
                  </a:ext>
                </a:extLst>
              </p:cNvPr>
              <p:cNvSpPr/>
              <p:nvPr/>
            </p:nvSpPr>
            <p:spPr>
              <a:xfrm>
                <a:off x="5206365" y="3583305"/>
                <a:ext cx="52292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292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3687;p38">
                <a:extLst>
                  <a:ext uri="{FF2B5EF4-FFF2-40B4-BE49-F238E27FC236}">
                    <a16:creationId xmlns:a16="http://schemas.microsoft.com/office/drawing/2014/main" id="{243E676E-97C8-49FD-BB42-06292281760C}"/>
                  </a:ext>
                </a:extLst>
              </p:cNvPr>
              <p:cNvSpPr/>
              <p:nvPr/>
            </p:nvSpPr>
            <p:spPr>
              <a:xfrm>
                <a:off x="5696045" y="3585114"/>
                <a:ext cx="39814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814" h="93916" extrusionOk="0">
                    <a:moveTo>
                      <a:pt x="39815" y="0"/>
                    </a:moveTo>
                    <a:lnTo>
                      <a:pt x="39815" y="65532"/>
                    </a:lnTo>
                    <a:lnTo>
                      <a:pt x="13049" y="93916"/>
                    </a:lnTo>
                    <a:lnTo>
                      <a:pt x="0" y="18955"/>
                    </a:lnTo>
                    <a:lnTo>
                      <a:pt x="3981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3688;p38">
                <a:extLst>
                  <a:ext uri="{FF2B5EF4-FFF2-40B4-BE49-F238E27FC236}">
                    <a16:creationId xmlns:a16="http://schemas.microsoft.com/office/drawing/2014/main" id="{7C374271-7BB1-452D-878D-8B81F24418F0}"/>
                  </a:ext>
                </a:extLst>
              </p:cNvPr>
              <p:cNvSpPr/>
              <p:nvPr/>
            </p:nvSpPr>
            <p:spPr>
              <a:xfrm>
                <a:off x="5206269" y="3432238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8"/>
                      <a:pt x="411037" y="305753"/>
                      <a:pt x="264795" y="305753"/>
                    </a:cubicBezTo>
                    <a:cubicBezTo>
                      <a:pt x="118553" y="305753"/>
                      <a:pt x="0" y="237308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3689;p38">
                <a:extLst>
                  <a:ext uri="{FF2B5EF4-FFF2-40B4-BE49-F238E27FC236}">
                    <a16:creationId xmlns:a16="http://schemas.microsoft.com/office/drawing/2014/main" id="{15201C44-73B1-4F5D-9BD8-5F1FD2B1A631}"/>
                  </a:ext>
                </a:extLst>
              </p:cNvPr>
              <p:cNvSpPr/>
              <p:nvPr/>
            </p:nvSpPr>
            <p:spPr>
              <a:xfrm>
                <a:off x="5281554" y="3473886"/>
                <a:ext cx="379116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116" h="218860" extrusionOk="0">
                    <a:moveTo>
                      <a:pt x="378772" y="115991"/>
                    </a:moveTo>
                    <a:cubicBezTo>
                      <a:pt x="376105" y="141708"/>
                      <a:pt x="357722" y="167140"/>
                      <a:pt x="323623" y="186857"/>
                    </a:cubicBezTo>
                    <a:cubicBezTo>
                      <a:pt x="249518" y="229529"/>
                      <a:pt x="129503" y="229529"/>
                      <a:pt x="55494" y="186857"/>
                    </a:cubicBezTo>
                    <a:cubicBezTo>
                      <a:pt x="21299" y="167140"/>
                      <a:pt x="3011" y="141708"/>
                      <a:pt x="344" y="115991"/>
                    </a:cubicBezTo>
                    <a:cubicBezTo>
                      <a:pt x="-2799" y="85892"/>
                      <a:pt x="15584" y="55031"/>
                      <a:pt x="55494" y="32075"/>
                    </a:cubicBezTo>
                    <a:cubicBezTo>
                      <a:pt x="129503" y="-10692"/>
                      <a:pt x="249518" y="-10692"/>
                      <a:pt x="323623" y="32075"/>
                    </a:cubicBezTo>
                    <a:cubicBezTo>
                      <a:pt x="363533" y="55031"/>
                      <a:pt x="381916" y="85892"/>
                      <a:pt x="378772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3690;p38">
                <a:extLst>
                  <a:ext uri="{FF2B5EF4-FFF2-40B4-BE49-F238E27FC236}">
                    <a16:creationId xmlns:a16="http://schemas.microsoft.com/office/drawing/2014/main" id="{A678EF6D-BC2D-4344-A173-AFA10C787468}"/>
                  </a:ext>
                </a:extLst>
              </p:cNvPr>
              <p:cNvSpPr/>
              <p:nvPr/>
            </p:nvSpPr>
            <p:spPr>
              <a:xfrm>
                <a:off x="5281898" y="3486935"/>
                <a:ext cx="378428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428" h="205811" extrusionOk="0">
                    <a:moveTo>
                      <a:pt x="378428" y="102942"/>
                    </a:moveTo>
                    <a:cubicBezTo>
                      <a:pt x="375761" y="128659"/>
                      <a:pt x="357378" y="154091"/>
                      <a:pt x="323279" y="173807"/>
                    </a:cubicBezTo>
                    <a:cubicBezTo>
                      <a:pt x="249174" y="216479"/>
                      <a:pt x="129159" y="216479"/>
                      <a:pt x="55150" y="173807"/>
                    </a:cubicBezTo>
                    <a:cubicBezTo>
                      <a:pt x="20955" y="154091"/>
                      <a:pt x="2667" y="128659"/>
                      <a:pt x="0" y="102942"/>
                    </a:cubicBezTo>
                    <a:cubicBezTo>
                      <a:pt x="2667" y="77224"/>
                      <a:pt x="20955" y="51792"/>
                      <a:pt x="55150" y="32075"/>
                    </a:cubicBezTo>
                    <a:cubicBezTo>
                      <a:pt x="129159" y="-10692"/>
                      <a:pt x="249174" y="-10692"/>
                      <a:pt x="323279" y="32075"/>
                    </a:cubicBezTo>
                    <a:cubicBezTo>
                      <a:pt x="357378" y="51792"/>
                      <a:pt x="375952" y="77224"/>
                      <a:pt x="378428" y="102942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3691;p38">
                <a:extLst>
                  <a:ext uri="{FF2B5EF4-FFF2-40B4-BE49-F238E27FC236}">
                    <a16:creationId xmlns:a16="http://schemas.microsoft.com/office/drawing/2014/main" id="{845098AB-3A2C-4DB2-B965-C4BAB670FB84}"/>
                  </a:ext>
                </a:extLst>
              </p:cNvPr>
              <p:cNvSpPr/>
              <p:nvPr/>
            </p:nvSpPr>
            <p:spPr>
              <a:xfrm>
                <a:off x="5378767" y="3536823"/>
                <a:ext cx="177060" cy="109918"/>
              </a:xfrm>
              <a:custGeom>
                <a:avLst/>
                <a:gdLst/>
                <a:ahLst/>
                <a:cxnLst/>
                <a:rect l="l" t="t" r="r" b="b"/>
                <a:pathLst>
                  <a:path w="177060" h="109918" extrusionOk="0">
                    <a:moveTo>
                      <a:pt x="89535" y="17240"/>
                    </a:moveTo>
                    <a:cubicBezTo>
                      <a:pt x="87201" y="17202"/>
                      <a:pt x="84877" y="17393"/>
                      <a:pt x="82582" y="17812"/>
                    </a:cubicBezTo>
                    <a:cubicBezTo>
                      <a:pt x="79438" y="17812"/>
                      <a:pt x="76009" y="18859"/>
                      <a:pt x="72104" y="19717"/>
                    </a:cubicBezTo>
                    <a:cubicBezTo>
                      <a:pt x="68199" y="20574"/>
                      <a:pt x="64199" y="21526"/>
                      <a:pt x="60103" y="22765"/>
                    </a:cubicBezTo>
                    <a:cubicBezTo>
                      <a:pt x="56016" y="23955"/>
                      <a:pt x="52035" y="25489"/>
                      <a:pt x="48196" y="27337"/>
                    </a:cubicBezTo>
                    <a:lnTo>
                      <a:pt x="79058" y="44577"/>
                    </a:lnTo>
                    <a:lnTo>
                      <a:pt x="84487" y="42672"/>
                    </a:lnTo>
                    <a:cubicBezTo>
                      <a:pt x="92202" y="40100"/>
                      <a:pt x="99536" y="37909"/>
                      <a:pt x="106394" y="36100"/>
                    </a:cubicBezTo>
                    <a:cubicBezTo>
                      <a:pt x="112843" y="34376"/>
                      <a:pt x="119444" y="33290"/>
                      <a:pt x="126111" y="32861"/>
                    </a:cubicBezTo>
                    <a:cubicBezTo>
                      <a:pt x="132169" y="32452"/>
                      <a:pt x="138265" y="32861"/>
                      <a:pt x="144209" y="34099"/>
                    </a:cubicBezTo>
                    <a:cubicBezTo>
                      <a:pt x="150324" y="35366"/>
                      <a:pt x="156181" y="37652"/>
                      <a:pt x="161544" y="40862"/>
                    </a:cubicBezTo>
                    <a:cubicBezTo>
                      <a:pt x="166849" y="43501"/>
                      <a:pt x="171383" y="47472"/>
                      <a:pt x="174688" y="52388"/>
                    </a:cubicBezTo>
                    <a:cubicBezTo>
                      <a:pt x="176936" y="55921"/>
                      <a:pt x="177622" y="60236"/>
                      <a:pt x="176594" y="64294"/>
                    </a:cubicBezTo>
                    <a:cubicBezTo>
                      <a:pt x="175308" y="68771"/>
                      <a:pt x="172841" y="72819"/>
                      <a:pt x="169450" y="76009"/>
                    </a:cubicBezTo>
                    <a:cubicBezTo>
                      <a:pt x="165268" y="80210"/>
                      <a:pt x="160601" y="83887"/>
                      <a:pt x="155543" y="86963"/>
                    </a:cubicBezTo>
                    <a:lnTo>
                      <a:pt x="174593" y="98107"/>
                    </a:lnTo>
                    <a:lnTo>
                      <a:pt x="164021" y="104204"/>
                    </a:lnTo>
                    <a:lnTo>
                      <a:pt x="144971" y="92964"/>
                    </a:lnTo>
                    <a:cubicBezTo>
                      <a:pt x="135665" y="97555"/>
                      <a:pt x="125940" y="101222"/>
                      <a:pt x="115919" y="103918"/>
                    </a:cubicBezTo>
                    <a:cubicBezTo>
                      <a:pt x="105413" y="106861"/>
                      <a:pt x="94679" y="108871"/>
                      <a:pt x="83820" y="109918"/>
                    </a:cubicBezTo>
                    <a:lnTo>
                      <a:pt x="73152" y="92202"/>
                    </a:lnTo>
                    <a:cubicBezTo>
                      <a:pt x="76019" y="92145"/>
                      <a:pt x="78886" y="91926"/>
                      <a:pt x="81725" y="91535"/>
                    </a:cubicBezTo>
                    <a:cubicBezTo>
                      <a:pt x="86020" y="91059"/>
                      <a:pt x="90278" y="90326"/>
                      <a:pt x="94488" y="89345"/>
                    </a:cubicBezTo>
                    <a:cubicBezTo>
                      <a:pt x="99155" y="88392"/>
                      <a:pt x="104013" y="87058"/>
                      <a:pt x="109347" y="85534"/>
                    </a:cubicBezTo>
                    <a:cubicBezTo>
                      <a:pt x="114433" y="84077"/>
                      <a:pt x="119405" y="82239"/>
                      <a:pt x="124206" y="80010"/>
                    </a:cubicBezTo>
                    <a:lnTo>
                      <a:pt x="93917" y="62579"/>
                    </a:lnTo>
                    <a:lnTo>
                      <a:pt x="90011" y="63913"/>
                    </a:lnTo>
                    <a:lnTo>
                      <a:pt x="85820" y="65151"/>
                    </a:lnTo>
                    <a:cubicBezTo>
                      <a:pt x="78943" y="67485"/>
                      <a:pt x="71952" y="69456"/>
                      <a:pt x="64865" y="71056"/>
                    </a:cubicBezTo>
                    <a:cubicBezTo>
                      <a:pt x="59026" y="72457"/>
                      <a:pt x="53054" y="73247"/>
                      <a:pt x="47054" y="73438"/>
                    </a:cubicBezTo>
                    <a:cubicBezTo>
                      <a:pt x="41748" y="73657"/>
                      <a:pt x="36424" y="73171"/>
                      <a:pt x="31242" y="72009"/>
                    </a:cubicBezTo>
                    <a:cubicBezTo>
                      <a:pt x="26127" y="70742"/>
                      <a:pt x="21222" y="68761"/>
                      <a:pt x="16669" y="66104"/>
                    </a:cubicBezTo>
                    <a:cubicBezTo>
                      <a:pt x="11697" y="63465"/>
                      <a:pt x="7372" y="59760"/>
                      <a:pt x="4000" y="55245"/>
                    </a:cubicBezTo>
                    <a:cubicBezTo>
                      <a:pt x="1600" y="51825"/>
                      <a:pt x="400" y="47701"/>
                      <a:pt x="571" y="43529"/>
                    </a:cubicBezTo>
                    <a:cubicBezTo>
                      <a:pt x="1038" y="39148"/>
                      <a:pt x="2800" y="35004"/>
                      <a:pt x="5620" y="31623"/>
                    </a:cubicBezTo>
                    <a:cubicBezTo>
                      <a:pt x="9125" y="27299"/>
                      <a:pt x="13268" y="23546"/>
                      <a:pt x="17907" y="20479"/>
                    </a:cubicBezTo>
                    <a:lnTo>
                      <a:pt x="0" y="10096"/>
                    </a:lnTo>
                    <a:lnTo>
                      <a:pt x="10478" y="4000"/>
                    </a:lnTo>
                    <a:lnTo>
                      <a:pt x="28289" y="14288"/>
                    </a:lnTo>
                    <a:cubicBezTo>
                      <a:pt x="36614" y="10163"/>
                      <a:pt x="45368" y="6963"/>
                      <a:pt x="54388" y="4763"/>
                    </a:cubicBezTo>
                    <a:cubicBezTo>
                      <a:pt x="63008" y="2600"/>
                      <a:pt x="71752" y="1010"/>
                      <a:pt x="80582" y="0"/>
                    </a:cubicBezTo>
                    <a:close/>
                    <a:moveTo>
                      <a:pt x="37814" y="49149"/>
                    </a:moveTo>
                    <a:cubicBezTo>
                      <a:pt x="41796" y="51435"/>
                      <a:pt x="46387" y="52435"/>
                      <a:pt x="50959" y="52006"/>
                    </a:cubicBezTo>
                    <a:cubicBezTo>
                      <a:pt x="57150" y="51292"/>
                      <a:pt x="63256" y="49921"/>
                      <a:pt x="69152" y="47911"/>
                    </a:cubicBezTo>
                    <a:lnTo>
                      <a:pt x="40577" y="31432"/>
                    </a:lnTo>
                    <a:cubicBezTo>
                      <a:pt x="30194" y="38290"/>
                      <a:pt x="29242" y="44577"/>
                      <a:pt x="37814" y="49149"/>
                    </a:cubicBezTo>
                    <a:close/>
                    <a:moveTo>
                      <a:pt x="137732" y="57436"/>
                    </a:moveTo>
                    <a:cubicBezTo>
                      <a:pt x="133407" y="55054"/>
                      <a:pt x="128416" y="54188"/>
                      <a:pt x="123539" y="54959"/>
                    </a:cubicBezTo>
                    <a:cubicBezTo>
                      <a:pt x="116777" y="55778"/>
                      <a:pt x="110109" y="57245"/>
                      <a:pt x="103632" y="59341"/>
                    </a:cubicBezTo>
                    <a:lnTo>
                      <a:pt x="132207" y="75629"/>
                    </a:lnTo>
                    <a:cubicBezTo>
                      <a:pt x="144018" y="68294"/>
                      <a:pt x="145733" y="62198"/>
                      <a:pt x="137732" y="5743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3692;p38">
                <a:extLst>
                  <a:ext uri="{FF2B5EF4-FFF2-40B4-BE49-F238E27FC236}">
                    <a16:creationId xmlns:a16="http://schemas.microsoft.com/office/drawing/2014/main" id="{C1121B87-1F2C-456D-93F8-EC3227744388}"/>
                  </a:ext>
                </a:extLst>
              </p:cNvPr>
              <p:cNvSpPr/>
              <p:nvPr/>
            </p:nvSpPr>
            <p:spPr>
              <a:xfrm>
                <a:off x="5451919" y="3618738"/>
                <a:ext cx="11620" cy="15239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39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3693;p38">
                <a:extLst>
                  <a:ext uri="{FF2B5EF4-FFF2-40B4-BE49-F238E27FC236}">
                    <a16:creationId xmlns:a16="http://schemas.microsoft.com/office/drawing/2014/main" id="{9C4EC289-51AF-44E6-9B3E-770E3C0634B8}"/>
                  </a:ext>
                </a:extLst>
              </p:cNvPr>
              <p:cNvSpPr/>
              <p:nvPr/>
            </p:nvSpPr>
            <p:spPr>
              <a:xfrm>
                <a:off x="5528119" y="3625024"/>
                <a:ext cx="25241" cy="11715"/>
              </a:xfrm>
              <a:custGeom>
                <a:avLst/>
                <a:gdLst/>
                <a:ahLst/>
                <a:cxnLst/>
                <a:rect l="l" t="t" r="r" b="b"/>
                <a:pathLst>
                  <a:path w="25241" h="11715" extrusionOk="0">
                    <a:moveTo>
                      <a:pt x="25241" y="10192"/>
                    </a:moveTo>
                    <a:lnTo>
                      <a:pt x="25241" y="0"/>
                    </a:lnTo>
                    <a:lnTo>
                      <a:pt x="0" y="1905"/>
                    </a:lnTo>
                    <a:lnTo>
                      <a:pt x="14478" y="11716"/>
                    </a:lnTo>
                    <a:lnTo>
                      <a:pt x="25241" y="1019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3694;p38">
                <a:extLst>
                  <a:ext uri="{FF2B5EF4-FFF2-40B4-BE49-F238E27FC236}">
                    <a16:creationId xmlns:a16="http://schemas.microsoft.com/office/drawing/2014/main" id="{45507CEF-69BF-40A1-9029-2AE8F814256C}"/>
                  </a:ext>
                </a:extLst>
              </p:cNvPr>
              <p:cNvSpPr/>
              <p:nvPr/>
            </p:nvSpPr>
            <p:spPr>
              <a:xfrm>
                <a:off x="5536596" y="3587210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3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3695;p38">
                <a:extLst>
                  <a:ext uri="{FF2B5EF4-FFF2-40B4-BE49-F238E27FC236}">
                    <a16:creationId xmlns:a16="http://schemas.microsoft.com/office/drawing/2014/main" id="{C7B8D1BB-A168-443F-B80F-819D088DA5E1}"/>
                  </a:ext>
                </a:extLst>
              </p:cNvPr>
              <p:cNvSpPr/>
              <p:nvPr/>
            </p:nvSpPr>
            <p:spPr>
              <a:xfrm>
                <a:off x="5477351" y="3591020"/>
                <a:ext cx="28384" cy="19811"/>
              </a:xfrm>
              <a:custGeom>
                <a:avLst/>
                <a:gdLst/>
                <a:ahLst/>
                <a:cxnLst/>
                <a:rect l="l" t="t" r="r" b="b"/>
                <a:pathLst>
                  <a:path w="28384" h="19811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384" y="15240"/>
                    </a:lnTo>
                    <a:lnTo>
                      <a:pt x="27051" y="19812"/>
                    </a:lnTo>
                    <a:cubicBezTo>
                      <a:pt x="27051" y="19812"/>
                      <a:pt x="10477" y="12859"/>
                      <a:pt x="10001" y="12382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3696;p38">
                <a:extLst>
                  <a:ext uri="{FF2B5EF4-FFF2-40B4-BE49-F238E27FC236}">
                    <a16:creationId xmlns:a16="http://schemas.microsoft.com/office/drawing/2014/main" id="{8E68F302-22D6-4B85-BFD6-7CC2D4D98076}"/>
                  </a:ext>
                </a:extLst>
              </p:cNvPr>
              <p:cNvSpPr/>
              <p:nvPr/>
            </p:nvSpPr>
            <p:spPr>
              <a:xfrm>
                <a:off x="5419725" y="3558063"/>
                <a:ext cx="35433" cy="23241"/>
              </a:xfrm>
              <a:custGeom>
                <a:avLst/>
                <a:gdLst/>
                <a:ahLst/>
                <a:cxnLst/>
                <a:rect l="l" t="t" r="r" b="b"/>
                <a:pathLst>
                  <a:path w="35433" h="23241" extrusionOk="0">
                    <a:moveTo>
                      <a:pt x="0" y="6572"/>
                    </a:moveTo>
                    <a:lnTo>
                      <a:pt x="29432" y="23241"/>
                    </a:lnTo>
                    <a:lnTo>
                      <a:pt x="35433" y="18860"/>
                    </a:lnTo>
                    <a:lnTo>
                      <a:pt x="31433" y="14288"/>
                    </a:lnTo>
                    <a:cubicBezTo>
                      <a:pt x="28689" y="11230"/>
                      <a:pt x="25470" y="8620"/>
                      <a:pt x="21908" y="6572"/>
                    </a:cubicBezTo>
                    <a:cubicBezTo>
                      <a:pt x="19717" y="6572"/>
                      <a:pt x="5810" y="0"/>
                      <a:pt x="5810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3697;p38">
                <a:extLst>
                  <a:ext uri="{FF2B5EF4-FFF2-40B4-BE49-F238E27FC236}">
                    <a16:creationId xmlns:a16="http://schemas.microsoft.com/office/drawing/2014/main" id="{ADF83189-6F77-4CA2-AA99-679249E512B9}"/>
                  </a:ext>
                </a:extLst>
              </p:cNvPr>
              <p:cNvSpPr/>
              <p:nvPr/>
            </p:nvSpPr>
            <p:spPr>
              <a:xfrm>
                <a:off x="5451919" y="3539394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9"/>
                    </a:moveTo>
                    <a:lnTo>
                      <a:pt x="16383" y="4381"/>
                    </a:lnTo>
                    <a:lnTo>
                      <a:pt x="2953" y="0"/>
                    </a:lnTo>
                    <a:lnTo>
                      <a:pt x="0" y="8096"/>
                    </a:lnTo>
                    <a:lnTo>
                      <a:pt x="762" y="11716"/>
                    </a:lnTo>
                    <a:lnTo>
                      <a:pt x="16383" y="1466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3698;p38">
                <a:extLst>
                  <a:ext uri="{FF2B5EF4-FFF2-40B4-BE49-F238E27FC236}">
                    <a16:creationId xmlns:a16="http://schemas.microsoft.com/office/drawing/2014/main" id="{DF42A99A-DFC7-4A71-9540-FF76174059FB}"/>
                  </a:ext>
                </a:extLst>
              </p:cNvPr>
              <p:cNvSpPr/>
              <p:nvPr/>
            </p:nvSpPr>
            <p:spPr>
              <a:xfrm>
                <a:off x="5378672" y="3536346"/>
                <a:ext cx="15716" cy="11715"/>
              </a:xfrm>
              <a:custGeom>
                <a:avLst/>
                <a:gdLst/>
                <a:ahLst/>
                <a:cxnLst/>
                <a:rect l="l" t="t" r="r" b="b"/>
                <a:pathLst>
                  <a:path w="15716" h="11715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716" y="1715"/>
                    </a:lnTo>
                    <a:lnTo>
                      <a:pt x="10668" y="11716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3699;p38">
                <a:extLst>
                  <a:ext uri="{FF2B5EF4-FFF2-40B4-BE49-F238E27FC236}">
                    <a16:creationId xmlns:a16="http://schemas.microsoft.com/office/drawing/2014/main" id="{C724C324-7336-430F-9935-B8C6B58DF1C5}"/>
                  </a:ext>
                </a:extLst>
              </p:cNvPr>
              <p:cNvSpPr/>
              <p:nvPr/>
            </p:nvSpPr>
            <p:spPr>
              <a:xfrm>
                <a:off x="5379338" y="3570732"/>
                <a:ext cx="17907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7907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7907" y="0"/>
                    </a:lnTo>
                    <a:lnTo>
                      <a:pt x="13525" y="9525"/>
                    </a:lnTo>
                    <a:lnTo>
                      <a:pt x="5715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3700;p38">
                <a:extLst>
                  <a:ext uri="{FF2B5EF4-FFF2-40B4-BE49-F238E27FC236}">
                    <a16:creationId xmlns:a16="http://schemas.microsoft.com/office/drawing/2014/main" id="{DB99C15E-DDE3-4A32-895F-B4BF9BC9FD33}"/>
                  </a:ext>
                </a:extLst>
              </p:cNvPr>
              <p:cNvSpPr/>
              <p:nvPr/>
            </p:nvSpPr>
            <p:spPr>
              <a:xfrm>
                <a:off x="5378958" y="3526345"/>
                <a:ext cx="176864" cy="110394"/>
              </a:xfrm>
              <a:custGeom>
                <a:avLst/>
                <a:gdLst/>
                <a:ahLst/>
                <a:cxnLst/>
                <a:rect l="l" t="t" r="r" b="b"/>
                <a:pathLst>
                  <a:path w="176864" h="110394" extrusionOk="0">
                    <a:moveTo>
                      <a:pt x="89345" y="17431"/>
                    </a:moveTo>
                    <a:cubicBezTo>
                      <a:pt x="87011" y="17393"/>
                      <a:pt x="84687" y="17583"/>
                      <a:pt x="82391" y="18002"/>
                    </a:cubicBezTo>
                    <a:cubicBezTo>
                      <a:pt x="79248" y="18479"/>
                      <a:pt x="75819" y="19050"/>
                      <a:pt x="71914" y="19907"/>
                    </a:cubicBezTo>
                    <a:cubicBezTo>
                      <a:pt x="68008" y="20764"/>
                      <a:pt x="64008" y="21717"/>
                      <a:pt x="59912" y="22955"/>
                    </a:cubicBezTo>
                    <a:cubicBezTo>
                      <a:pt x="55826" y="24146"/>
                      <a:pt x="51845" y="25679"/>
                      <a:pt x="48006" y="27527"/>
                    </a:cubicBezTo>
                    <a:lnTo>
                      <a:pt x="78867" y="45529"/>
                    </a:lnTo>
                    <a:lnTo>
                      <a:pt x="84296" y="43624"/>
                    </a:lnTo>
                    <a:cubicBezTo>
                      <a:pt x="92012" y="41053"/>
                      <a:pt x="99346" y="38862"/>
                      <a:pt x="106204" y="37052"/>
                    </a:cubicBezTo>
                    <a:cubicBezTo>
                      <a:pt x="112652" y="35328"/>
                      <a:pt x="119253" y="34242"/>
                      <a:pt x="125921" y="33814"/>
                    </a:cubicBezTo>
                    <a:cubicBezTo>
                      <a:pt x="131978" y="33404"/>
                      <a:pt x="138074" y="33814"/>
                      <a:pt x="144018" y="35052"/>
                    </a:cubicBezTo>
                    <a:cubicBezTo>
                      <a:pt x="150133" y="36319"/>
                      <a:pt x="155991" y="38605"/>
                      <a:pt x="161354" y="41815"/>
                    </a:cubicBezTo>
                    <a:cubicBezTo>
                      <a:pt x="166659" y="44453"/>
                      <a:pt x="171193" y="48425"/>
                      <a:pt x="174498" y="53340"/>
                    </a:cubicBezTo>
                    <a:cubicBezTo>
                      <a:pt x="176736" y="56883"/>
                      <a:pt x="177422" y="61179"/>
                      <a:pt x="176403" y="65246"/>
                    </a:cubicBezTo>
                    <a:cubicBezTo>
                      <a:pt x="175117" y="69723"/>
                      <a:pt x="172650" y="73771"/>
                      <a:pt x="169259" y="76962"/>
                    </a:cubicBezTo>
                    <a:cubicBezTo>
                      <a:pt x="164992" y="81039"/>
                      <a:pt x="160220" y="84563"/>
                      <a:pt x="155067" y="87439"/>
                    </a:cubicBezTo>
                    <a:lnTo>
                      <a:pt x="174117" y="98679"/>
                    </a:lnTo>
                    <a:lnTo>
                      <a:pt x="163544" y="104775"/>
                    </a:lnTo>
                    <a:lnTo>
                      <a:pt x="144494" y="93440"/>
                    </a:lnTo>
                    <a:cubicBezTo>
                      <a:pt x="135188" y="98031"/>
                      <a:pt x="125463" y="101698"/>
                      <a:pt x="115443" y="104394"/>
                    </a:cubicBezTo>
                    <a:cubicBezTo>
                      <a:pt x="104937" y="107337"/>
                      <a:pt x="94202" y="109347"/>
                      <a:pt x="83344" y="110395"/>
                    </a:cubicBezTo>
                    <a:lnTo>
                      <a:pt x="73152" y="92107"/>
                    </a:lnTo>
                    <a:cubicBezTo>
                      <a:pt x="76019" y="92050"/>
                      <a:pt x="78886" y="91830"/>
                      <a:pt x="81725" y="91440"/>
                    </a:cubicBezTo>
                    <a:cubicBezTo>
                      <a:pt x="86020" y="90964"/>
                      <a:pt x="90278" y="90230"/>
                      <a:pt x="94488" y="89249"/>
                    </a:cubicBezTo>
                    <a:cubicBezTo>
                      <a:pt x="99155" y="88297"/>
                      <a:pt x="104013" y="86963"/>
                      <a:pt x="109347" y="85439"/>
                    </a:cubicBezTo>
                    <a:cubicBezTo>
                      <a:pt x="114433" y="83991"/>
                      <a:pt x="119405" y="82144"/>
                      <a:pt x="124206" y="79915"/>
                    </a:cubicBezTo>
                    <a:lnTo>
                      <a:pt x="93917" y="62484"/>
                    </a:lnTo>
                    <a:lnTo>
                      <a:pt x="90011" y="63818"/>
                    </a:lnTo>
                    <a:lnTo>
                      <a:pt x="85820" y="65151"/>
                    </a:lnTo>
                    <a:cubicBezTo>
                      <a:pt x="78200" y="67628"/>
                      <a:pt x="71247" y="69532"/>
                      <a:pt x="64865" y="70961"/>
                    </a:cubicBezTo>
                    <a:cubicBezTo>
                      <a:pt x="59017" y="72342"/>
                      <a:pt x="53054" y="73171"/>
                      <a:pt x="47054" y="73438"/>
                    </a:cubicBezTo>
                    <a:cubicBezTo>
                      <a:pt x="41739" y="73581"/>
                      <a:pt x="36433" y="73066"/>
                      <a:pt x="31242" y="71914"/>
                    </a:cubicBezTo>
                    <a:cubicBezTo>
                      <a:pt x="26127" y="70647"/>
                      <a:pt x="21222" y="68666"/>
                      <a:pt x="16669" y="66008"/>
                    </a:cubicBezTo>
                    <a:cubicBezTo>
                      <a:pt x="11649" y="63437"/>
                      <a:pt x="7306" y="59712"/>
                      <a:pt x="4000" y="55150"/>
                    </a:cubicBezTo>
                    <a:cubicBezTo>
                      <a:pt x="1600" y="51730"/>
                      <a:pt x="400" y="47606"/>
                      <a:pt x="571" y="43434"/>
                    </a:cubicBezTo>
                    <a:cubicBezTo>
                      <a:pt x="1038" y="39053"/>
                      <a:pt x="2800" y="34909"/>
                      <a:pt x="5620" y="31528"/>
                    </a:cubicBezTo>
                    <a:cubicBezTo>
                      <a:pt x="9125" y="27203"/>
                      <a:pt x="13268" y="23451"/>
                      <a:pt x="17907" y="20383"/>
                    </a:cubicBezTo>
                    <a:lnTo>
                      <a:pt x="0" y="10001"/>
                    </a:lnTo>
                    <a:lnTo>
                      <a:pt x="10478" y="3905"/>
                    </a:lnTo>
                    <a:lnTo>
                      <a:pt x="28289" y="14192"/>
                    </a:lnTo>
                    <a:cubicBezTo>
                      <a:pt x="36633" y="10106"/>
                      <a:pt x="45377" y="6915"/>
                      <a:pt x="54388" y="4667"/>
                    </a:cubicBezTo>
                    <a:cubicBezTo>
                      <a:pt x="62998" y="2486"/>
                      <a:pt x="71752" y="924"/>
                      <a:pt x="80581" y="0"/>
                    </a:cubicBezTo>
                    <a:close/>
                    <a:moveTo>
                      <a:pt x="37624" y="49339"/>
                    </a:moveTo>
                    <a:cubicBezTo>
                      <a:pt x="41605" y="51626"/>
                      <a:pt x="46196" y="52626"/>
                      <a:pt x="50768" y="52197"/>
                    </a:cubicBezTo>
                    <a:cubicBezTo>
                      <a:pt x="56969" y="51530"/>
                      <a:pt x="63074" y="50159"/>
                      <a:pt x="68961" y="48101"/>
                    </a:cubicBezTo>
                    <a:lnTo>
                      <a:pt x="40386" y="31718"/>
                    </a:lnTo>
                    <a:cubicBezTo>
                      <a:pt x="30004" y="38481"/>
                      <a:pt x="29051" y="44387"/>
                      <a:pt x="37624" y="49339"/>
                    </a:cubicBezTo>
                    <a:close/>
                    <a:moveTo>
                      <a:pt x="137541" y="57721"/>
                    </a:moveTo>
                    <a:cubicBezTo>
                      <a:pt x="133226" y="55312"/>
                      <a:pt x="128235" y="54407"/>
                      <a:pt x="123349" y="55150"/>
                    </a:cubicBezTo>
                    <a:cubicBezTo>
                      <a:pt x="116596" y="56017"/>
                      <a:pt x="109937" y="57483"/>
                      <a:pt x="103442" y="59531"/>
                    </a:cubicBezTo>
                    <a:lnTo>
                      <a:pt x="132017" y="75914"/>
                    </a:lnTo>
                    <a:cubicBezTo>
                      <a:pt x="143828" y="68485"/>
                      <a:pt x="145542" y="62389"/>
                      <a:pt x="137541" y="5772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1" name="Google Shape;3701;p38">
              <a:extLst>
                <a:ext uri="{FF2B5EF4-FFF2-40B4-BE49-F238E27FC236}">
                  <a16:creationId xmlns:a16="http://schemas.microsoft.com/office/drawing/2014/main" id="{42398391-F28D-48E0-BCD3-CDCC9EED96F1}"/>
                </a:ext>
              </a:extLst>
            </p:cNvPr>
            <p:cNvGrpSpPr/>
            <p:nvPr/>
          </p:nvGrpSpPr>
          <p:grpSpPr>
            <a:xfrm>
              <a:off x="3528852" y="2451777"/>
              <a:ext cx="529590" cy="371284"/>
              <a:chOff x="5190077" y="3353752"/>
              <a:chExt cx="529590" cy="371284"/>
            </a:xfrm>
          </p:grpSpPr>
          <p:sp>
            <p:nvSpPr>
              <p:cNvPr id="106" name="Google Shape;3702;p38">
                <a:extLst>
                  <a:ext uri="{FF2B5EF4-FFF2-40B4-BE49-F238E27FC236}">
                    <a16:creationId xmlns:a16="http://schemas.microsoft.com/office/drawing/2014/main" id="{E2B7DFA0-99BB-4421-915D-0B6DE40A982A}"/>
                  </a:ext>
                </a:extLst>
              </p:cNvPr>
              <p:cNvSpPr/>
              <p:nvPr/>
            </p:nvSpPr>
            <p:spPr>
              <a:xfrm>
                <a:off x="5190077" y="3419284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3703;p38">
                <a:extLst>
                  <a:ext uri="{FF2B5EF4-FFF2-40B4-BE49-F238E27FC236}">
                    <a16:creationId xmlns:a16="http://schemas.microsoft.com/office/drawing/2014/main" id="{6B8456A1-B8F2-459A-BDF1-D610D0D16143}"/>
                  </a:ext>
                </a:extLst>
              </p:cNvPr>
              <p:cNvSpPr/>
              <p:nvPr/>
            </p:nvSpPr>
            <p:spPr>
              <a:xfrm>
                <a:off x="5190077" y="3504818"/>
                <a:ext cx="52387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387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388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3704;p38">
                <a:extLst>
                  <a:ext uri="{FF2B5EF4-FFF2-40B4-BE49-F238E27FC236}">
                    <a16:creationId xmlns:a16="http://schemas.microsoft.com/office/drawing/2014/main" id="{96265DBE-74CB-4092-B535-2809862C92FB}"/>
                  </a:ext>
                </a:extLst>
              </p:cNvPr>
              <p:cNvSpPr/>
              <p:nvPr/>
            </p:nvSpPr>
            <p:spPr>
              <a:xfrm>
                <a:off x="5679757" y="3506628"/>
                <a:ext cx="39909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909" h="93916" extrusionOk="0">
                    <a:moveTo>
                      <a:pt x="39910" y="0"/>
                    </a:moveTo>
                    <a:lnTo>
                      <a:pt x="39910" y="65532"/>
                    </a:lnTo>
                    <a:lnTo>
                      <a:pt x="13144" y="93917"/>
                    </a:lnTo>
                    <a:lnTo>
                      <a:pt x="0" y="18955"/>
                    </a:lnTo>
                    <a:lnTo>
                      <a:pt x="3991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3705;p38">
                <a:extLst>
                  <a:ext uri="{FF2B5EF4-FFF2-40B4-BE49-F238E27FC236}">
                    <a16:creationId xmlns:a16="http://schemas.microsoft.com/office/drawing/2014/main" id="{26F3DB82-3633-4209-8ECB-DA2A67CBA6E0}"/>
                  </a:ext>
                </a:extLst>
              </p:cNvPr>
              <p:cNvSpPr/>
              <p:nvPr/>
            </p:nvSpPr>
            <p:spPr>
              <a:xfrm>
                <a:off x="5190077" y="335375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3706;p38">
                <a:extLst>
                  <a:ext uri="{FF2B5EF4-FFF2-40B4-BE49-F238E27FC236}">
                    <a16:creationId xmlns:a16="http://schemas.microsoft.com/office/drawing/2014/main" id="{ABE50974-F7D7-4DB5-AE49-0359D8ED5280}"/>
                  </a:ext>
                </a:extLst>
              </p:cNvPr>
              <p:cNvSpPr/>
              <p:nvPr/>
            </p:nvSpPr>
            <p:spPr>
              <a:xfrm>
                <a:off x="5265341" y="3395400"/>
                <a:ext cx="379048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048" h="218860" extrusionOk="0">
                    <a:moveTo>
                      <a:pt x="378697" y="115991"/>
                    </a:moveTo>
                    <a:cubicBezTo>
                      <a:pt x="376030" y="141708"/>
                      <a:pt x="357742" y="167140"/>
                      <a:pt x="323547" y="186857"/>
                    </a:cubicBezTo>
                    <a:cubicBezTo>
                      <a:pt x="249538" y="229529"/>
                      <a:pt x="129523" y="229529"/>
                      <a:pt x="55418" y="186857"/>
                    </a:cubicBezTo>
                    <a:cubicBezTo>
                      <a:pt x="21319" y="167140"/>
                      <a:pt x="2936" y="141708"/>
                      <a:pt x="364" y="115991"/>
                    </a:cubicBezTo>
                    <a:cubicBezTo>
                      <a:pt x="-2875" y="85892"/>
                      <a:pt x="15509" y="55031"/>
                      <a:pt x="55418" y="32075"/>
                    </a:cubicBezTo>
                    <a:cubicBezTo>
                      <a:pt x="129523" y="-10692"/>
                      <a:pt x="249538" y="-10692"/>
                      <a:pt x="323547" y="32075"/>
                    </a:cubicBezTo>
                    <a:cubicBezTo>
                      <a:pt x="363933" y="55031"/>
                      <a:pt x="381840" y="85892"/>
                      <a:pt x="378697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3707;p38">
                <a:extLst>
                  <a:ext uri="{FF2B5EF4-FFF2-40B4-BE49-F238E27FC236}">
                    <a16:creationId xmlns:a16="http://schemas.microsoft.com/office/drawing/2014/main" id="{A193E58F-4F80-4CC0-8A73-D988F6A2DE68}"/>
                  </a:ext>
                </a:extLst>
              </p:cNvPr>
              <p:cNvSpPr/>
              <p:nvPr/>
            </p:nvSpPr>
            <p:spPr>
              <a:xfrm>
                <a:off x="5265705" y="3408449"/>
                <a:ext cx="378333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333" h="205811" extrusionOk="0">
                    <a:moveTo>
                      <a:pt x="378333" y="102941"/>
                    </a:moveTo>
                    <a:cubicBezTo>
                      <a:pt x="375666" y="128659"/>
                      <a:pt x="357378" y="154091"/>
                      <a:pt x="323183" y="173807"/>
                    </a:cubicBezTo>
                    <a:cubicBezTo>
                      <a:pt x="249174" y="216479"/>
                      <a:pt x="129159" y="216479"/>
                      <a:pt x="55054" y="173807"/>
                    </a:cubicBezTo>
                    <a:cubicBezTo>
                      <a:pt x="20955" y="154091"/>
                      <a:pt x="2572" y="128659"/>
                      <a:pt x="0" y="102941"/>
                    </a:cubicBezTo>
                    <a:cubicBezTo>
                      <a:pt x="2572" y="77224"/>
                      <a:pt x="20955" y="51792"/>
                      <a:pt x="55054" y="32075"/>
                    </a:cubicBezTo>
                    <a:cubicBezTo>
                      <a:pt x="129159" y="-10692"/>
                      <a:pt x="249174" y="-10692"/>
                      <a:pt x="323183" y="32075"/>
                    </a:cubicBezTo>
                    <a:cubicBezTo>
                      <a:pt x="357378" y="51792"/>
                      <a:pt x="375666" y="77700"/>
                      <a:pt x="378333" y="10294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3708;p38">
                <a:extLst>
                  <a:ext uri="{FF2B5EF4-FFF2-40B4-BE49-F238E27FC236}">
                    <a16:creationId xmlns:a16="http://schemas.microsoft.com/office/drawing/2014/main" id="{3D04036A-2AAB-47C9-8369-C657A7052A93}"/>
                  </a:ext>
                </a:extLst>
              </p:cNvPr>
              <p:cNvSpPr/>
              <p:nvPr/>
            </p:nvSpPr>
            <p:spPr>
              <a:xfrm>
                <a:off x="5362575" y="3458051"/>
                <a:ext cx="176618" cy="110489"/>
              </a:xfrm>
              <a:custGeom>
                <a:avLst/>
                <a:gdLst/>
                <a:ahLst/>
                <a:cxnLst/>
                <a:rect l="l" t="t" r="r" b="b"/>
                <a:pathLst>
                  <a:path w="176618" h="110489" extrusionOk="0">
                    <a:moveTo>
                      <a:pt x="89535" y="17526"/>
                    </a:moveTo>
                    <a:cubicBezTo>
                      <a:pt x="87201" y="17488"/>
                      <a:pt x="84877" y="17678"/>
                      <a:pt x="82582" y="18097"/>
                    </a:cubicBezTo>
                    <a:cubicBezTo>
                      <a:pt x="79438" y="18097"/>
                      <a:pt x="75914" y="19145"/>
                      <a:pt x="72104" y="20002"/>
                    </a:cubicBezTo>
                    <a:cubicBezTo>
                      <a:pt x="68294" y="20860"/>
                      <a:pt x="64199" y="21812"/>
                      <a:pt x="60008" y="23050"/>
                    </a:cubicBezTo>
                    <a:cubicBezTo>
                      <a:pt x="55921" y="24260"/>
                      <a:pt x="51940" y="25784"/>
                      <a:pt x="48101" y="27622"/>
                    </a:cubicBezTo>
                    <a:lnTo>
                      <a:pt x="78581" y="45149"/>
                    </a:lnTo>
                    <a:lnTo>
                      <a:pt x="84011" y="43243"/>
                    </a:lnTo>
                    <a:cubicBezTo>
                      <a:pt x="91821" y="40672"/>
                      <a:pt x="99060" y="38481"/>
                      <a:pt x="105918" y="36671"/>
                    </a:cubicBezTo>
                    <a:cubicBezTo>
                      <a:pt x="112366" y="34947"/>
                      <a:pt x="118967" y="33861"/>
                      <a:pt x="125635" y="33433"/>
                    </a:cubicBezTo>
                    <a:cubicBezTo>
                      <a:pt x="131731" y="33023"/>
                      <a:pt x="137846" y="33442"/>
                      <a:pt x="143828" y="34671"/>
                    </a:cubicBezTo>
                    <a:cubicBezTo>
                      <a:pt x="149933" y="35966"/>
                      <a:pt x="155791" y="38243"/>
                      <a:pt x="161163" y="41434"/>
                    </a:cubicBezTo>
                    <a:cubicBezTo>
                      <a:pt x="166421" y="44101"/>
                      <a:pt x="170917" y="48063"/>
                      <a:pt x="174212" y="52959"/>
                    </a:cubicBezTo>
                    <a:cubicBezTo>
                      <a:pt x="176441" y="56502"/>
                      <a:pt x="177155" y="60789"/>
                      <a:pt x="176213" y="64865"/>
                    </a:cubicBezTo>
                    <a:cubicBezTo>
                      <a:pt x="174850" y="69304"/>
                      <a:pt x="172393" y="73333"/>
                      <a:pt x="169069" y="76581"/>
                    </a:cubicBezTo>
                    <a:cubicBezTo>
                      <a:pt x="164868" y="80753"/>
                      <a:pt x="160201" y="84430"/>
                      <a:pt x="155162" y="87535"/>
                    </a:cubicBezTo>
                    <a:lnTo>
                      <a:pt x="174212" y="98679"/>
                    </a:lnTo>
                    <a:lnTo>
                      <a:pt x="163639" y="104775"/>
                    </a:lnTo>
                    <a:lnTo>
                      <a:pt x="144113" y="93535"/>
                    </a:lnTo>
                    <a:cubicBezTo>
                      <a:pt x="134969" y="98117"/>
                      <a:pt x="125397" y="101784"/>
                      <a:pt x="115538" y="104489"/>
                    </a:cubicBezTo>
                    <a:cubicBezTo>
                      <a:pt x="105070" y="107423"/>
                      <a:pt x="94355" y="109433"/>
                      <a:pt x="83534" y="110490"/>
                    </a:cubicBezTo>
                    <a:lnTo>
                      <a:pt x="73342" y="92202"/>
                    </a:lnTo>
                    <a:cubicBezTo>
                      <a:pt x="76181" y="92145"/>
                      <a:pt x="79010" y="91926"/>
                      <a:pt x="81820" y="91535"/>
                    </a:cubicBezTo>
                    <a:cubicBezTo>
                      <a:pt x="86116" y="91059"/>
                      <a:pt x="90373" y="90325"/>
                      <a:pt x="94583" y="89344"/>
                    </a:cubicBezTo>
                    <a:cubicBezTo>
                      <a:pt x="99346" y="88392"/>
                      <a:pt x="104108" y="87058"/>
                      <a:pt x="109442" y="85534"/>
                    </a:cubicBezTo>
                    <a:cubicBezTo>
                      <a:pt x="114557" y="84068"/>
                      <a:pt x="119558" y="82220"/>
                      <a:pt x="124396" y="80010"/>
                    </a:cubicBezTo>
                    <a:lnTo>
                      <a:pt x="94107" y="62579"/>
                    </a:lnTo>
                    <a:lnTo>
                      <a:pt x="90107" y="63913"/>
                    </a:lnTo>
                    <a:lnTo>
                      <a:pt x="86011" y="65151"/>
                    </a:lnTo>
                    <a:cubicBezTo>
                      <a:pt x="79134" y="67475"/>
                      <a:pt x="72133" y="69447"/>
                      <a:pt x="65056" y="71057"/>
                    </a:cubicBezTo>
                    <a:cubicBezTo>
                      <a:pt x="59179" y="72409"/>
                      <a:pt x="53178" y="73209"/>
                      <a:pt x="47149" y="73438"/>
                    </a:cubicBezTo>
                    <a:cubicBezTo>
                      <a:pt x="41872" y="73647"/>
                      <a:pt x="36586" y="73171"/>
                      <a:pt x="31433" y="72009"/>
                    </a:cubicBezTo>
                    <a:cubicBezTo>
                      <a:pt x="26308" y="70780"/>
                      <a:pt x="21393" y="68790"/>
                      <a:pt x="16859" y="66103"/>
                    </a:cubicBezTo>
                    <a:cubicBezTo>
                      <a:pt x="11887" y="63465"/>
                      <a:pt x="7563" y="59760"/>
                      <a:pt x="4191" y="55245"/>
                    </a:cubicBezTo>
                    <a:cubicBezTo>
                      <a:pt x="1695" y="51864"/>
                      <a:pt x="448" y="47730"/>
                      <a:pt x="667" y="43529"/>
                    </a:cubicBezTo>
                    <a:cubicBezTo>
                      <a:pt x="1162" y="39157"/>
                      <a:pt x="2915" y="35023"/>
                      <a:pt x="5715" y="31623"/>
                    </a:cubicBezTo>
                    <a:cubicBezTo>
                      <a:pt x="9220" y="27299"/>
                      <a:pt x="13364" y="23546"/>
                      <a:pt x="18002" y="20479"/>
                    </a:cubicBezTo>
                    <a:lnTo>
                      <a:pt x="0" y="10096"/>
                    </a:lnTo>
                    <a:lnTo>
                      <a:pt x="10573" y="4000"/>
                    </a:lnTo>
                    <a:lnTo>
                      <a:pt x="28384" y="14288"/>
                    </a:lnTo>
                    <a:cubicBezTo>
                      <a:pt x="36700" y="10144"/>
                      <a:pt x="45453" y="6944"/>
                      <a:pt x="54483" y="4763"/>
                    </a:cubicBezTo>
                    <a:cubicBezTo>
                      <a:pt x="63065" y="2600"/>
                      <a:pt x="71790" y="1010"/>
                      <a:pt x="80582" y="0"/>
                    </a:cubicBezTo>
                    <a:close/>
                    <a:moveTo>
                      <a:pt x="38100" y="49435"/>
                    </a:moveTo>
                    <a:cubicBezTo>
                      <a:pt x="42110" y="51730"/>
                      <a:pt x="46739" y="52721"/>
                      <a:pt x="51340" y="52292"/>
                    </a:cubicBezTo>
                    <a:cubicBezTo>
                      <a:pt x="57502" y="51578"/>
                      <a:pt x="63570" y="50206"/>
                      <a:pt x="69437" y="48196"/>
                    </a:cubicBezTo>
                    <a:lnTo>
                      <a:pt x="40862" y="31718"/>
                    </a:lnTo>
                    <a:cubicBezTo>
                      <a:pt x="30194" y="38576"/>
                      <a:pt x="29270" y="44482"/>
                      <a:pt x="38100" y="49435"/>
                    </a:cubicBezTo>
                    <a:close/>
                    <a:moveTo>
                      <a:pt x="138113" y="57721"/>
                    </a:moveTo>
                    <a:cubicBezTo>
                      <a:pt x="133750" y="55350"/>
                      <a:pt x="128730" y="54483"/>
                      <a:pt x="123825" y="55245"/>
                    </a:cubicBezTo>
                    <a:cubicBezTo>
                      <a:pt x="117062" y="56074"/>
                      <a:pt x="110404" y="57541"/>
                      <a:pt x="103918" y="59626"/>
                    </a:cubicBezTo>
                    <a:lnTo>
                      <a:pt x="132493" y="75914"/>
                    </a:lnTo>
                    <a:cubicBezTo>
                      <a:pt x="144018" y="68580"/>
                      <a:pt x="145923" y="62484"/>
                      <a:pt x="137732" y="5772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3709;p38">
                <a:extLst>
                  <a:ext uri="{FF2B5EF4-FFF2-40B4-BE49-F238E27FC236}">
                    <a16:creationId xmlns:a16="http://schemas.microsoft.com/office/drawing/2014/main" id="{297ADED8-2A57-4375-B9B2-E70ADD7694DB}"/>
                  </a:ext>
                </a:extLst>
              </p:cNvPr>
              <p:cNvSpPr/>
              <p:nvPr/>
            </p:nvSpPr>
            <p:spPr>
              <a:xfrm>
                <a:off x="5435726" y="3539966"/>
                <a:ext cx="11620" cy="15240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40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" name="Google Shape;3710;p38">
                <a:extLst>
                  <a:ext uri="{FF2B5EF4-FFF2-40B4-BE49-F238E27FC236}">
                    <a16:creationId xmlns:a16="http://schemas.microsoft.com/office/drawing/2014/main" id="{EFD94541-BAEC-4C1C-A537-2CA136782E33}"/>
                  </a:ext>
                </a:extLst>
              </p:cNvPr>
              <p:cNvSpPr/>
              <p:nvPr/>
            </p:nvSpPr>
            <p:spPr>
              <a:xfrm>
                <a:off x="5511926" y="3546443"/>
                <a:ext cx="25146" cy="11811"/>
              </a:xfrm>
              <a:custGeom>
                <a:avLst/>
                <a:gdLst/>
                <a:ahLst/>
                <a:cxnLst/>
                <a:rect l="l" t="t" r="r" b="b"/>
                <a:pathLst>
                  <a:path w="25146" h="11811" extrusionOk="0">
                    <a:moveTo>
                      <a:pt x="25146" y="10287"/>
                    </a:moveTo>
                    <a:lnTo>
                      <a:pt x="25146" y="0"/>
                    </a:lnTo>
                    <a:lnTo>
                      <a:pt x="0" y="2000"/>
                    </a:lnTo>
                    <a:lnTo>
                      <a:pt x="14383" y="11811"/>
                    </a:lnTo>
                    <a:lnTo>
                      <a:pt x="25146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" name="Google Shape;3711;p38">
                <a:extLst>
                  <a:ext uri="{FF2B5EF4-FFF2-40B4-BE49-F238E27FC236}">
                    <a16:creationId xmlns:a16="http://schemas.microsoft.com/office/drawing/2014/main" id="{4FE3D227-9C4C-44B9-AF8F-F99BFDA50189}"/>
                  </a:ext>
                </a:extLst>
              </p:cNvPr>
              <p:cNvSpPr/>
              <p:nvPr/>
            </p:nvSpPr>
            <p:spPr>
              <a:xfrm>
                <a:off x="5520308" y="3508724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2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3712;p38">
                <a:extLst>
                  <a:ext uri="{FF2B5EF4-FFF2-40B4-BE49-F238E27FC236}">
                    <a16:creationId xmlns:a16="http://schemas.microsoft.com/office/drawing/2014/main" id="{309F0EBE-AF96-4959-A575-41835BACE803}"/>
                  </a:ext>
                </a:extLst>
              </p:cNvPr>
              <p:cNvSpPr/>
              <p:nvPr/>
            </p:nvSpPr>
            <p:spPr>
              <a:xfrm>
                <a:off x="5461063" y="3512534"/>
                <a:ext cx="28479" cy="19812"/>
              </a:xfrm>
              <a:custGeom>
                <a:avLst/>
                <a:gdLst/>
                <a:ahLst/>
                <a:cxnLst/>
                <a:rect l="l" t="t" r="r" b="b"/>
                <a:pathLst>
                  <a:path w="28479" h="19812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480" y="15240"/>
                    </a:lnTo>
                    <a:lnTo>
                      <a:pt x="27051" y="19812"/>
                    </a:lnTo>
                    <a:cubicBezTo>
                      <a:pt x="27051" y="19812"/>
                      <a:pt x="10573" y="12859"/>
                      <a:pt x="10001" y="12383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3713;p38">
                <a:extLst>
                  <a:ext uri="{FF2B5EF4-FFF2-40B4-BE49-F238E27FC236}">
                    <a16:creationId xmlns:a16="http://schemas.microsoft.com/office/drawing/2014/main" id="{79970BAB-F7C9-4E4C-AB6C-1E20FFCDBB32}"/>
                  </a:ext>
                </a:extLst>
              </p:cNvPr>
              <p:cNvSpPr/>
              <p:nvPr/>
            </p:nvSpPr>
            <p:spPr>
              <a:xfrm>
                <a:off x="5403246" y="3479482"/>
                <a:ext cx="35337" cy="23336"/>
              </a:xfrm>
              <a:custGeom>
                <a:avLst/>
                <a:gdLst/>
                <a:ahLst/>
                <a:cxnLst/>
                <a:rect l="l" t="t" r="r" b="b"/>
                <a:pathLst>
                  <a:path w="35337" h="23336" extrusionOk="0">
                    <a:moveTo>
                      <a:pt x="0" y="6667"/>
                    </a:moveTo>
                    <a:lnTo>
                      <a:pt x="29337" y="23336"/>
                    </a:lnTo>
                    <a:lnTo>
                      <a:pt x="35338" y="18955"/>
                    </a:lnTo>
                    <a:lnTo>
                      <a:pt x="31337" y="14383"/>
                    </a:lnTo>
                    <a:cubicBezTo>
                      <a:pt x="28613" y="11297"/>
                      <a:pt x="25394" y="8687"/>
                      <a:pt x="21812" y="6667"/>
                    </a:cubicBezTo>
                    <a:cubicBezTo>
                      <a:pt x="19717" y="6667"/>
                      <a:pt x="5715" y="0"/>
                      <a:pt x="5715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" name="Google Shape;3714;p38">
                <a:extLst>
                  <a:ext uri="{FF2B5EF4-FFF2-40B4-BE49-F238E27FC236}">
                    <a16:creationId xmlns:a16="http://schemas.microsoft.com/office/drawing/2014/main" id="{4215479E-7023-47CC-B9D5-7621B2B405E5}"/>
                  </a:ext>
                </a:extLst>
              </p:cNvPr>
              <p:cNvSpPr/>
              <p:nvPr/>
            </p:nvSpPr>
            <p:spPr>
              <a:xfrm>
                <a:off x="5435726" y="3460908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8"/>
                    </a:moveTo>
                    <a:lnTo>
                      <a:pt x="16383" y="4381"/>
                    </a:lnTo>
                    <a:lnTo>
                      <a:pt x="2858" y="0"/>
                    </a:lnTo>
                    <a:lnTo>
                      <a:pt x="0" y="8096"/>
                    </a:lnTo>
                    <a:lnTo>
                      <a:pt x="667" y="11716"/>
                    </a:lnTo>
                    <a:lnTo>
                      <a:pt x="16383" y="14668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" name="Google Shape;3715;p38">
                <a:extLst>
                  <a:ext uri="{FF2B5EF4-FFF2-40B4-BE49-F238E27FC236}">
                    <a16:creationId xmlns:a16="http://schemas.microsoft.com/office/drawing/2014/main" id="{05853F2F-2927-4E22-A349-8D6BE4862AA0}"/>
                  </a:ext>
                </a:extLst>
              </p:cNvPr>
              <p:cNvSpPr/>
              <p:nvPr/>
            </p:nvSpPr>
            <p:spPr>
              <a:xfrm>
                <a:off x="5362479" y="3457860"/>
                <a:ext cx="15620" cy="11620"/>
              </a:xfrm>
              <a:custGeom>
                <a:avLst/>
                <a:gdLst/>
                <a:ahLst/>
                <a:cxnLst/>
                <a:rect l="l" t="t" r="r" b="b"/>
                <a:pathLst>
                  <a:path w="15620" h="11620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621" y="1715"/>
                    </a:lnTo>
                    <a:lnTo>
                      <a:pt x="10573" y="11621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" name="Google Shape;3716;p38">
                <a:extLst>
                  <a:ext uri="{FF2B5EF4-FFF2-40B4-BE49-F238E27FC236}">
                    <a16:creationId xmlns:a16="http://schemas.microsoft.com/office/drawing/2014/main" id="{98D00F09-4CC8-485A-94E6-11554ADA96F2}"/>
                  </a:ext>
                </a:extLst>
              </p:cNvPr>
              <p:cNvSpPr/>
              <p:nvPr/>
            </p:nvSpPr>
            <p:spPr>
              <a:xfrm>
                <a:off x="5363051" y="3492341"/>
                <a:ext cx="17906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7906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7907" y="0"/>
                    </a:lnTo>
                    <a:lnTo>
                      <a:pt x="13525" y="9525"/>
                    </a:lnTo>
                    <a:lnTo>
                      <a:pt x="5810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3717;p38">
                <a:extLst>
                  <a:ext uri="{FF2B5EF4-FFF2-40B4-BE49-F238E27FC236}">
                    <a16:creationId xmlns:a16="http://schemas.microsoft.com/office/drawing/2014/main" id="{10FFF33E-4266-4FF9-A484-A4CC5D4DED40}"/>
                  </a:ext>
                </a:extLst>
              </p:cNvPr>
              <p:cNvSpPr/>
              <p:nvPr/>
            </p:nvSpPr>
            <p:spPr>
              <a:xfrm>
                <a:off x="5362575" y="3447573"/>
                <a:ext cx="176612" cy="110680"/>
              </a:xfrm>
              <a:custGeom>
                <a:avLst/>
                <a:gdLst/>
                <a:ahLst/>
                <a:cxnLst/>
                <a:rect l="l" t="t" r="r" b="b"/>
                <a:pathLst>
                  <a:path w="176612" h="110680" extrusionOk="0">
                    <a:moveTo>
                      <a:pt x="89535" y="17717"/>
                    </a:moveTo>
                    <a:cubicBezTo>
                      <a:pt x="87201" y="17678"/>
                      <a:pt x="84877" y="17869"/>
                      <a:pt x="82582" y="18288"/>
                    </a:cubicBezTo>
                    <a:cubicBezTo>
                      <a:pt x="79438" y="18288"/>
                      <a:pt x="75914" y="19336"/>
                      <a:pt x="72104" y="20193"/>
                    </a:cubicBezTo>
                    <a:cubicBezTo>
                      <a:pt x="68294" y="21050"/>
                      <a:pt x="64199" y="22003"/>
                      <a:pt x="60008" y="23241"/>
                    </a:cubicBezTo>
                    <a:cubicBezTo>
                      <a:pt x="55921" y="24451"/>
                      <a:pt x="51940" y="25975"/>
                      <a:pt x="48101" y="27813"/>
                    </a:cubicBezTo>
                    <a:lnTo>
                      <a:pt x="78581" y="45339"/>
                    </a:lnTo>
                    <a:lnTo>
                      <a:pt x="84011" y="43434"/>
                    </a:lnTo>
                    <a:cubicBezTo>
                      <a:pt x="91821" y="40862"/>
                      <a:pt x="99060" y="38672"/>
                      <a:pt x="105918" y="36862"/>
                    </a:cubicBezTo>
                    <a:cubicBezTo>
                      <a:pt x="112366" y="35138"/>
                      <a:pt x="118967" y="34052"/>
                      <a:pt x="125635" y="33623"/>
                    </a:cubicBezTo>
                    <a:cubicBezTo>
                      <a:pt x="131731" y="33214"/>
                      <a:pt x="137846" y="33633"/>
                      <a:pt x="143828" y="34862"/>
                    </a:cubicBezTo>
                    <a:cubicBezTo>
                      <a:pt x="149933" y="36157"/>
                      <a:pt x="155791" y="38443"/>
                      <a:pt x="161163" y="41624"/>
                    </a:cubicBezTo>
                    <a:cubicBezTo>
                      <a:pt x="166421" y="44291"/>
                      <a:pt x="170917" y="48254"/>
                      <a:pt x="174212" y="53150"/>
                    </a:cubicBezTo>
                    <a:cubicBezTo>
                      <a:pt x="176432" y="56693"/>
                      <a:pt x="177146" y="60979"/>
                      <a:pt x="176213" y="65056"/>
                    </a:cubicBezTo>
                    <a:cubicBezTo>
                      <a:pt x="174850" y="69494"/>
                      <a:pt x="172393" y="73524"/>
                      <a:pt x="169069" y="76772"/>
                    </a:cubicBezTo>
                    <a:cubicBezTo>
                      <a:pt x="164897" y="80972"/>
                      <a:pt x="160230" y="84649"/>
                      <a:pt x="155162" y="87725"/>
                    </a:cubicBezTo>
                    <a:lnTo>
                      <a:pt x="174212" y="98965"/>
                    </a:lnTo>
                    <a:lnTo>
                      <a:pt x="163639" y="105061"/>
                    </a:lnTo>
                    <a:lnTo>
                      <a:pt x="144113" y="93726"/>
                    </a:lnTo>
                    <a:cubicBezTo>
                      <a:pt x="134969" y="98308"/>
                      <a:pt x="125397" y="101975"/>
                      <a:pt x="115538" y="104680"/>
                    </a:cubicBezTo>
                    <a:cubicBezTo>
                      <a:pt x="105070" y="107613"/>
                      <a:pt x="94355" y="109623"/>
                      <a:pt x="83534" y="110681"/>
                    </a:cubicBezTo>
                    <a:lnTo>
                      <a:pt x="73342" y="92392"/>
                    </a:lnTo>
                    <a:cubicBezTo>
                      <a:pt x="76181" y="92336"/>
                      <a:pt x="79010" y="92107"/>
                      <a:pt x="81820" y="91726"/>
                    </a:cubicBezTo>
                    <a:cubicBezTo>
                      <a:pt x="86116" y="91250"/>
                      <a:pt x="90373" y="90516"/>
                      <a:pt x="94583" y="89535"/>
                    </a:cubicBezTo>
                    <a:cubicBezTo>
                      <a:pt x="99346" y="88583"/>
                      <a:pt x="104108" y="87249"/>
                      <a:pt x="109442" y="85725"/>
                    </a:cubicBezTo>
                    <a:cubicBezTo>
                      <a:pt x="114557" y="84258"/>
                      <a:pt x="119558" y="82410"/>
                      <a:pt x="124396" y="80200"/>
                    </a:cubicBezTo>
                    <a:lnTo>
                      <a:pt x="94107" y="62770"/>
                    </a:lnTo>
                    <a:lnTo>
                      <a:pt x="90107" y="64103"/>
                    </a:lnTo>
                    <a:lnTo>
                      <a:pt x="86011" y="65342"/>
                    </a:lnTo>
                    <a:cubicBezTo>
                      <a:pt x="79134" y="67665"/>
                      <a:pt x="72133" y="69637"/>
                      <a:pt x="65056" y="71247"/>
                    </a:cubicBezTo>
                    <a:cubicBezTo>
                      <a:pt x="59179" y="72647"/>
                      <a:pt x="53188" y="73447"/>
                      <a:pt x="47149" y="73628"/>
                    </a:cubicBezTo>
                    <a:cubicBezTo>
                      <a:pt x="41872" y="73838"/>
                      <a:pt x="36586" y="73362"/>
                      <a:pt x="31433" y="72200"/>
                    </a:cubicBezTo>
                    <a:cubicBezTo>
                      <a:pt x="26308" y="70971"/>
                      <a:pt x="21393" y="68980"/>
                      <a:pt x="16859" y="66294"/>
                    </a:cubicBezTo>
                    <a:cubicBezTo>
                      <a:pt x="11859" y="63694"/>
                      <a:pt x="7525" y="59979"/>
                      <a:pt x="4191" y="55435"/>
                    </a:cubicBezTo>
                    <a:cubicBezTo>
                      <a:pt x="1695" y="52054"/>
                      <a:pt x="448" y="47911"/>
                      <a:pt x="667" y="43720"/>
                    </a:cubicBezTo>
                    <a:cubicBezTo>
                      <a:pt x="1181" y="39348"/>
                      <a:pt x="2934" y="35223"/>
                      <a:pt x="5715" y="31813"/>
                    </a:cubicBezTo>
                    <a:cubicBezTo>
                      <a:pt x="9220" y="27489"/>
                      <a:pt x="13364" y="23736"/>
                      <a:pt x="18002" y="20669"/>
                    </a:cubicBezTo>
                    <a:lnTo>
                      <a:pt x="0" y="10001"/>
                    </a:lnTo>
                    <a:lnTo>
                      <a:pt x="10573" y="3905"/>
                    </a:lnTo>
                    <a:lnTo>
                      <a:pt x="28384" y="14192"/>
                    </a:lnTo>
                    <a:cubicBezTo>
                      <a:pt x="36719" y="10087"/>
                      <a:pt x="45463" y="6896"/>
                      <a:pt x="54483" y="4667"/>
                    </a:cubicBezTo>
                    <a:cubicBezTo>
                      <a:pt x="63055" y="2486"/>
                      <a:pt x="71780" y="924"/>
                      <a:pt x="80582" y="0"/>
                    </a:cubicBezTo>
                    <a:close/>
                    <a:moveTo>
                      <a:pt x="38100" y="49625"/>
                    </a:moveTo>
                    <a:cubicBezTo>
                      <a:pt x="42110" y="51921"/>
                      <a:pt x="46739" y="52911"/>
                      <a:pt x="51340" y="52483"/>
                    </a:cubicBezTo>
                    <a:cubicBezTo>
                      <a:pt x="57502" y="51768"/>
                      <a:pt x="63570" y="50397"/>
                      <a:pt x="69437" y="48387"/>
                    </a:cubicBezTo>
                    <a:lnTo>
                      <a:pt x="40862" y="31909"/>
                    </a:lnTo>
                    <a:cubicBezTo>
                      <a:pt x="30194" y="38767"/>
                      <a:pt x="29270" y="44672"/>
                      <a:pt x="38100" y="49625"/>
                    </a:cubicBezTo>
                    <a:close/>
                    <a:moveTo>
                      <a:pt x="138113" y="58007"/>
                    </a:moveTo>
                    <a:cubicBezTo>
                      <a:pt x="133760" y="55607"/>
                      <a:pt x="128740" y="54702"/>
                      <a:pt x="123825" y="55435"/>
                    </a:cubicBezTo>
                    <a:cubicBezTo>
                      <a:pt x="117072" y="56312"/>
                      <a:pt x="110414" y="57779"/>
                      <a:pt x="103918" y="59817"/>
                    </a:cubicBezTo>
                    <a:lnTo>
                      <a:pt x="132493" y="76200"/>
                    </a:lnTo>
                    <a:cubicBezTo>
                      <a:pt x="144018" y="68771"/>
                      <a:pt x="145923" y="62675"/>
                      <a:pt x="137732" y="5762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2" name="Google Shape;3718;p38">
              <a:extLst>
                <a:ext uri="{FF2B5EF4-FFF2-40B4-BE49-F238E27FC236}">
                  <a16:creationId xmlns:a16="http://schemas.microsoft.com/office/drawing/2014/main" id="{87028B5C-CD4B-42D3-9059-D6AEB7B27D62}"/>
                </a:ext>
              </a:extLst>
            </p:cNvPr>
            <p:cNvSpPr/>
            <p:nvPr/>
          </p:nvSpPr>
          <p:spPr>
            <a:xfrm>
              <a:off x="5771792" y="3977849"/>
              <a:ext cx="617525" cy="382903"/>
            </a:xfrm>
            <a:custGeom>
              <a:avLst/>
              <a:gdLst/>
              <a:ahLst/>
              <a:cxnLst/>
              <a:rect l="l" t="t" r="r" b="b"/>
              <a:pathLst>
                <a:path w="617525" h="382903" extrusionOk="0">
                  <a:moveTo>
                    <a:pt x="570840" y="378738"/>
                  </a:moveTo>
                  <a:lnTo>
                    <a:pt x="15532" y="58221"/>
                  </a:lnTo>
                  <a:cubicBezTo>
                    <a:pt x="616" y="49544"/>
                    <a:pt x="-4432" y="30418"/>
                    <a:pt x="4245" y="15502"/>
                  </a:cubicBezTo>
                  <a:cubicBezTo>
                    <a:pt x="6960" y="10825"/>
                    <a:pt x="10856" y="6939"/>
                    <a:pt x="15532" y="4215"/>
                  </a:cubicBezTo>
                  <a:lnTo>
                    <a:pt x="15532" y="4215"/>
                  </a:lnTo>
                  <a:cubicBezTo>
                    <a:pt x="25191" y="-1405"/>
                    <a:pt x="37116" y="-1405"/>
                    <a:pt x="46774" y="4215"/>
                  </a:cubicBezTo>
                  <a:lnTo>
                    <a:pt x="601987" y="324731"/>
                  </a:lnTo>
                  <a:cubicBezTo>
                    <a:pt x="616903" y="333408"/>
                    <a:pt x="621960" y="352525"/>
                    <a:pt x="613283" y="367441"/>
                  </a:cubicBezTo>
                  <a:cubicBezTo>
                    <a:pt x="609873" y="373318"/>
                    <a:pt x="604634" y="377918"/>
                    <a:pt x="598367" y="380547"/>
                  </a:cubicBezTo>
                  <a:lnTo>
                    <a:pt x="598367" y="380547"/>
                  </a:lnTo>
                  <a:cubicBezTo>
                    <a:pt x="589404" y="384234"/>
                    <a:pt x="579241" y="383567"/>
                    <a:pt x="570840" y="37873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3719;p38">
              <a:extLst>
                <a:ext uri="{FF2B5EF4-FFF2-40B4-BE49-F238E27FC236}">
                  <a16:creationId xmlns:a16="http://schemas.microsoft.com/office/drawing/2014/main" id="{C104A402-F220-4841-888C-6678A81703F8}"/>
                </a:ext>
              </a:extLst>
            </p:cNvPr>
            <p:cNvSpPr/>
            <p:nvPr/>
          </p:nvSpPr>
          <p:spPr>
            <a:xfrm>
              <a:off x="5742557" y="3281451"/>
              <a:ext cx="721042" cy="930362"/>
            </a:xfrm>
            <a:custGeom>
              <a:avLst/>
              <a:gdLst/>
              <a:ahLst/>
              <a:cxnLst/>
              <a:rect l="l" t="t" r="r" b="b"/>
              <a:pathLst>
                <a:path w="721042" h="930362" extrusionOk="0">
                  <a:moveTo>
                    <a:pt x="360331" y="881302"/>
                  </a:moveTo>
                  <a:cubicBezTo>
                    <a:pt x="161639" y="766526"/>
                    <a:pt x="0" y="486586"/>
                    <a:pt x="0" y="257129"/>
                  </a:cubicBezTo>
                  <a:cubicBezTo>
                    <a:pt x="0" y="27671"/>
                    <a:pt x="161925" y="-65674"/>
                    <a:pt x="360331" y="49103"/>
                  </a:cubicBezTo>
                  <a:cubicBezTo>
                    <a:pt x="558737" y="163879"/>
                    <a:pt x="721043" y="443819"/>
                    <a:pt x="721043" y="673276"/>
                  </a:cubicBezTo>
                  <a:cubicBezTo>
                    <a:pt x="721043" y="902733"/>
                    <a:pt x="559118" y="995983"/>
                    <a:pt x="360331" y="881302"/>
                  </a:cubicBezTo>
                  <a:close/>
                  <a:moveTo>
                    <a:pt x="360331" y="123588"/>
                  </a:moveTo>
                  <a:cubicBezTo>
                    <a:pt x="197263" y="29386"/>
                    <a:pt x="64484" y="105967"/>
                    <a:pt x="64484" y="294371"/>
                  </a:cubicBezTo>
                  <a:cubicBezTo>
                    <a:pt x="64484" y="482776"/>
                    <a:pt x="197168" y="712424"/>
                    <a:pt x="360331" y="806817"/>
                  </a:cubicBezTo>
                  <a:cubicBezTo>
                    <a:pt x="523494" y="901209"/>
                    <a:pt x="656273" y="824342"/>
                    <a:pt x="656273" y="636224"/>
                  </a:cubicBezTo>
                  <a:cubicBezTo>
                    <a:pt x="656273" y="448105"/>
                    <a:pt x="523494" y="217695"/>
                    <a:pt x="360331" y="12358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3720;p38">
              <a:extLst>
                <a:ext uri="{FF2B5EF4-FFF2-40B4-BE49-F238E27FC236}">
                  <a16:creationId xmlns:a16="http://schemas.microsoft.com/office/drawing/2014/main" id="{9BD5CD16-2523-4445-B688-7A71A228C02F}"/>
                </a:ext>
              </a:extLst>
            </p:cNvPr>
            <p:cNvSpPr/>
            <p:nvPr/>
          </p:nvSpPr>
          <p:spPr>
            <a:xfrm>
              <a:off x="5798755" y="3297121"/>
              <a:ext cx="66103" cy="45243"/>
            </a:xfrm>
            <a:custGeom>
              <a:avLst/>
              <a:gdLst/>
              <a:ahLst/>
              <a:cxnLst/>
              <a:rect l="l" t="t" r="r" b="b"/>
              <a:pathLst>
                <a:path w="66103" h="45243" extrusionOk="0">
                  <a:moveTo>
                    <a:pt x="0" y="36004"/>
                  </a:moveTo>
                  <a:lnTo>
                    <a:pt x="66104" y="0"/>
                  </a:lnTo>
                  <a:lnTo>
                    <a:pt x="56197" y="45244"/>
                  </a:lnTo>
                  <a:lnTo>
                    <a:pt x="0" y="36004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3721;p38">
              <a:extLst>
                <a:ext uri="{FF2B5EF4-FFF2-40B4-BE49-F238E27FC236}">
                  <a16:creationId xmlns:a16="http://schemas.microsoft.com/office/drawing/2014/main" id="{544DD520-E4C6-4553-90EA-D3CDE51192DE}"/>
                </a:ext>
              </a:extLst>
            </p:cNvPr>
            <p:cNvSpPr/>
            <p:nvPr/>
          </p:nvSpPr>
          <p:spPr>
            <a:xfrm>
              <a:off x="6296341" y="4172183"/>
              <a:ext cx="72199" cy="48958"/>
            </a:xfrm>
            <a:custGeom>
              <a:avLst/>
              <a:gdLst/>
              <a:ahLst/>
              <a:cxnLst/>
              <a:rect l="l" t="t" r="r" b="b"/>
              <a:pathLst>
                <a:path w="72199" h="48958" extrusionOk="0">
                  <a:moveTo>
                    <a:pt x="0" y="48958"/>
                  </a:moveTo>
                  <a:cubicBezTo>
                    <a:pt x="1619" y="48196"/>
                    <a:pt x="72199" y="8763"/>
                    <a:pt x="72199" y="8763"/>
                  </a:cubicBezTo>
                  <a:lnTo>
                    <a:pt x="17621" y="0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3722;p38">
              <a:extLst>
                <a:ext uri="{FF2B5EF4-FFF2-40B4-BE49-F238E27FC236}">
                  <a16:creationId xmlns:a16="http://schemas.microsoft.com/office/drawing/2014/main" id="{5D48D2DF-A97E-496B-87C9-686F72BFFBB1}"/>
                </a:ext>
              </a:extLst>
            </p:cNvPr>
            <p:cNvSpPr/>
            <p:nvPr/>
          </p:nvSpPr>
          <p:spPr>
            <a:xfrm rot="-1801764">
              <a:off x="5788987" y="3308087"/>
              <a:ext cx="535400" cy="927291"/>
            </a:xfrm>
            <a:custGeom>
              <a:avLst/>
              <a:gdLst/>
              <a:ahLst/>
              <a:cxnLst/>
              <a:rect l="l" t="t" r="r" b="b"/>
              <a:pathLst>
                <a:path w="535876" h="928115" extrusionOk="0">
                  <a:moveTo>
                    <a:pt x="535876" y="464058"/>
                  </a:moveTo>
                  <a:cubicBezTo>
                    <a:pt x="535876" y="720350"/>
                    <a:pt x="415916" y="928116"/>
                    <a:pt x="267938" y="928116"/>
                  </a:cubicBezTo>
                  <a:cubicBezTo>
                    <a:pt x="119960" y="928116"/>
                    <a:pt x="0" y="720350"/>
                    <a:pt x="0" y="464058"/>
                  </a:cubicBezTo>
                  <a:cubicBezTo>
                    <a:pt x="0" y="207766"/>
                    <a:pt x="119960" y="0"/>
                    <a:pt x="267938" y="0"/>
                  </a:cubicBezTo>
                  <a:cubicBezTo>
                    <a:pt x="415916" y="0"/>
                    <a:pt x="535876" y="207766"/>
                    <a:pt x="535876" y="46405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3723;p38">
              <a:extLst>
                <a:ext uri="{FF2B5EF4-FFF2-40B4-BE49-F238E27FC236}">
                  <a16:creationId xmlns:a16="http://schemas.microsoft.com/office/drawing/2014/main" id="{C4D024E2-EB21-445E-981B-372E7C1D810D}"/>
                </a:ext>
              </a:extLst>
            </p:cNvPr>
            <p:cNvSpPr/>
            <p:nvPr/>
          </p:nvSpPr>
          <p:spPr>
            <a:xfrm>
              <a:off x="5696551" y="3306978"/>
              <a:ext cx="720756" cy="930362"/>
            </a:xfrm>
            <a:custGeom>
              <a:avLst/>
              <a:gdLst/>
              <a:ahLst/>
              <a:cxnLst/>
              <a:rect l="l" t="t" r="r" b="b"/>
              <a:pathLst>
                <a:path w="720756" h="930362" extrusionOk="0">
                  <a:moveTo>
                    <a:pt x="360426" y="881302"/>
                  </a:moveTo>
                  <a:cubicBezTo>
                    <a:pt x="161735" y="766526"/>
                    <a:pt x="0" y="486586"/>
                    <a:pt x="0" y="257129"/>
                  </a:cubicBezTo>
                  <a:cubicBezTo>
                    <a:pt x="0" y="27671"/>
                    <a:pt x="161925" y="-65674"/>
                    <a:pt x="360426" y="49103"/>
                  </a:cubicBezTo>
                  <a:cubicBezTo>
                    <a:pt x="558927" y="163879"/>
                    <a:pt x="720757" y="443819"/>
                    <a:pt x="720757" y="673276"/>
                  </a:cubicBezTo>
                  <a:cubicBezTo>
                    <a:pt x="720757" y="902733"/>
                    <a:pt x="559118" y="995983"/>
                    <a:pt x="360426" y="881302"/>
                  </a:cubicBezTo>
                  <a:close/>
                  <a:moveTo>
                    <a:pt x="360426" y="123588"/>
                  </a:moveTo>
                  <a:cubicBezTo>
                    <a:pt x="197263" y="29386"/>
                    <a:pt x="64579" y="105967"/>
                    <a:pt x="64579" y="294371"/>
                  </a:cubicBezTo>
                  <a:cubicBezTo>
                    <a:pt x="64579" y="482776"/>
                    <a:pt x="197263" y="712614"/>
                    <a:pt x="360426" y="806816"/>
                  </a:cubicBezTo>
                  <a:cubicBezTo>
                    <a:pt x="523589" y="901019"/>
                    <a:pt x="656272" y="824342"/>
                    <a:pt x="656272" y="636033"/>
                  </a:cubicBezTo>
                  <a:cubicBezTo>
                    <a:pt x="656272" y="447724"/>
                    <a:pt x="523589" y="217695"/>
                    <a:pt x="360426" y="12358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3724;p38">
              <a:extLst>
                <a:ext uri="{FF2B5EF4-FFF2-40B4-BE49-F238E27FC236}">
                  <a16:creationId xmlns:a16="http://schemas.microsoft.com/office/drawing/2014/main" id="{471C83CB-8F38-42F3-8B4E-138268967B09}"/>
                </a:ext>
              </a:extLst>
            </p:cNvPr>
            <p:cNvSpPr/>
            <p:nvPr/>
          </p:nvSpPr>
          <p:spPr>
            <a:xfrm>
              <a:off x="5833711" y="3483953"/>
              <a:ext cx="446532" cy="576393"/>
            </a:xfrm>
            <a:custGeom>
              <a:avLst/>
              <a:gdLst/>
              <a:ahLst/>
              <a:cxnLst/>
              <a:rect l="l" t="t" r="r" b="b"/>
              <a:pathLst>
                <a:path w="446532" h="576393" extrusionOk="0">
                  <a:moveTo>
                    <a:pt x="223266" y="546022"/>
                  </a:moveTo>
                  <a:cubicBezTo>
                    <a:pt x="100108" y="474870"/>
                    <a:pt x="0" y="301420"/>
                    <a:pt x="0" y="159307"/>
                  </a:cubicBezTo>
                  <a:cubicBezTo>
                    <a:pt x="0" y="17194"/>
                    <a:pt x="100108" y="-40718"/>
                    <a:pt x="223266" y="30433"/>
                  </a:cubicBezTo>
                  <a:cubicBezTo>
                    <a:pt x="346424" y="101585"/>
                    <a:pt x="446532" y="274940"/>
                    <a:pt x="446532" y="417053"/>
                  </a:cubicBezTo>
                  <a:cubicBezTo>
                    <a:pt x="446532" y="559166"/>
                    <a:pt x="346329" y="617078"/>
                    <a:pt x="223266" y="546022"/>
                  </a:cubicBezTo>
                  <a:close/>
                  <a:moveTo>
                    <a:pt x="223266" y="104919"/>
                  </a:moveTo>
                  <a:cubicBezTo>
                    <a:pt x="135731" y="54341"/>
                    <a:pt x="64484" y="95394"/>
                    <a:pt x="64484" y="196549"/>
                  </a:cubicBezTo>
                  <a:cubicBezTo>
                    <a:pt x="64484" y="297705"/>
                    <a:pt x="135731" y="420958"/>
                    <a:pt x="223266" y="471536"/>
                  </a:cubicBezTo>
                  <a:cubicBezTo>
                    <a:pt x="310801" y="522114"/>
                    <a:pt x="382238" y="481347"/>
                    <a:pt x="382238" y="379810"/>
                  </a:cubicBezTo>
                  <a:cubicBezTo>
                    <a:pt x="382238" y="278274"/>
                    <a:pt x="310801" y="155401"/>
                    <a:pt x="223266" y="10491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3725;p38">
              <a:extLst>
                <a:ext uri="{FF2B5EF4-FFF2-40B4-BE49-F238E27FC236}">
                  <a16:creationId xmlns:a16="http://schemas.microsoft.com/office/drawing/2014/main" id="{C54D6C5C-4112-48FF-A9E6-E006D1214E7A}"/>
                </a:ext>
              </a:extLst>
            </p:cNvPr>
            <p:cNvSpPr/>
            <p:nvPr/>
          </p:nvSpPr>
          <p:spPr>
            <a:xfrm>
              <a:off x="5968681" y="3658196"/>
              <a:ext cx="176593" cy="227948"/>
            </a:xfrm>
            <a:custGeom>
              <a:avLst/>
              <a:gdLst/>
              <a:ahLst/>
              <a:cxnLst/>
              <a:rect l="l" t="t" r="r" b="b"/>
              <a:pathLst>
                <a:path w="176593" h="227948" extrusionOk="0">
                  <a:moveTo>
                    <a:pt x="88297" y="215949"/>
                  </a:moveTo>
                  <a:cubicBezTo>
                    <a:pt x="39624" y="187374"/>
                    <a:pt x="0" y="119175"/>
                    <a:pt x="0" y="62978"/>
                  </a:cubicBezTo>
                  <a:cubicBezTo>
                    <a:pt x="0" y="6780"/>
                    <a:pt x="39624" y="-16080"/>
                    <a:pt x="88297" y="12019"/>
                  </a:cubicBezTo>
                  <a:cubicBezTo>
                    <a:pt x="136970" y="40118"/>
                    <a:pt x="176593" y="108698"/>
                    <a:pt x="176593" y="164895"/>
                  </a:cubicBezTo>
                  <a:cubicBezTo>
                    <a:pt x="176593" y="221093"/>
                    <a:pt x="136970" y="244048"/>
                    <a:pt x="88297" y="215949"/>
                  </a:cubicBezTo>
                  <a:close/>
                  <a:moveTo>
                    <a:pt x="88297" y="86504"/>
                  </a:moveTo>
                  <a:cubicBezTo>
                    <a:pt x="75152" y="78884"/>
                    <a:pt x="64484" y="85076"/>
                    <a:pt x="64484" y="100220"/>
                  </a:cubicBezTo>
                  <a:cubicBezTo>
                    <a:pt x="65418" y="116975"/>
                    <a:pt x="74257" y="132281"/>
                    <a:pt x="88297" y="141463"/>
                  </a:cubicBezTo>
                  <a:cubicBezTo>
                    <a:pt x="101441" y="148988"/>
                    <a:pt x="112109" y="142892"/>
                    <a:pt x="112109" y="127652"/>
                  </a:cubicBezTo>
                  <a:cubicBezTo>
                    <a:pt x="111195" y="110917"/>
                    <a:pt x="102346" y="95629"/>
                    <a:pt x="88297" y="8650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3726;p38">
              <a:extLst>
                <a:ext uri="{FF2B5EF4-FFF2-40B4-BE49-F238E27FC236}">
                  <a16:creationId xmlns:a16="http://schemas.microsoft.com/office/drawing/2014/main" id="{A2FBA35A-68B1-488B-99BD-E1F7DE490E94}"/>
                </a:ext>
              </a:extLst>
            </p:cNvPr>
            <p:cNvSpPr/>
            <p:nvPr/>
          </p:nvSpPr>
          <p:spPr>
            <a:xfrm>
              <a:off x="5409944" y="4076361"/>
              <a:ext cx="107251" cy="45529"/>
            </a:xfrm>
            <a:custGeom>
              <a:avLst/>
              <a:gdLst/>
              <a:ahLst/>
              <a:cxnLst/>
              <a:rect l="l" t="t" r="r" b="b"/>
              <a:pathLst>
                <a:path w="107251" h="45529" extrusionOk="0">
                  <a:moveTo>
                    <a:pt x="33052" y="45148"/>
                  </a:moveTo>
                  <a:lnTo>
                    <a:pt x="0" y="45529"/>
                  </a:lnTo>
                  <a:lnTo>
                    <a:pt x="107252" y="0"/>
                  </a:lnTo>
                  <a:lnTo>
                    <a:pt x="45053" y="38671"/>
                  </a:lnTo>
                  <a:lnTo>
                    <a:pt x="33052" y="45148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3727;p38">
              <a:extLst>
                <a:ext uri="{FF2B5EF4-FFF2-40B4-BE49-F238E27FC236}">
                  <a16:creationId xmlns:a16="http://schemas.microsoft.com/office/drawing/2014/main" id="{181C1E29-95B0-4CC8-954C-1304CB86AD55}"/>
                </a:ext>
              </a:extLst>
            </p:cNvPr>
            <p:cNvSpPr/>
            <p:nvPr/>
          </p:nvSpPr>
          <p:spPr>
            <a:xfrm rot="-1801764">
              <a:off x="5444439" y="4114607"/>
              <a:ext cx="13703" cy="23791"/>
            </a:xfrm>
            <a:custGeom>
              <a:avLst/>
              <a:gdLst/>
              <a:ahLst/>
              <a:cxnLst/>
              <a:rect l="l" t="t" r="r" b="b"/>
              <a:pathLst>
                <a:path w="13715" h="23812" extrusionOk="0">
                  <a:moveTo>
                    <a:pt x="13716" y="11906"/>
                  </a:moveTo>
                  <a:cubicBezTo>
                    <a:pt x="13716" y="18482"/>
                    <a:pt x="10646" y="23813"/>
                    <a:pt x="6858" y="23813"/>
                  </a:cubicBezTo>
                  <a:cubicBezTo>
                    <a:pt x="3071" y="23813"/>
                    <a:pt x="0" y="18482"/>
                    <a:pt x="0" y="11906"/>
                  </a:cubicBezTo>
                  <a:cubicBezTo>
                    <a:pt x="0" y="5331"/>
                    <a:pt x="3071" y="0"/>
                    <a:pt x="6858" y="0"/>
                  </a:cubicBezTo>
                  <a:cubicBezTo>
                    <a:pt x="10646" y="0"/>
                    <a:pt x="13716" y="5331"/>
                    <a:pt x="13716" y="11906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3728;p38">
              <a:extLst>
                <a:ext uri="{FF2B5EF4-FFF2-40B4-BE49-F238E27FC236}">
                  <a16:creationId xmlns:a16="http://schemas.microsoft.com/office/drawing/2014/main" id="{C2AEDE69-8935-4171-B2F3-33489DCBFD0D}"/>
                </a:ext>
              </a:extLst>
            </p:cNvPr>
            <p:cNvSpPr/>
            <p:nvPr/>
          </p:nvSpPr>
          <p:spPr>
            <a:xfrm rot="-1801764">
              <a:off x="6051614" y="3763417"/>
              <a:ext cx="13703" cy="23791"/>
            </a:xfrm>
            <a:custGeom>
              <a:avLst/>
              <a:gdLst/>
              <a:ahLst/>
              <a:cxnLst/>
              <a:rect l="l" t="t" r="r" b="b"/>
              <a:pathLst>
                <a:path w="13715" h="23812" extrusionOk="0">
                  <a:moveTo>
                    <a:pt x="13716" y="11906"/>
                  </a:moveTo>
                  <a:cubicBezTo>
                    <a:pt x="13716" y="18482"/>
                    <a:pt x="10646" y="23813"/>
                    <a:pt x="6858" y="23813"/>
                  </a:cubicBezTo>
                  <a:cubicBezTo>
                    <a:pt x="3070" y="23813"/>
                    <a:pt x="0" y="18482"/>
                    <a:pt x="0" y="11906"/>
                  </a:cubicBezTo>
                  <a:cubicBezTo>
                    <a:pt x="0" y="5331"/>
                    <a:pt x="3070" y="0"/>
                    <a:pt x="6858" y="0"/>
                  </a:cubicBezTo>
                  <a:cubicBezTo>
                    <a:pt x="10646" y="0"/>
                    <a:pt x="13716" y="5331"/>
                    <a:pt x="13716" y="11906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Google Shape;3729;p38">
              <a:extLst>
                <a:ext uri="{FF2B5EF4-FFF2-40B4-BE49-F238E27FC236}">
                  <a16:creationId xmlns:a16="http://schemas.microsoft.com/office/drawing/2014/main" id="{C092C510-5305-4743-AB88-07E863298AE3}"/>
                </a:ext>
              </a:extLst>
            </p:cNvPr>
            <p:cNvSpPr/>
            <p:nvPr/>
          </p:nvSpPr>
          <p:spPr>
            <a:xfrm>
              <a:off x="5457664" y="4081409"/>
              <a:ext cx="86296" cy="87915"/>
            </a:xfrm>
            <a:custGeom>
              <a:avLst/>
              <a:gdLst/>
              <a:ahLst/>
              <a:cxnLst/>
              <a:rect l="l" t="t" r="r" b="b"/>
              <a:pathLst>
                <a:path w="86296" h="87915" extrusionOk="0">
                  <a:moveTo>
                    <a:pt x="7906" y="87916"/>
                  </a:moveTo>
                  <a:lnTo>
                    <a:pt x="0" y="55054"/>
                  </a:lnTo>
                  <a:lnTo>
                    <a:pt x="86296" y="0"/>
                  </a:lnTo>
                  <a:lnTo>
                    <a:pt x="82582" y="7811"/>
                  </a:lnTo>
                  <a:lnTo>
                    <a:pt x="7906" y="87916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3730;p38">
              <a:extLst>
                <a:ext uri="{FF2B5EF4-FFF2-40B4-BE49-F238E27FC236}">
                  <a16:creationId xmlns:a16="http://schemas.microsoft.com/office/drawing/2014/main" id="{89650230-CFD0-4AD0-A47E-001FFA59D1F8}"/>
                </a:ext>
              </a:extLst>
            </p:cNvPr>
            <p:cNvSpPr/>
            <p:nvPr/>
          </p:nvSpPr>
          <p:spPr>
            <a:xfrm>
              <a:off x="5445377" y="3764798"/>
              <a:ext cx="619125" cy="371951"/>
            </a:xfrm>
            <a:custGeom>
              <a:avLst/>
              <a:gdLst/>
              <a:ahLst/>
              <a:cxnLst/>
              <a:rect l="l" t="t" r="r" b="b"/>
              <a:pathLst>
                <a:path w="619125" h="371951" extrusionOk="0">
                  <a:moveTo>
                    <a:pt x="12287" y="371951"/>
                  </a:moveTo>
                  <a:cubicBezTo>
                    <a:pt x="13049" y="371284"/>
                    <a:pt x="619125" y="20955"/>
                    <a:pt x="619125" y="20955"/>
                  </a:cubicBezTo>
                  <a:lnTo>
                    <a:pt x="607981" y="0"/>
                  </a:lnTo>
                  <a:lnTo>
                    <a:pt x="0" y="351282"/>
                  </a:ln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3731;p38">
              <a:extLst>
                <a:ext uri="{FF2B5EF4-FFF2-40B4-BE49-F238E27FC236}">
                  <a16:creationId xmlns:a16="http://schemas.microsoft.com/office/drawing/2014/main" id="{2AC6A4DE-623D-426F-8AFC-E39360D886C7}"/>
                </a:ext>
              </a:extLst>
            </p:cNvPr>
            <p:cNvSpPr/>
            <p:nvPr/>
          </p:nvSpPr>
          <p:spPr>
            <a:xfrm>
              <a:off x="4826180" y="148719"/>
              <a:ext cx="204333" cy="298673"/>
            </a:xfrm>
            <a:custGeom>
              <a:avLst/>
              <a:gdLst/>
              <a:ahLst/>
              <a:cxnLst/>
              <a:rect l="l" t="t" r="r" b="b"/>
              <a:pathLst>
                <a:path w="204333" h="298673" extrusionOk="0">
                  <a:moveTo>
                    <a:pt x="72081" y="9724"/>
                  </a:moveTo>
                  <a:cubicBezTo>
                    <a:pt x="80177" y="-2944"/>
                    <a:pt x="141994" y="-11898"/>
                    <a:pt x="162663" y="40680"/>
                  </a:cubicBezTo>
                  <a:cubicBezTo>
                    <a:pt x="170474" y="60683"/>
                    <a:pt x="169235" y="111642"/>
                    <a:pt x="175713" y="143646"/>
                  </a:cubicBezTo>
                  <a:cubicBezTo>
                    <a:pt x="182190" y="175650"/>
                    <a:pt x="197430" y="193842"/>
                    <a:pt x="202954" y="219846"/>
                  </a:cubicBezTo>
                  <a:cubicBezTo>
                    <a:pt x="208479" y="245849"/>
                    <a:pt x="199525" y="289378"/>
                    <a:pt x="136851" y="297093"/>
                  </a:cubicBezTo>
                  <a:cubicBezTo>
                    <a:pt x="74176" y="304809"/>
                    <a:pt x="26075" y="282806"/>
                    <a:pt x="11216" y="262803"/>
                  </a:cubicBezTo>
                  <a:cubicBezTo>
                    <a:pt x="-3643" y="242801"/>
                    <a:pt x="-3834" y="200415"/>
                    <a:pt x="11216" y="177650"/>
                  </a:cubicBezTo>
                  <a:cubicBezTo>
                    <a:pt x="26265" y="154885"/>
                    <a:pt x="38267" y="136311"/>
                    <a:pt x="37886" y="10659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3732;p38">
              <a:extLst>
                <a:ext uri="{FF2B5EF4-FFF2-40B4-BE49-F238E27FC236}">
                  <a16:creationId xmlns:a16="http://schemas.microsoft.com/office/drawing/2014/main" id="{1308DAC8-41F8-4B8F-A7FD-7637D448ADCF}"/>
                </a:ext>
              </a:extLst>
            </p:cNvPr>
            <p:cNvSpPr/>
            <p:nvPr/>
          </p:nvSpPr>
          <p:spPr>
            <a:xfrm>
              <a:off x="4841878" y="145922"/>
              <a:ext cx="97721" cy="120542"/>
            </a:xfrm>
            <a:custGeom>
              <a:avLst/>
              <a:gdLst/>
              <a:ahLst/>
              <a:cxnLst/>
              <a:rect l="l" t="t" r="r" b="b"/>
              <a:pathLst>
                <a:path w="97721" h="120542" extrusionOk="0">
                  <a:moveTo>
                    <a:pt x="97722" y="3472"/>
                  </a:moveTo>
                  <a:cubicBezTo>
                    <a:pt x="97722" y="3472"/>
                    <a:pt x="50573" y="-9672"/>
                    <a:pt x="22189" y="15188"/>
                  </a:cubicBezTo>
                  <a:cubicBezTo>
                    <a:pt x="3234" y="32836"/>
                    <a:pt x="-4367" y="59548"/>
                    <a:pt x="2472" y="84530"/>
                  </a:cubicBezTo>
                  <a:cubicBezTo>
                    <a:pt x="6187" y="99294"/>
                    <a:pt x="13807" y="119392"/>
                    <a:pt x="25522" y="120535"/>
                  </a:cubicBezTo>
                  <a:cubicBezTo>
                    <a:pt x="37238" y="121678"/>
                    <a:pt x="97722" y="3472"/>
                    <a:pt x="97722" y="3472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3733;p38">
              <a:extLst>
                <a:ext uri="{FF2B5EF4-FFF2-40B4-BE49-F238E27FC236}">
                  <a16:creationId xmlns:a16="http://schemas.microsoft.com/office/drawing/2014/main" id="{55DEFBD0-45D9-4BC2-9C4B-CEE65A2EDD2B}"/>
                </a:ext>
              </a:extLst>
            </p:cNvPr>
            <p:cNvSpPr/>
            <p:nvPr/>
          </p:nvSpPr>
          <p:spPr>
            <a:xfrm>
              <a:off x="4860888" y="276839"/>
              <a:ext cx="120648" cy="135031"/>
            </a:xfrm>
            <a:custGeom>
              <a:avLst/>
              <a:gdLst/>
              <a:ahLst/>
              <a:cxnLst/>
              <a:rect l="l" t="t" r="r" b="b"/>
              <a:pathLst>
                <a:path w="120648" h="135031" extrusionOk="0">
                  <a:moveTo>
                    <a:pt x="96238" y="0"/>
                  </a:moveTo>
                  <a:cubicBezTo>
                    <a:pt x="96238" y="0"/>
                    <a:pt x="93095" y="52102"/>
                    <a:pt x="94047" y="56007"/>
                  </a:cubicBezTo>
                  <a:cubicBezTo>
                    <a:pt x="95000" y="59912"/>
                    <a:pt x="114526" y="63532"/>
                    <a:pt x="120050" y="68104"/>
                  </a:cubicBezTo>
                  <a:cubicBezTo>
                    <a:pt x="125575" y="72676"/>
                    <a:pt x="91475" y="125254"/>
                    <a:pt x="74521" y="133255"/>
                  </a:cubicBezTo>
                  <a:cubicBezTo>
                    <a:pt x="57566" y="141256"/>
                    <a:pt x="4036" y="121158"/>
                    <a:pt x="416" y="94679"/>
                  </a:cubicBezTo>
                  <a:cubicBezTo>
                    <a:pt x="-3013" y="70294"/>
                    <a:pt x="15656" y="51340"/>
                    <a:pt x="22800" y="44672"/>
                  </a:cubicBezTo>
                  <a:cubicBezTo>
                    <a:pt x="27686" y="44416"/>
                    <a:pt x="32582" y="44416"/>
                    <a:pt x="37469" y="44672"/>
                  </a:cubicBezTo>
                  <a:lnTo>
                    <a:pt x="38992" y="19431"/>
                  </a:lnTo>
                  <a:cubicBezTo>
                    <a:pt x="62329" y="11811"/>
                    <a:pt x="96238" y="0"/>
                    <a:pt x="96238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3734;p38">
              <a:extLst>
                <a:ext uri="{FF2B5EF4-FFF2-40B4-BE49-F238E27FC236}">
                  <a16:creationId xmlns:a16="http://schemas.microsoft.com/office/drawing/2014/main" id="{8999C79E-7E9F-4F58-B4AC-E8E9BB01F228}"/>
                </a:ext>
              </a:extLst>
            </p:cNvPr>
            <p:cNvSpPr/>
            <p:nvPr/>
          </p:nvSpPr>
          <p:spPr>
            <a:xfrm>
              <a:off x="4654628" y="329607"/>
              <a:ext cx="228170" cy="325384"/>
            </a:xfrm>
            <a:custGeom>
              <a:avLst/>
              <a:gdLst/>
              <a:ahLst/>
              <a:cxnLst/>
              <a:rect l="l" t="t" r="r" b="b"/>
              <a:pathLst>
                <a:path w="228170" h="325384" extrusionOk="0">
                  <a:moveTo>
                    <a:pt x="149145" y="225743"/>
                  </a:moveTo>
                  <a:cubicBezTo>
                    <a:pt x="134400" y="246042"/>
                    <a:pt x="116931" y="264215"/>
                    <a:pt x="97234" y="279749"/>
                  </a:cubicBezTo>
                  <a:cubicBezTo>
                    <a:pt x="90976" y="286259"/>
                    <a:pt x="85061" y="293094"/>
                    <a:pt x="79517" y="300228"/>
                  </a:cubicBezTo>
                  <a:cubicBezTo>
                    <a:pt x="70211" y="310964"/>
                    <a:pt x="58162" y="318965"/>
                    <a:pt x="44656" y="323374"/>
                  </a:cubicBezTo>
                  <a:cubicBezTo>
                    <a:pt x="32845" y="326422"/>
                    <a:pt x="27892" y="325660"/>
                    <a:pt x="25606" y="323374"/>
                  </a:cubicBezTo>
                  <a:cubicBezTo>
                    <a:pt x="23320" y="321088"/>
                    <a:pt x="24558" y="317849"/>
                    <a:pt x="29606" y="315849"/>
                  </a:cubicBezTo>
                  <a:cubicBezTo>
                    <a:pt x="37969" y="313275"/>
                    <a:pt x="45741" y="309066"/>
                    <a:pt x="52466" y="303467"/>
                  </a:cubicBezTo>
                  <a:cubicBezTo>
                    <a:pt x="52466" y="303467"/>
                    <a:pt x="41512" y="308610"/>
                    <a:pt x="34654" y="310991"/>
                  </a:cubicBezTo>
                  <a:cubicBezTo>
                    <a:pt x="28511" y="313135"/>
                    <a:pt x="22100" y="314417"/>
                    <a:pt x="15604" y="314801"/>
                  </a:cubicBezTo>
                  <a:cubicBezTo>
                    <a:pt x="9127" y="314801"/>
                    <a:pt x="2365" y="307277"/>
                    <a:pt x="7508" y="305276"/>
                  </a:cubicBezTo>
                  <a:cubicBezTo>
                    <a:pt x="12652" y="303276"/>
                    <a:pt x="17033" y="302800"/>
                    <a:pt x="27415" y="299085"/>
                  </a:cubicBezTo>
                  <a:cubicBezTo>
                    <a:pt x="32778" y="297192"/>
                    <a:pt x="37874" y="294599"/>
                    <a:pt x="42560" y="291370"/>
                  </a:cubicBezTo>
                  <a:cubicBezTo>
                    <a:pt x="35512" y="293389"/>
                    <a:pt x="28311" y="294854"/>
                    <a:pt x="21034" y="295751"/>
                  </a:cubicBezTo>
                  <a:cubicBezTo>
                    <a:pt x="14985" y="296741"/>
                    <a:pt x="8784" y="296015"/>
                    <a:pt x="3127" y="293656"/>
                  </a:cubicBezTo>
                  <a:cubicBezTo>
                    <a:pt x="79" y="292418"/>
                    <a:pt x="-2493" y="286893"/>
                    <a:pt x="4270" y="285083"/>
                  </a:cubicBezTo>
                  <a:cubicBezTo>
                    <a:pt x="13099" y="284210"/>
                    <a:pt x="21777" y="282192"/>
                    <a:pt x="30082" y="279083"/>
                  </a:cubicBezTo>
                  <a:cubicBezTo>
                    <a:pt x="38083" y="275463"/>
                    <a:pt x="43036" y="271653"/>
                    <a:pt x="41322" y="270891"/>
                  </a:cubicBezTo>
                  <a:cubicBezTo>
                    <a:pt x="39607" y="270129"/>
                    <a:pt x="35035" y="272606"/>
                    <a:pt x="27034" y="272034"/>
                  </a:cubicBezTo>
                  <a:cubicBezTo>
                    <a:pt x="19033" y="271463"/>
                    <a:pt x="11604" y="266319"/>
                    <a:pt x="11699" y="262509"/>
                  </a:cubicBezTo>
                  <a:cubicBezTo>
                    <a:pt x="11794" y="258699"/>
                    <a:pt x="13414" y="260604"/>
                    <a:pt x="21224" y="259937"/>
                  </a:cubicBezTo>
                  <a:cubicBezTo>
                    <a:pt x="29616" y="257435"/>
                    <a:pt x="38179" y="255557"/>
                    <a:pt x="46846" y="254318"/>
                  </a:cubicBezTo>
                  <a:cubicBezTo>
                    <a:pt x="55209" y="254634"/>
                    <a:pt x="63563" y="253637"/>
                    <a:pt x="71611" y="251365"/>
                  </a:cubicBezTo>
                  <a:cubicBezTo>
                    <a:pt x="80184" y="248793"/>
                    <a:pt x="99139" y="225933"/>
                    <a:pt x="113807" y="204978"/>
                  </a:cubicBezTo>
                  <a:cubicBezTo>
                    <a:pt x="129685" y="181614"/>
                    <a:pt x="142249" y="156162"/>
                    <a:pt x="151145" y="129350"/>
                  </a:cubicBezTo>
                  <a:cubicBezTo>
                    <a:pt x="159908" y="100775"/>
                    <a:pt x="170195" y="46482"/>
                    <a:pt x="177815" y="27718"/>
                  </a:cubicBezTo>
                  <a:cubicBezTo>
                    <a:pt x="185435" y="8954"/>
                    <a:pt x="198103" y="381"/>
                    <a:pt x="210391" y="0"/>
                  </a:cubicBezTo>
                  <a:cubicBezTo>
                    <a:pt x="224773" y="0"/>
                    <a:pt x="230869" y="18479"/>
                    <a:pt x="227059" y="34766"/>
                  </a:cubicBezTo>
                  <a:cubicBezTo>
                    <a:pt x="220106" y="63818"/>
                    <a:pt x="188197" y="174117"/>
                    <a:pt x="149145" y="22574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3735;p38">
              <a:extLst>
                <a:ext uri="{FF2B5EF4-FFF2-40B4-BE49-F238E27FC236}">
                  <a16:creationId xmlns:a16="http://schemas.microsoft.com/office/drawing/2014/main" id="{2B444D03-AE19-4C80-971D-F7913EF75713}"/>
                </a:ext>
              </a:extLst>
            </p:cNvPr>
            <p:cNvSpPr/>
            <p:nvPr/>
          </p:nvSpPr>
          <p:spPr>
            <a:xfrm>
              <a:off x="4825802" y="321035"/>
              <a:ext cx="175746" cy="232044"/>
            </a:xfrm>
            <a:custGeom>
              <a:avLst/>
              <a:gdLst/>
              <a:ahLst/>
              <a:cxnLst/>
              <a:rect l="l" t="t" r="r" b="b"/>
              <a:pathLst>
                <a:path w="175746" h="232044" extrusionOk="0">
                  <a:moveTo>
                    <a:pt x="138467" y="16859"/>
                  </a:moveTo>
                  <a:cubicBezTo>
                    <a:pt x="153040" y="19049"/>
                    <a:pt x="169804" y="26955"/>
                    <a:pt x="172090" y="34956"/>
                  </a:cubicBezTo>
                  <a:cubicBezTo>
                    <a:pt x="178119" y="63828"/>
                    <a:pt x="176672" y="93761"/>
                    <a:pt x="167899" y="121919"/>
                  </a:cubicBezTo>
                  <a:cubicBezTo>
                    <a:pt x="155231" y="155447"/>
                    <a:pt x="140943" y="215931"/>
                    <a:pt x="133609" y="230409"/>
                  </a:cubicBezTo>
                  <a:cubicBezTo>
                    <a:pt x="95890" y="235669"/>
                    <a:pt x="57504" y="228158"/>
                    <a:pt x="24548" y="209073"/>
                  </a:cubicBezTo>
                  <a:cubicBezTo>
                    <a:pt x="24548" y="209073"/>
                    <a:pt x="21500" y="150780"/>
                    <a:pt x="21214" y="131540"/>
                  </a:cubicBezTo>
                  <a:cubicBezTo>
                    <a:pt x="-25840" y="90392"/>
                    <a:pt x="14451" y="39719"/>
                    <a:pt x="54361" y="285"/>
                  </a:cubicBezTo>
                  <a:cubicBezTo>
                    <a:pt x="59152" y="-95"/>
                    <a:pt x="63953" y="-95"/>
                    <a:pt x="68744" y="285"/>
                  </a:cubicBezTo>
                  <a:cubicBezTo>
                    <a:pt x="68744" y="285"/>
                    <a:pt x="33120" y="42481"/>
                    <a:pt x="57885" y="66389"/>
                  </a:cubicBezTo>
                  <a:cubicBezTo>
                    <a:pt x="110940" y="50196"/>
                    <a:pt x="121512" y="26288"/>
                    <a:pt x="138467" y="16859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3736;p38">
              <a:extLst>
                <a:ext uri="{FF2B5EF4-FFF2-40B4-BE49-F238E27FC236}">
                  <a16:creationId xmlns:a16="http://schemas.microsoft.com/office/drawing/2014/main" id="{779111A1-A3BF-4847-9154-FCEADC1C6E00}"/>
                </a:ext>
              </a:extLst>
            </p:cNvPr>
            <p:cNvSpPr/>
            <p:nvPr/>
          </p:nvSpPr>
          <p:spPr>
            <a:xfrm>
              <a:off x="4857002" y="155665"/>
              <a:ext cx="128729" cy="159467"/>
            </a:xfrm>
            <a:custGeom>
              <a:avLst/>
              <a:gdLst/>
              <a:ahLst/>
              <a:cxnLst/>
              <a:rect l="l" t="t" r="r" b="b"/>
              <a:pathLst>
                <a:path w="128729" h="159467" extrusionOk="0">
                  <a:moveTo>
                    <a:pt x="2778" y="56785"/>
                  </a:moveTo>
                  <a:lnTo>
                    <a:pt x="2778" y="56785"/>
                  </a:lnTo>
                  <a:cubicBezTo>
                    <a:pt x="8017" y="23352"/>
                    <a:pt x="32210" y="-1889"/>
                    <a:pt x="66691" y="111"/>
                  </a:cubicBezTo>
                  <a:cubicBezTo>
                    <a:pt x="103429" y="2671"/>
                    <a:pt x="131127" y="34525"/>
                    <a:pt x="128565" y="71260"/>
                  </a:cubicBezTo>
                  <a:cubicBezTo>
                    <a:pt x="127165" y="91407"/>
                    <a:pt x="116706" y="109833"/>
                    <a:pt x="100123" y="121364"/>
                  </a:cubicBezTo>
                  <a:cubicBezTo>
                    <a:pt x="98923" y="126444"/>
                    <a:pt x="97133" y="131367"/>
                    <a:pt x="94789" y="136033"/>
                  </a:cubicBezTo>
                  <a:cubicBezTo>
                    <a:pt x="82502" y="150320"/>
                    <a:pt x="50022" y="159274"/>
                    <a:pt x="39354" y="159464"/>
                  </a:cubicBezTo>
                  <a:cubicBezTo>
                    <a:pt x="28686" y="159655"/>
                    <a:pt x="22114" y="150892"/>
                    <a:pt x="13351" y="136509"/>
                  </a:cubicBezTo>
                  <a:cubicBezTo>
                    <a:pt x="-4747" y="106410"/>
                    <a:pt x="-175" y="73168"/>
                    <a:pt x="2778" y="5678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3737;p38">
              <a:extLst>
                <a:ext uri="{FF2B5EF4-FFF2-40B4-BE49-F238E27FC236}">
                  <a16:creationId xmlns:a16="http://schemas.microsoft.com/office/drawing/2014/main" id="{AAACD815-0B9A-46B5-93E6-755C8B08024A}"/>
                </a:ext>
              </a:extLst>
            </p:cNvPr>
            <p:cNvSpPr/>
            <p:nvPr/>
          </p:nvSpPr>
          <p:spPr>
            <a:xfrm>
              <a:off x="4862352" y="154515"/>
              <a:ext cx="129836" cy="122323"/>
            </a:xfrm>
            <a:custGeom>
              <a:avLst/>
              <a:gdLst/>
              <a:ahLst/>
              <a:cxnLst/>
              <a:rect l="l" t="t" r="r" b="b"/>
              <a:pathLst>
                <a:path w="129836" h="122323" extrusionOk="0">
                  <a:moveTo>
                    <a:pt x="72104" y="1641"/>
                  </a:moveTo>
                  <a:cubicBezTo>
                    <a:pt x="96298" y="6404"/>
                    <a:pt x="116205" y="13167"/>
                    <a:pt x="122777" y="36979"/>
                  </a:cubicBezTo>
                  <a:cubicBezTo>
                    <a:pt x="127254" y="53362"/>
                    <a:pt x="133159" y="84604"/>
                    <a:pt x="127540" y="97749"/>
                  </a:cubicBezTo>
                  <a:lnTo>
                    <a:pt x="124111" y="107274"/>
                  </a:lnTo>
                  <a:lnTo>
                    <a:pt x="94774" y="122323"/>
                  </a:lnTo>
                  <a:cubicBezTo>
                    <a:pt x="94774" y="122323"/>
                    <a:pt x="81058" y="110988"/>
                    <a:pt x="85249" y="77556"/>
                  </a:cubicBezTo>
                  <a:cubicBezTo>
                    <a:pt x="85125" y="73028"/>
                    <a:pt x="83696" y="68632"/>
                    <a:pt x="81153" y="64887"/>
                  </a:cubicBezTo>
                  <a:cubicBezTo>
                    <a:pt x="79324" y="61752"/>
                    <a:pt x="78000" y="58343"/>
                    <a:pt x="77248" y="54791"/>
                  </a:cubicBezTo>
                  <a:cubicBezTo>
                    <a:pt x="73742" y="45761"/>
                    <a:pt x="66932" y="38404"/>
                    <a:pt x="58198" y="34217"/>
                  </a:cubicBezTo>
                  <a:cubicBezTo>
                    <a:pt x="39443" y="25914"/>
                    <a:pt x="17878" y="26938"/>
                    <a:pt x="0" y="36979"/>
                  </a:cubicBezTo>
                  <a:cubicBezTo>
                    <a:pt x="12630" y="9606"/>
                    <a:pt x="42729" y="-5148"/>
                    <a:pt x="72104" y="164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3738;p38">
              <a:extLst>
                <a:ext uri="{FF2B5EF4-FFF2-40B4-BE49-F238E27FC236}">
                  <a16:creationId xmlns:a16="http://schemas.microsoft.com/office/drawing/2014/main" id="{2DF734C3-6AC0-4EF8-ABE6-FF0F3DA76D1D}"/>
                </a:ext>
              </a:extLst>
            </p:cNvPr>
            <p:cNvSpPr/>
            <p:nvPr/>
          </p:nvSpPr>
          <p:spPr>
            <a:xfrm>
              <a:off x="4706279" y="957495"/>
              <a:ext cx="102161" cy="77983"/>
            </a:xfrm>
            <a:custGeom>
              <a:avLst/>
              <a:gdLst/>
              <a:ahLst/>
              <a:cxnLst/>
              <a:rect l="l" t="t" r="r" b="b"/>
              <a:pathLst>
                <a:path w="102161" h="77983" extrusionOk="0">
                  <a:moveTo>
                    <a:pt x="94827" y="0"/>
                  </a:moveTo>
                  <a:cubicBezTo>
                    <a:pt x="82540" y="9525"/>
                    <a:pt x="63490" y="3048"/>
                    <a:pt x="62537" y="4000"/>
                  </a:cubicBezTo>
                  <a:cubicBezTo>
                    <a:pt x="48212" y="16225"/>
                    <a:pt x="33229" y="27671"/>
                    <a:pt x="17674" y="38290"/>
                  </a:cubicBezTo>
                  <a:cubicBezTo>
                    <a:pt x="10054" y="44291"/>
                    <a:pt x="-1852" y="52292"/>
                    <a:pt x="243" y="63913"/>
                  </a:cubicBezTo>
                  <a:cubicBezTo>
                    <a:pt x="4149" y="84487"/>
                    <a:pt x="37201" y="78200"/>
                    <a:pt x="49678" y="71819"/>
                  </a:cubicBezTo>
                  <a:cubicBezTo>
                    <a:pt x="62156" y="65437"/>
                    <a:pt x="72348" y="55054"/>
                    <a:pt x="84159" y="47720"/>
                  </a:cubicBezTo>
                  <a:cubicBezTo>
                    <a:pt x="92541" y="42481"/>
                    <a:pt x="100827" y="39815"/>
                    <a:pt x="102161" y="28670"/>
                  </a:cubicBezTo>
                  <a:cubicBezTo>
                    <a:pt x="101856" y="18691"/>
                    <a:pt x="99351" y="8901"/>
                    <a:pt x="94827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3739;p38">
              <a:extLst>
                <a:ext uri="{FF2B5EF4-FFF2-40B4-BE49-F238E27FC236}">
                  <a16:creationId xmlns:a16="http://schemas.microsoft.com/office/drawing/2014/main" id="{0950BF8E-30D7-48BA-9E73-647E75624B6F}"/>
                </a:ext>
              </a:extLst>
            </p:cNvPr>
            <p:cNvSpPr/>
            <p:nvPr/>
          </p:nvSpPr>
          <p:spPr>
            <a:xfrm>
              <a:off x="4706713" y="982355"/>
              <a:ext cx="101737" cy="53117"/>
            </a:xfrm>
            <a:custGeom>
              <a:avLst/>
              <a:gdLst/>
              <a:ahLst/>
              <a:cxnLst/>
              <a:rect l="l" t="t" r="r" b="b"/>
              <a:pathLst>
                <a:path w="101737" h="53117" extrusionOk="0">
                  <a:moveTo>
                    <a:pt x="101537" y="0"/>
                  </a:moveTo>
                  <a:cubicBezTo>
                    <a:pt x="99917" y="10192"/>
                    <a:pt x="92012" y="12954"/>
                    <a:pt x="83344" y="18193"/>
                  </a:cubicBezTo>
                  <a:cubicBezTo>
                    <a:pt x="71438" y="25622"/>
                    <a:pt x="60865" y="36385"/>
                    <a:pt x="48387" y="42672"/>
                  </a:cubicBezTo>
                  <a:cubicBezTo>
                    <a:pt x="35909" y="48958"/>
                    <a:pt x="8096" y="54292"/>
                    <a:pt x="0" y="39624"/>
                  </a:cubicBezTo>
                  <a:cubicBezTo>
                    <a:pt x="4382" y="59531"/>
                    <a:pt x="36862" y="53245"/>
                    <a:pt x="49244" y="46958"/>
                  </a:cubicBezTo>
                  <a:cubicBezTo>
                    <a:pt x="61627" y="40672"/>
                    <a:pt x="71914" y="30194"/>
                    <a:pt x="83725" y="22860"/>
                  </a:cubicBezTo>
                  <a:cubicBezTo>
                    <a:pt x="92107" y="17621"/>
                    <a:pt x="100394" y="14954"/>
                    <a:pt x="101727" y="3810"/>
                  </a:cubicBezTo>
                  <a:cubicBezTo>
                    <a:pt x="101765" y="2537"/>
                    <a:pt x="101698" y="1263"/>
                    <a:pt x="10153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3740;p38">
              <a:extLst>
                <a:ext uri="{FF2B5EF4-FFF2-40B4-BE49-F238E27FC236}">
                  <a16:creationId xmlns:a16="http://schemas.microsoft.com/office/drawing/2014/main" id="{0E93F5AA-D5E1-40FF-A448-26214C5F577C}"/>
                </a:ext>
              </a:extLst>
            </p:cNvPr>
            <p:cNvSpPr/>
            <p:nvPr/>
          </p:nvSpPr>
          <p:spPr>
            <a:xfrm>
              <a:off x="4655133" y="923967"/>
              <a:ext cx="93585" cy="72574"/>
            </a:xfrm>
            <a:custGeom>
              <a:avLst/>
              <a:gdLst/>
              <a:ahLst/>
              <a:cxnLst/>
              <a:rect l="l" t="t" r="r" b="b"/>
              <a:pathLst>
                <a:path w="93585" h="72574" extrusionOk="0">
                  <a:moveTo>
                    <a:pt x="86251" y="0"/>
                  </a:moveTo>
                  <a:cubicBezTo>
                    <a:pt x="75011" y="9525"/>
                    <a:pt x="57676" y="4001"/>
                    <a:pt x="57200" y="4858"/>
                  </a:cubicBezTo>
                  <a:cubicBezTo>
                    <a:pt x="44141" y="16067"/>
                    <a:pt x="30434" y="26499"/>
                    <a:pt x="16147" y="36100"/>
                  </a:cubicBezTo>
                  <a:cubicBezTo>
                    <a:pt x="9194" y="41624"/>
                    <a:pt x="-1760" y="49054"/>
                    <a:pt x="240" y="59627"/>
                  </a:cubicBezTo>
                  <a:cubicBezTo>
                    <a:pt x="3764" y="78677"/>
                    <a:pt x="34054" y="72676"/>
                    <a:pt x="45484" y="66866"/>
                  </a:cubicBezTo>
                  <a:cubicBezTo>
                    <a:pt x="56914" y="61055"/>
                    <a:pt x="66248" y="51530"/>
                    <a:pt x="77012" y="44768"/>
                  </a:cubicBezTo>
                  <a:cubicBezTo>
                    <a:pt x="84727" y="40005"/>
                    <a:pt x="92347" y="37529"/>
                    <a:pt x="93585" y="27813"/>
                  </a:cubicBezTo>
                  <a:cubicBezTo>
                    <a:pt x="93195" y="18119"/>
                    <a:pt x="90690" y="8627"/>
                    <a:pt x="86251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3741;p38">
              <a:extLst>
                <a:ext uri="{FF2B5EF4-FFF2-40B4-BE49-F238E27FC236}">
                  <a16:creationId xmlns:a16="http://schemas.microsoft.com/office/drawing/2014/main" id="{485F469F-0C64-462E-ADE4-B57BB0833123}"/>
                </a:ext>
              </a:extLst>
            </p:cNvPr>
            <p:cNvSpPr/>
            <p:nvPr/>
          </p:nvSpPr>
          <p:spPr>
            <a:xfrm>
              <a:off x="4655564" y="947875"/>
              <a:ext cx="93179" cy="48581"/>
            </a:xfrm>
            <a:custGeom>
              <a:avLst/>
              <a:gdLst/>
              <a:ahLst/>
              <a:cxnLst/>
              <a:rect l="l" t="t" r="r" b="b"/>
              <a:pathLst>
                <a:path w="93179" h="48581" extrusionOk="0">
                  <a:moveTo>
                    <a:pt x="92964" y="0"/>
                  </a:moveTo>
                  <a:cubicBezTo>
                    <a:pt x="91535" y="9525"/>
                    <a:pt x="84011" y="11906"/>
                    <a:pt x="76391" y="16573"/>
                  </a:cubicBezTo>
                  <a:cubicBezTo>
                    <a:pt x="65342" y="23431"/>
                    <a:pt x="55721" y="33242"/>
                    <a:pt x="44291" y="39052"/>
                  </a:cubicBezTo>
                  <a:cubicBezTo>
                    <a:pt x="32861" y="44863"/>
                    <a:pt x="7430" y="49721"/>
                    <a:pt x="0" y="36195"/>
                  </a:cubicBezTo>
                  <a:cubicBezTo>
                    <a:pt x="4001" y="54483"/>
                    <a:pt x="33719" y="48673"/>
                    <a:pt x="45053" y="42958"/>
                  </a:cubicBezTo>
                  <a:cubicBezTo>
                    <a:pt x="56388" y="37243"/>
                    <a:pt x="65818" y="27623"/>
                    <a:pt x="76581" y="20860"/>
                  </a:cubicBezTo>
                  <a:cubicBezTo>
                    <a:pt x="84296" y="16097"/>
                    <a:pt x="91916" y="13621"/>
                    <a:pt x="93154" y="3905"/>
                  </a:cubicBezTo>
                  <a:cubicBezTo>
                    <a:pt x="93221" y="2600"/>
                    <a:pt x="93154" y="1293"/>
                    <a:pt x="9296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3742;p38">
              <a:extLst>
                <a:ext uri="{FF2B5EF4-FFF2-40B4-BE49-F238E27FC236}">
                  <a16:creationId xmlns:a16="http://schemas.microsoft.com/office/drawing/2014/main" id="{3BD99EE8-03A9-4295-A019-9497C71B17B9}"/>
                </a:ext>
              </a:extLst>
            </p:cNvPr>
            <p:cNvSpPr/>
            <p:nvPr/>
          </p:nvSpPr>
          <p:spPr>
            <a:xfrm>
              <a:off x="4689759" y="550206"/>
              <a:ext cx="222664" cy="383543"/>
            </a:xfrm>
            <a:custGeom>
              <a:avLst/>
              <a:gdLst/>
              <a:ahLst/>
              <a:cxnLst/>
              <a:rect l="l" t="t" r="r" b="b"/>
              <a:pathLst>
                <a:path w="222664" h="383543" extrusionOk="0">
                  <a:moveTo>
                    <a:pt x="221266" y="14097"/>
                  </a:moveTo>
                  <a:cubicBezTo>
                    <a:pt x="188014" y="18477"/>
                    <a:pt x="154200" y="13599"/>
                    <a:pt x="123539" y="0"/>
                  </a:cubicBezTo>
                  <a:cubicBezTo>
                    <a:pt x="124111" y="10287"/>
                    <a:pt x="124682" y="19050"/>
                    <a:pt x="124682" y="19050"/>
                  </a:cubicBezTo>
                  <a:cubicBezTo>
                    <a:pt x="84963" y="47625"/>
                    <a:pt x="5144" y="94488"/>
                    <a:pt x="0" y="127064"/>
                  </a:cubicBezTo>
                  <a:cubicBezTo>
                    <a:pt x="5144" y="230124"/>
                    <a:pt x="20860" y="377381"/>
                    <a:pt x="25337" y="379571"/>
                  </a:cubicBezTo>
                  <a:cubicBezTo>
                    <a:pt x="37814" y="385477"/>
                    <a:pt x="46482" y="384524"/>
                    <a:pt x="52388" y="378523"/>
                  </a:cubicBezTo>
                  <a:cubicBezTo>
                    <a:pt x="52388" y="378523"/>
                    <a:pt x="77438" y="291179"/>
                    <a:pt x="70104" y="163068"/>
                  </a:cubicBezTo>
                  <a:cubicBezTo>
                    <a:pt x="70104" y="163068"/>
                    <a:pt x="209169" y="101537"/>
                    <a:pt x="218218" y="67818"/>
                  </a:cubicBezTo>
                  <a:cubicBezTo>
                    <a:pt x="222285" y="54246"/>
                    <a:pt x="223581" y="39992"/>
                    <a:pt x="222028" y="25908"/>
                  </a:cubicBezTo>
                  <a:cubicBezTo>
                    <a:pt x="222028" y="22289"/>
                    <a:pt x="221742" y="18193"/>
                    <a:pt x="221266" y="14097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3743;p38">
              <a:extLst>
                <a:ext uri="{FF2B5EF4-FFF2-40B4-BE49-F238E27FC236}">
                  <a16:creationId xmlns:a16="http://schemas.microsoft.com/office/drawing/2014/main" id="{9B620B73-14CB-4BFE-957E-F09A85FCBC4A}"/>
                </a:ext>
              </a:extLst>
            </p:cNvPr>
            <p:cNvSpPr/>
            <p:nvPr/>
          </p:nvSpPr>
          <p:spPr>
            <a:xfrm>
              <a:off x="4750147" y="550873"/>
              <a:ext cx="221772" cy="415907"/>
            </a:xfrm>
            <a:custGeom>
              <a:avLst/>
              <a:gdLst/>
              <a:ahLst/>
              <a:cxnLst/>
              <a:rect l="l" t="t" r="r" b="b"/>
              <a:pathLst>
                <a:path w="221772" h="415907" extrusionOk="0">
                  <a:moveTo>
                    <a:pt x="207074" y="0"/>
                  </a:moveTo>
                  <a:cubicBezTo>
                    <a:pt x="180670" y="11879"/>
                    <a:pt x="151372" y="15786"/>
                    <a:pt x="122777" y="11240"/>
                  </a:cubicBezTo>
                  <a:cubicBezTo>
                    <a:pt x="122777" y="25051"/>
                    <a:pt x="124683" y="50959"/>
                    <a:pt x="124683" y="50959"/>
                  </a:cubicBezTo>
                  <a:cubicBezTo>
                    <a:pt x="84963" y="79058"/>
                    <a:pt x="5239" y="126397"/>
                    <a:pt x="0" y="158972"/>
                  </a:cubicBezTo>
                  <a:cubicBezTo>
                    <a:pt x="5239" y="262128"/>
                    <a:pt x="14859" y="411385"/>
                    <a:pt x="19050" y="413290"/>
                  </a:cubicBezTo>
                  <a:cubicBezTo>
                    <a:pt x="29956" y="417859"/>
                    <a:pt x="42463" y="416377"/>
                    <a:pt x="52007" y="409385"/>
                  </a:cubicBezTo>
                  <a:cubicBezTo>
                    <a:pt x="52007" y="409385"/>
                    <a:pt x="77058" y="323183"/>
                    <a:pt x="69818" y="195072"/>
                  </a:cubicBezTo>
                  <a:cubicBezTo>
                    <a:pt x="69818" y="192596"/>
                    <a:pt x="188976" y="133922"/>
                    <a:pt x="204026" y="118872"/>
                  </a:cubicBezTo>
                  <a:cubicBezTo>
                    <a:pt x="219075" y="103823"/>
                    <a:pt x="222123" y="80296"/>
                    <a:pt x="221742" y="58388"/>
                  </a:cubicBezTo>
                  <a:cubicBezTo>
                    <a:pt x="220914" y="38124"/>
                    <a:pt x="215922" y="18248"/>
                    <a:pt x="207074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3744;p38">
              <a:extLst>
                <a:ext uri="{FF2B5EF4-FFF2-40B4-BE49-F238E27FC236}">
                  <a16:creationId xmlns:a16="http://schemas.microsoft.com/office/drawing/2014/main" id="{D75763BE-3182-4A7F-8BE5-D94BBFA47E61}"/>
                </a:ext>
              </a:extLst>
            </p:cNvPr>
            <p:cNvSpPr/>
            <p:nvPr/>
          </p:nvSpPr>
          <p:spPr>
            <a:xfrm>
              <a:off x="4667800" y="524108"/>
              <a:ext cx="331739" cy="305664"/>
            </a:xfrm>
            <a:custGeom>
              <a:avLst/>
              <a:gdLst/>
              <a:ahLst/>
              <a:cxnLst/>
              <a:rect l="l" t="t" r="r" b="b"/>
              <a:pathLst>
                <a:path w="331739" h="305664" extrusionOk="0">
                  <a:moveTo>
                    <a:pt x="318663" y="48673"/>
                  </a:moveTo>
                  <a:cubicBezTo>
                    <a:pt x="318663" y="48673"/>
                    <a:pt x="362668" y="126682"/>
                    <a:pt x="289230" y="166783"/>
                  </a:cubicBezTo>
                  <a:cubicBezTo>
                    <a:pt x="211697" y="209169"/>
                    <a:pt x="164548" y="219075"/>
                    <a:pt x="164548" y="219075"/>
                  </a:cubicBezTo>
                  <a:lnTo>
                    <a:pt x="152928" y="221837"/>
                  </a:lnTo>
                  <a:cubicBezTo>
                    <a:pt x="156595" y="248732"/>
                    <a:pt x="156595" y="276000"/>
                    <a:pt x="152928" y="302895"/>
                  </a:cubicBezTo>
                  <a:cubicBezTo>
                    <a:pt x="152928" y="302895"/>
                    <a:pt x="97587" y="321945"/>
                    <a:pt x="27102" y="260128"/>
                  </a:cubicBezTo>
                  <a:lnTo>
                    <a:pt x="3766" y="184880"/>
                  </a:lnTo>
                  <a:lnTo>
                    <a:pt x="814" y="164592"/>
                  </a:lnTo>
                  <a:cubicBezTo>
                    <a:pt x="-1958" y="150729"/>
                    <a:pt x="2452" y="136403"/>
                    <a:pt x="12529" y="126492"/>
                  </a:cubicBezTo>
                  <a:cubicBezTo>
                    <a:pt x="29484" y="111157"/>
                    <a:pt x="83110" y="71914"/>
                    <a:pt x="116447" y="49435"/>
                  </a:cubicBezTo>
                  <a:cubicBezTo>
                    <a:pt x="149785" y="26956"/>
                    <a:pt x="176454" y="5429"/>
                    <a:pt x="176454" y="5429"/>
                  </a:cubicBezTo>
                  <a:lnTo>
                    <a:pt x="182265" y="0"/>
                  </a:lnTo>
                  <a:cubicBezTo>
                    <a:pt x="182265" y="0"/>
                    <a:pt x="221794" y="31528"/>
                    <a:pt x="294088" y="20955"/>
                  </a:cubicBezTo>
                  <a:cubicBezTo>
                    <a:pt x="303709" y="28824"/>
                    <a:pt x="312005" y="38181"/>
                    <a:pt x="318663" y="4867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3745;p38">
              <a:extLst>
                <a:ext uri="{FF2B5EF4-FFF2-40B4-BE49-F238E27FC236}">
                  <a16:creationId xmlns:a16="http://schemas.microsoft.com/office/drawing/2014/main" id="{ECF7FDA9-B9F5-48F9-908C-8A0D4D336F34}"/>
                </a:ext>
              </a:extLst>
            </p:cNvPr>
            <p:cNvSpPr/>
            <p:nvPr/>
          </p:nvSpPr>
          <p:spPr>
            <a:xfrm>
              <a:off x="4934583" y="344330"/>
              <a:ext cx="115253" cy="404460"/>
            </a:xfrm>
            <a:custGeom>
              <a:avLst/>
              <a:gdLst/>
              <a:ahLst/>
              <a:cxnLst/>
              <a:rect l="l" t="t" r="r" b="b"/>
              <a:pathLst>
                <a:path w="115253" h="404460" extrusionOk="0">
                  <a:moveTo>
                    <a:pt x="8160" y="344370"/>
                  </a:moveTo>
                  <a:cubicBezTo>
                    <a:pt x="14904" y="338294"/>
                    <a:pt x="22029" y="332663"/>
                    <a:pt x="29496" y="327511"/>
                  </a:cubicBezTo>
                  <a:cubicBezTo>
                    <a:pt x="37392" y="323547"/>
                    <a:pt x="44622" y="318373"/>
                    <a:pt x="50927" y="312175"/>
                  </a:cubicBezTo>
                  <a:cubicBezTo>
                    <a:pt x="57690" y="305413"/>
                    <a:pt x="67691" y="277123"/>
                    <a:pt x="72930" y="249501"/>
                  </a:cubicBezTo>
                  <a:cubicBezTo>
                    <a:pt x="77683" y="218583"/>
                    <a:pt x="77140" y="187081"/>
                    <a:pt x="71311" y="156346"/>
                  </a:cubicBezTo>
                  <a:cubicBezTo>
                    <a:pt x="62186" y="119587"/>
                    <a:pt x="49851" y="83699"/>
                    <a:pt x="34449" y="49095"/>
                  </a:cubicBezTo>
                  <a:cubicBezTo>
                    <a:pt x="24924" y="28330"/>
                    <a:pt x="30163" y="15757"/>
                    <a:pt x="39116" y="6518"/>
                  </a:cubicBezTo>
                  <a:cubicBezTo>
                    <a:pt x="49594" y="-4245"/>
                    <a:pt x="60548" y="-3959"/>
                    <a:pt x="73026" y="24997"/>
                  </a:cubicBezTo>
                  <a:cubicBezTo>
                    <a:pt x="90609" y="65456"/>
                    <a:pt x="103610" y="107756"/>
                    <a:pt x="111792" y="151108"/>
                  </a:cubicBezTo>
                  <a:cubicBezTo>
                    <a:pt x="116821" y="182699"/>
                    <a:pt x="116364" y="214919"/>
                    <a:pt x="110459" y="246358"/>
                  </a:cubicBezTo>
                  <a:cubicBezTo>
                    <a:pt x="105277" y="273851"/>
                    <a:pt x="96809" y="300618"/>
                    <a:pt x="85218" y="326082"/>
                  </a:cubicBezTo>
                  <a:cubicBezTo>
                    <a:pt x="81979" y="333511"/>
                    <a:pt x="81407" y="339798"/>
                    <a:pt x="76931" y="354657"/>
                  </a:cubicBezTo>
                  <a:cubicBezTo>
                    <a:pt x="72673" y="369631"/>
                    <a:pt x="64862" y="383357"/>
                    <a:pt x="54166" y="394662"/>
                  </a:cubicBezTo>
                  <a:cubicBezTo>
                    <a:pt x="44641" y="403520"/>
                    <a:pt x="39783" y="405235"/>
                    <a:pt x="37116" y="404187"/>
                  </a:cubicBezTo>
                  <a:cubicBezTo>
                    <a:pt x="34449" y="403139"/>
                    <a:pt x="34068" y="399329"/>
                    <a:pt x="37973" y="394662"/>
                  </a:cubicBezTo>
                  <a:cubicBezTo>
                    <a:pt x="44631" y="387879"/>
                    <a:pt x="50051" y="379980"/>
                    <a:pt x="53976" y="371326"/>
                  </a:cubicBezTo>
                  <a:cubicBezTo>
                    <a:pt x="53976" y="371326"/>
                    <a:pt x="45974" y="381708"/>
                    <a:pt x="40640" y="387518"/>
                  </a:cubicBezTo>
                  <a:cubicBezTo>
                    <a:pt x="35887" y="392688"/>
                    <a:pt x="30430" y="397176"/>
                    <a:pt x="24448" y="400853"/>
                  </a:cubicBezTo>
                  <a:cubicBezTo>
                    <a:pt x="18638" y="404377"/>
                    <a:pt x="9494" y="400282"/>
                    <a:pt x="13304" y="395614"/>
                  </a:cubicBezTo>
                  <a:cubicBezTo>
                    <a:pt x="17114" y="390947"/>
                    <a:pt x="21305" y="388280"/>
                    <a:pt x="29115" y="379612"/>
                  </a:cubicBezTo>
                  <a:cubicBezTo>
                    <a:pt x="33306" y="375022"/>
                    <a:pt x="36926" y="369936"/>
                    <a:pt x="39878" y="364468"/>
                  </a:cubicBezTo>
                  <a:cubicBezTo>
                    <a:pt x="34335" y="369996"/>
                    <a:pt x="28344" y="375060"/>
                    <a:pt x="21971" y="379612"/>
                  </a:cubicBezTo>
                  <a:cubicBezTo>
                    <a:pt x="17047" y="383554"/>
                    <a:pt x="11094" y="386000"/>
                    <a:pt x="4827" y="386661"/>
                  </a:cubicBezTo>
                  <a:cubicBezTo>
                    <a:pt x="1588" y="386661"/>
                    <a:pt x="-2889" y="382851"/>
                    <a:pt x="2540" y="377707"/>
                  </a:cubicBezTo>
                  <a:cubicBezTo>
                    <a:pt x="10370" y="372249"/>
                    <a:pt x="17504" y="365851"/>
                    <a:pt x="23781" y="358657"/>
                  </a:cubicBezTo>
                  <a:cubicBezTo>
                    <a:pt x="29687" y="351133"/>
                    <a:pt x="32735" y="345037"/>
                    <a:pt x="30830" y="345132"/>
                  </a:cubicBezTo>
                  <a:cubicBezTo>
                    <a:pt x="28925" y="345227"/>
                    <a:pt x="25781" y="349990"/>
                    <a:pt x="18257" y="353419"/>
                  </a:cubicBezTo>
                  <a:cubicBezTo>
                    <a:pt x="10732" y="356848"/>
                    <a:pt x="1969" y="355705"/>
                    <a:pt x="445" y="351514"/>
                  </a:cubicBezTo>
                  <a:cubicBezTo>
                    <a:pt x="-1079" y="347323"/>
                    <a:pt x="1302" y="348847"/>
                    <a:pt x="8160" y="34437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3746;p38">
              <a:extLst>
                <a:ext uri="{FF2B5EF4-FFF2-40B4-BE49-F238E27FC236}">
                  <a16:creationId xmlns:a16="http://schemas.microsoft.com/office/drawing/2014/main" id="{493B37BE-1D8E-4BC8-B210-6136FAD6353E}"/>
                </a:ext>
              </a:extLst>
            </p:cNvPr>
            <p:cNvSpPr/>
            <p:nvPr/>
          </p:nvSpPr>
          <p:spPr>
            <a:xfrm>
              <a:off x="4957330" y="339243"/>
              <a:ext cx="69518" cy="88698"/>
            </a:xfrm>
            <a:custGeom>
              <a:avLst/>
              <a:gdLst/>
              <a:ahLst/>
              <a:cxnLst/>
              <a:rect l="l" t="t" r="r" b="b"/>
              <a:pathLst>
                <a:path w="69518" h="88698" extrusionOk="0">
                  <a:moveTo>
                    <a:pt x="69519" y="69040"/>
                  </a:moveTo>
                  <a:cubicBezTo>
                    <a:pt x="69519" y="69040"/>
                    <a:pt x="42848" y="92757"/>
                    <a:pt x="13130" y="88090"/>
                  </a:cubicBezTo>
                  <a:lnTo>
                    <a:pt x="1320" y="38179"/>
                  </a:lnTo>
                  <a:cubicBezTo>
                    <a:pt x="1320" y="38179"/>
                    <a:pt x="-6491" y="11985"/>
                    <a:pt x="15893" y="2079"/>
                  </a:cubicBezTo>
                  <a:cubicBezTo>
                    <a:pt x="38277" y="-7827"/>
                    <a:pt x="59898" y="18177"/>
                    <a:pt x="69519" y="6904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3747;p38">
              <a:extLst>
                <a:ext uri="{FF2B5EF4-FFF2-40B4-BE49-F238E27FC236}">
                  <a16:creationId xmlns:a16="http://schemas.microsoft.com/office/drawing/2014/main" id="{96024C22-E8D7-44E6-A5BC-D2E6DFFB530A}"/>
                </a:ext>
              </a:extLst>
            </p:cNvPr>
            <p:cNvSpPr/>
            <p:nvPr/>
          </p:nvSpPr>
          <p:spPr>
            <a:xfrm>
              <a:off x="4820537" y="320915"/>
              <a:ext cx="59626" cy="62603"/>
            </a:xfrm>
            <a:custGeom>
              <a:avLst/>
              <a:gdLst/>
              <a:ahLst/>
              <a:cxnLst/>
              <a:rect l="l" t="t" r="r" b="b"/>
              <a:pathLst>
                <a:path w="59626" h="62603" extrusionOk="0">
                  <a:moveTo>
                    <a:pt x="59627" y="405"/>
                  </a:moveTo>
                  <a:cubicBezTo>
                    <a:pt x="59627" y="405"/>
                    <a:pt x="31052" y="-8358"/>
                    <a:pt x="0" y="55650"/>
                  </a:cubicBezTo>
                  <a:lnTo>
                    <a:pt x="11430" y="62603"/>
                  </a:lnTo>
                  <a:cubicBezTo>
                    <a:pt x="25775" y="40593"/>
                    <a:pt x="41891" y="19791"/>
                    <a:pt x="59627" y="40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3748;p38">
              <a:extLst>
                <a:ext uri="{FF2B5EF4-FFF2-40B4-BE49-F238E27FC236}">
                  <a16:creationId xmlns:a16="http://schemas.microsoft.com/office/drawing/2014/main" id="{58C589E0-75A3-4754-A07E-825532C1DFA0}"/>
                </a:ext>
              </a:extLst>
            </p:cNvPr>
            <p:cNvSpPr/>
            <p:nvPr/>
          </p:nvSpPr>
          <p:spPr>
            <a:xfrm>
              <a:off x="2491198" y="3393133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6" y="222885"/>
                  </a:moveTo>
                  <a:lnTo>
                    <a:pt x="0" y="111443"/>
                  </a:lnTo>
                  <a:lnTo>
                    <a:pt x="192976" y="0"/>
                  </a:lnTo>
                  <a:lnTo>
                    <a:pt x="385953" y="111443"/>
                  </a:lnTo>
                  <a:lnTo>
                    <a:pt x="192976" y="222885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3749;p38">
              <a:extLst>
                <a:ext uri="{FF2B5EF4-FFF2-40B4-BE49-F238E27FC236}">
                  <a16:creationId xmlns:a16="http://schemas.microsoft.com/office/drawing/2014/main" id="{D2F6D5E3-547E-4018-A697-59DD919DC59A}"/>
                </a:ext>
              </a:extLst>
            </p:cNvPr>
            <p:cNvSpPr/>
            <p:nvPr/>
          </p:nvSpPr>
          <p:spPr>
            <a:xfrm>
              <a:off x="2797046" y="3214634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6" y="222790"/>
                  </a:moveTo>
                  <a:lnTo>
                    <a:pt x="0" y="111443"/>
                  </a:lnTo>
                  <a:lnTo>
                    <a:pt x="192976" y="0"/>
                  </a:lnTo>
                  <a:lnTo>
                    <a:pt x="385953" y="111443"/>
                  </a:lnTo>
                  <a:lnTo>
                    <a:pt x="192976" y="222790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3750;p38">
              <a:extLst>
                <a:ext uri="{FF2B5EF4-FFF2-40B4-BE49-F238E27FC236}">
                  <a16:creationId xmlns:a16="http://schemas.microsoft.com/office/drawing/2014/main" id="{D14CBABF-612B-4BA4-A1A0-3098B5D3BC1B}"/>
                </a:ext>
              </a:extLst>
            </p:cNvPr>
            <p:cNvSpPr/>
            <p:nvPr/>
          </p:nvSpPr>
          <p:spPr>
            <a:xfrm>
              <a:off x="2911632" y="2431203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7" y="222885"/>
                  </a:moveTo>
                  <a:lnTo>
                    <a:pt x="0" y="111442"/>
                  </a:lnTo>
                  <a:lnTo>
                    <a:pt x="192977" y="0"/>
                  </a:lnTo>
                  <a:lnTo>
                    <a:pt x="385953" y="111442"/>
                  </a:lnTo>
                  <a:lnTo>
                    <a:pt x="192977" y="222885"/>
                  </a:lnTo>
                  <a:close/>
                </a:path>
              </a:pathLst>
            </a:custGeom>
            <a:solidFill>
              <a:srgbClr val="70B6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3751;p38">
              <a:extLst>
                <a:ext uri="{FF2B5EF4-FFF2-40B4-BE49-F238E27FC236}">
                  <a16:creationId xmlns:a16="http://schemas.microsoft.com/office/drawing/2014/main" id="{1B8EFD5F-DD56-4C05-B23F-3A422D3BA1AB}"/>
                </a:ext>
              </a:extLst>
            </p:cNvPr>
            <p:cNvSpPr/>
            <p:nvPr/>
          </p:nvSpPr>
          <p:spPr>
            <a:xfrm>
              <a:off x="2911632" y="2542645"/>
              <a:ext cx="192976" cy="830294"/>
            </a:xfrm>
            <a:custGeom>
              <a:avLst/>
              <a:gdLst/>
              <a:ahLst/>
              <a:cxnLst/>
              <a:rect l="l" t="t" r="r" b="b"/>
              <a:pathLst>
                <a:path w="192976" h="830294" extrusionOk="0">
                  <a:moveTo>
                    <a:pt x="192977" y="830294"/>
                  </a:moveTo>
                  <a:lnTo>
                    <a:pt x="0" y="718852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830294"/>
                  </a:lnTo>
                  <a:close/>
                </a:path>
              </a:pathLst>
            </a:custGeom>
            <a:solidFill>
              <a:srgbClr val="4399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3752;p38">
              <a:extLst>
                <a:ext uri="{FF2B5EF4-FFF2-40B4-BE49-F238E27FC236}">
                  <a16:creationId xmlns:a16="http://schemas.microsoft.com/office/drawing/2014/main" id="{01AB840D-B486-4C99-9ED4-A33A322D6876}"/>
                </a:ext>
              </a:extLst>
            </p:cNvPr>
            <p:cNvSpPr/>
            <p:nvPr/>
          </p:nvSpPr>
          <p:spPr>
            <a:xfrm>
              <a:off x="3104608" y="2542645"/>
              <a:ext cx="192976" cy="830294"/>
            </a:xfrm>
            <a:custGeom>
              <a:avLst/>
              <a:gdLst/>
              <a:ahLst/>
              <a:cxnLst/>
              <a:rect l="l" t="t" r="r" b="b"/>
              <a:pathLst>
                <a:path w="192976" h="830294" extrusionOk="0">
                  <a:moveTo>
                    <a:pt x="192977" y="718852"/>
                  </a:moveTo>
                  <a:lnTo>
                    <a:pt x="0" y="830294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718852"/>
                  </a:lnTo>
                  <a:close/>
                </a:path>
              </a:pathLst>
            </a:custGeom>
            <a:solidFill>
              <a:srgbClr val="3E7E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3753;p38">
              <a:extLst>
                <a:ext uri="{FF2B5EF4-FFF2-40B4-BE49-F238E27FC236}">
                  <a16:creationId xmlns:a16="http://schemas.microsoft.com/office/drawing/2014/main" id="{24501533-F04D-4129-B848-D70FCE2475EB}"/>
                </a:ext>
              </a:extLst>
            </p:cNvPr>
            <p:cNvSpPr/>
            <p:nvPr/>
          </p:nvSpPr>
          <p:spPr>
            <a:xfrm>
              <a:off x="2622167" y="2797249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6" y="222790"/>
                  </a:moveTo>
                  <a:lnTo>
                    <a:pt x="0" y="111347"/>
                  </a:lnTo>
                  <a:lnTo>
                    <a:pt x="192976" y="0"/>
                  </a:lnTo>
                  <a:lnTo>
                    <a:pt x="385953" y="111347"/>
                  </a:lnTo>
                  <a:lnTo>
                    <a:pt x="192976" y="222790"/>
                  </a:ln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3754;p38">
              <a:extLst>
                <a:ext uri="{FF2B5EF4-FFF2-40B4-BE49-F238E27FC236}">
                  <a16:creationId xmlns:a16="http://schemas.microsoft.com/office/drawing/2014/main" id="{26F8E50C-C901-476B-8D7D-B8BF12761CB5}"/>
                </a:ext>
              </a:extLst>
            </p:cNvPr>
            <p:cNvSpPr/>
            <p:nvPr/>
          </p:nvSpPr>
          <p:spPr>
            <a:xfrm>
              <a:off x="2622167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6" y="630555"/>
                  </a:moveTo>
                  <a:lnTo>
                    <a:pt x="0" y="519113"/>
                  </a:lnTo>
                  <a:lnTo>
                    <a:pt x="0" y="0"/>
                  </a:lnTo>
                  <a:lnTo>
                    <a:pt x="192976" y="111443"/>
                  </a:lnTo>
                  <a:lnTo>
                    <a:pt x="192976" y="630555"/>
                  </a:ln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3755;p38">
              <a:extLst>
                <a:ext uri="{FF2B5EF4-FFF2-40B4-BE49-F238E27FC236}">
                  <a16:creationId xmlns:a16="http://schemas.microsoft.com/office/drawing/2014/main" id="{785CA548-6800-4930-BF06-80F877C58122}"/>
                </a:ext>
              </a:extLst>
            </p:cNvPr>
            <p:cNvSpPr/>
            <p:nvPr/>
          </p:nvSpPr>
          <p:spPr>
            <a:xfrm>
              <a:off x="2622167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6" y="630555"/>
                  </a:moveTo>
                  <a:lnTo>
                    <a:pt x="0" y="519113"/>
                  </a:lnTo>
                  <a:lnTo>
                    <a:pt x="0" y="0"/>
                  </a:lnTo>
                  <a:lnTo>
                    <a:pt x="192976" y="111443"/>
                  </a:lnTo>
                  <a:lnTo>
                    <a:pt x="192976" y="630555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3756;p38">
              <a:extLst>
                <a:ext uri="{FF2B5EF4-FFF2-40B4-BE49-F238E27FC236}">
                  <a16:creationId xmlns:a16="http://schemas.microsoft.com/office/drawing/2014/main" id="{FF9773EB-7763-4AF9-B079-289E4169B97B}"/>
                </a:ext>
              </a:extLst>
            </p:cNvPr>
            <p:cNvSpPr/>
            <p:nvPr/>
          </p:nvSpPr>
          <p:spPr>
            <a:xfrm>
              <a:off x="2815143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7" y="519113"/>
                  </a:moveTo>
                  <a:lnTo>
                    <a:pt x="0" y="630555"/>
                  </a:lnTo>
                  <a:lnTo>
                    <a:pt x="0" y="111443"/>
                  </a:lnTo>
                  <a:lnTo>
                    <a:pt x="192977" y="0"/>
                  </a:lnTo>
                  <a:lnTo>
                    <a:pt x="192977" y="519113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3757;p38">
              <a:extLst>
                <a:ext uri="{FF2B5EF4-FFF2-40B4-BE49-F238E27FC236}">
                  <a16:creationId xmlns:a16="http://schemas.microsoft.com/office/drawing/2014/main" id="{FB1FFC4A-78CA-4BC4-8CA6-298A0FD86F32}"/>
                </a:ext>
              </a:extLst>
            </p:cNvPr>
            <p:cNvSpPr/>
            <p:nvPr/>
          </p:nvSpPr>
          <p:spPr>
            <a:xfrm>
              <a:off x="2244025" y="3539151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7" y="222885"/>
                  </a:moveTo>
                  <a:lnTo>
                    <a:pt x="0" y="111442"/>
                  </a:lnTo>
                  <a:lnTo>
                    <a:pt x="192977" y="0"/>
                  </a:lnTo>
                  <a:lnTo>
                    <a:pt x="385953" y="111442"/>
                  </a:lnTo>
                  <a:lnTo>
                    <a:pt x="192977" y="222885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3758;p38">
              <a:extLst>
                <a:ext uri="{FF2B5EF4-FFF2-40B4-BE49-F238E27FC236}">
                  <a16:creationId xmlns:a16="http://schemas.microsoft.com/office/drawing/2014/main" id="{CB138FC5-A616-4D18-A910-968B4ECEAD37}"/>
                </a:ext>
              </a:extLst>
            </p:cNvPr>
            <p:cNvSpPr/>
            <p:nvPr/>
          </p:nvSpPr>
          <p:spPr>
            <a:xfrm>
              <a:off x="2313938" y="3177773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7" y="222790"/>
                  </a:moveTo>
                  <a:lnTo>
                    <a:pt x="0" y="111347"/>
                  </a:lnTo>
                  <a:lnTo>
                    <a:pt x="192977" y="0"/>
                  </a:lnTo>
                  <a:lnTo>
                    <a:pt x="385953" y="111347"/>
                  </a:lnTo>
                  <a:lnTo>
                    <a:pt x="192977" y="222790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3759;p38">
              <a:extLst>
                <a:ext uri="{FF2B5EF4-FFF2-40B4-BE49-F238E27FC236}">
                  <a16:creationId xmlns:a16="http://schemas.microsoft.com/office/drawing/2014/main" id="{8FFE013B-BF87-40A4-9F3A-DF5633C8B62B}"/>
                </a:ext>
              </a:extLst>
            </p:cNvPr>
            <p:cNvSpPr/>
            <p:nvPr/>
          </p:nvSpPr>
          <p:spPr>
            <a:xfrm>
              <a:off x="2313938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430816"/>
                  </a:moveTo>
                  <a:lnTo>
                    <a:pt x="0" y="319468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430816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3760;p38">
              <a:extLst>
                <a:ext uri="{FF2B5EF4-FFF2-40B4-BE49-F238E27FC236}">
                  <a16:creationId xmlns:a16="http://schemas.microsoft.com/office/drawing/2014/main" id="{69B7116A-1FDF-4B2A-B133-25F34C43B593}"/>
                </a:ext>
              </a:extLst>
            </p:cNvPr>
            <p:cNvSpPr/>
            <p:nvPr/>
          </p:nvSpPr>
          <p:spPr>
            <a:xfrm>
              <a:off x="2313938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430816"/>
                  </a:moveTo>
                  <a:lnTo>
                    <a:pt x="0" y="319468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430816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3761;p38">
              <a:extLst>
                <a:ext uri="{FF2B5EF4-FFF2-40B4-BE49-F238E27FC236}">
                  <a16:creationId xmlns:a16="http://schemas.microsoft.com/office/drawing/2014/main" id="{8884A6BA-0ED8-489E-B0B2-AF993606199B}"/>
                </a:ext>
              </a:extLst>
            </p:cNvPr>
            <p:cNvSpPr/>
            <p:nvPr/>
          </p:nvSpPr>
          <p:spPr>
            <a:xfrm>
              <a:off x="2506915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319468"/>
                  </a:moveTo>
                  <a:lnTo>
                    <a:pt x="0" y="430816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319468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3762;p38">
              <a:extLst>
                <a:ext uri="{FF2B5EF4-FFF2-40B4-BE49-F238E27FC236}">
                  <a16:creationId xmlns:a16="http://schemas.microsoft.com/office/drawing/2014/main" id="{C79606F9-CFBC-49A0-8860-886AAFDEF3F4}"/>
                </a:ext>
              </a:extLst>
            </p:cNvPr>
            <p:cNvSpPr/>
            <p:nvPr/>
          </p:nvSpPr>
          <p:spPr>
            <a:xfrm>
              <a:off x="2506915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319468"/>
                  </a:moveTo>
                  <a:lnTo>
                    <a:pt x="0" y="430816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319468"/>
                  </a:lnTo>
                  <a:close/>
                </a:path>
              </a:pathLst>
            </a:custGeom>
            <a:solidFill>
              <a:srgbClr val="000000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3763;p38">
              <a:extLst>
                <a:ext uri="{FF2B5EF4-FFF2-40B4-BE49-F238E27FC236}">
                  <a16:creationId xmlns:a16="http://schemas.microsoft.com/office/drawing/2014/main" id="{D36300CF-927E-4AF2-BB69-B91C634DCA43}"/>
                </a:ext>
              </a:extLst>
            </p:cNvPr>
            <p:cNvSpPr/>
            <p:nvPr/>
          </p:nvSpPr>
          <p:spPr>
            <a:xfrm>
              <a:off x="3217241" y="3786325"/>
              <a:ext cx="1277540" cy="681323"/>
            </a:xfrm>
            <a:custGeom>
              <a:avLst/>
              <a:gdLst/>
              <a:ahLst/>
              <a:cxnLst/>
              <a:rect l="l" t="t" r="r" b="b"/>
              <a:pathLst>
                <a:path w="1277540" h="681323" extrusionOk="0">
                  <a:moveTo>
                    <a:pt x="1277541" y="681323"/>
                  </a:moveTo>
                  <a:lnTo>
                    <a:pt x="1153716" y="503015"/>
                  </a:lnTo>
                  <a:lnTo>
                    <a:pt x="1093708" y="476155"/>
                  </a:lnTo>
                  <a:cubicBezTo>
                    <a:pt x="1048160" y="465620"/>
                    <a:pt x="1001582" y="460258"/>
                    <a:pt x="954834" y="460153"/>
                  </a:cubicBezTo>
                  <a:cubicBezTo>
                    <a:pt x="898922" y="516541"/>
                    <a:pt x="546306" y="531590"/>
                    <a:pt x="406289" y="462058"/>
                  </a:cubicBezTo>
                  <a:cubicBezTo>
                    <a:pt x="247507" y="383191"/>
                    <a:pt x="164259" y="286893"/>
                    <a:pt x="138351" y="227933"/>
                  </a:cubicBezTo>
                  <a:cubicBezTo>
                    <a:pt x="92250" y="123158"/>
                    <a:pt x="180165" y="0"/>
                    <a:pt x="180165" y="0"/>
                  </a:cubicBezTo>
                  <a:cubicBezTo>
                    <a:pt x="-60055" y="138684"/>
                    <a:pt x="-60055" y="364427"/>
                    <a:pt x="180165" y="503111"/>
                  </a:cubicBezTo>
                  <a:cubicBezTo>
                    <a:pt x="405336" y="633127"/>
                    <a:pt x="762905" y="641223"/>
                    <a:pt x="1004649" y="527495"/>
                  </a:cubicBezTo>
                  <a:lnTo>
                    <a:pt x="1004649" y="52749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3764;p38">
              <a:extLst>
                <a:ext uri="{FF2B5EF4-FFF2-40B4-BE49-F238E27FC236}">
                  <a16:creationId xmlns:a16="http://schemas.microsoft.com/office/drawing/2014/main" id="{C1E39ECB-0B7E-4770-B956-491CEF003257}"/>
                </a:ext>
              </a:extLst>
            </p:cNvPr>
            <p:cNvSpPr/>
            <p:nvPr/>
          </p:nvSpPr>
          <p:spPr>
            <a:xfrm>
              <a:off x="4341906" y="4346681"/>
              <a:ext cx="972788" cy="561593"/>
            </a:xfrm>
            <a:custGeom>
              <a:avLst/>
              <a:gdLst/>
              <a:ahLst/>
              <a:cxnLst/>
              <a:rect l="l" t="t" r="r" b="b"/>
              <a:pathLst>
                <a:path w="972788" h="561593" extrusionOk="0">
                  <a:moveTo>
                    <a:pt x="831532" y="561594"/>
                  </a:moveTo>
                  <a:lnTo>
                    <a:pt x="0" y="81534"/>
                  </a:lnTo>
                  <a:lnTo>
                    <a:pt x="141256" y="0"/>
                  </a:lnTo>
                  <a:lnTo>
                    <a:pt x="972788" y="480060"/>
                  </a:lnTo>
                  <a:lnTo>
                    <a:pt x="831532" y="561594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3765;p38">
              <a:extLst>
                <a:ext uri="{FF2B5EF4-FFF2-40B4-BE49-F238E27FC236}">
                  <a16:creationId xmlns:a16="http://schemas.microsoft.com/office/drawing/2014/main" id="{FE5994BF-DC03-45E0-9C1D-CD2EC06797DF}"/>
                </a:ext>
              </a:extLst>
            </p:cNvPr>
            <p:cNvSpPr/>
            <p:nvPr/>
          </p:nvSpPr>
          <p:spPr>
            <a:xfrm>
              <a:off x="3246959" y="3638497"/>
              <a:ext cx="1231677" cy="711112"/>
            </a:xfrm>
            <a:custGeom>
              <a:avLst/>
              <a:gdLst/>
              <a:ahLst/>
              <a:cxnLst/>
              <a:rect l="l" t="t" r="r" b="b"/>
              <a:pathLst>
                <a:path w="1231677" h="711112" extrusionOk="0">
                  <a:moveTo>
                    <a:pt x="180165" y="607029"/>
                  </a:moveTo>
                  <a:cubicBezTo>
                    <a:pt x="-60055" y="468344"/>
                    <a:pt x="-60055" y="242697"/>
                    <a:pt x="180165" y="104013"/>
                  </a:cubicBezTo>
                  <a:cubicBezTo>
                    <a:pt x="420386" y="-34671"/>
                    <a:pt x="811292" y="-34671"/>
                    <a:pt x="1051512" y="104013"/>
                  </a:cubicBezTo>
                  <a:cubicBezTo>
                    <a:pt x="1291733" y="242697"/>
                    <a:pt x="1291733" y="468344"/>
                    <a:pt x="1051512" y="607029"/>
                  </a:cubicBezTo>
                  <a:cubicBezTo>
                    <a:pt x="811292" y="745713"/>
                    <a:pt x="420386" y="745903"/>
                    <a:pt x="180165" y="607029"/>
                  </a:cubicBezTo>
                  <a:close/>
                  <a:moveTo>
                    <a:pt x="945213" y="165354"/>
                  </a:moveTo>
                  <a:cubicBezTo>
                    <a:pt x="763572" y="60579"/>
                    <a:pt x="468011" y="60579"/>
                    <a:pt x="286464" y="165354"/>
                  </a:cubicBezTo>
                  <a:cubicBezTo>
                    <a:pt x="104918" y="270129"/>
                    <a:pt x="104823" y="441103"/>
                    <a:pt x="286464" y="545878"/>
                  </a:cubicBezTo>
                  <a:cubicBezTo>
                    <a:pt x="468106" y="650653"/>
                    <a:pt x="763572" y="650653"/>
                    <a:pt x="945213" y="545878"/>
                  </a:cubicBezTo>
                  <a:cubicBezTo>
                    <a:pt x="1126855" y="441103"/>
                    <a:pt x="1126855" y="270224"/>
                    <a:pt x="945213" y="165354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3766;p38">
              <a:extLst>
                <a:ext uri="{FF2B5EF4-FFF2-40B4-BE49-F238E27FC236}">
                  <a16:creationId xmlns:a16="http://schemas.microsoft.com/office/drawing/2014/main" id="{008F1065-F16B-46F6-A4EF-B57C13C56D5E}"/>
                </a:ext>
              </a:extLst>
            </p:cNvPr>
            <p:cNvSpPr/>
            <p:nvPr/>
          </p:nvSpPr>
          <p:spPr>
            <a:xfrm>
              <a:off x="3247293" y="3898053"/>
              <a:ext cx="108013" cy="106584"/>
            </a:xfrm>
            <a:custGeom>
              <a:avLst/>
              <a:gdLst/>
              <a:ahLst/>
              <a:cxnLst/>
              <a:rect l="l" t="t" r="r" b="b"/>
              <a:pathLst>
                <a:path w="108013" h="106584" extrusionOk="0">
                  <a:moveTo>
                    <a:pt x="0" y="106585"/>
                  </a:moveTo>
                  <a:lnTo>
                    <a:pt x="0" y="0"/>
                  </a:lnTo>
                  <a:lnTo>
                    <a:pt x="108013" y="53245"/>
                  </a:lnTo>
                  <a:lnTo>
                    <a:pt x="0" y="10658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3767;p38">
              <a:extLst>
                <a:ext uri="{FF2B5EF4-FFF2-40B4-BE49-F238E27FC236}">
                  <a16:creationId xmlns:a16="http://schemas.microsoft.com/office/drawing/2014/main" id="{887950A2-BA52-425A-AA00-AF10157FA461}"/>
                </a:ext>
              </a:extLst>
            </p:cNvPr>
            <p:cNvSpPr/>
            <p:nvPr/>
          </p:nvSpPr>
          <p:spPr>
            <a:xfrm>
              <a:off x="3553141" y="4166849"/>
              <a:ext cx="622063" cy="123348"/>
            </a:xfrm>
            <a:custGeom>
              <a:avLst/>
              <a:gdLst/>
              <a:ahLst/>
              <a:cxnLst/>
              <a:rect l="l" t="t" r="r" b="b"/>
              <a:pathLst>
                <a:path w="622063" h="123348" extrusionOk="0">
                  <a:moveTo>
                    <a:pt x="0" y="13525"/>
                  </a:moveTo>
                  <a:cubicBezTo>
                    <a:pt x="4381" y="18955"/>
                    <a:pt x="19812" y="123349"/>
                    <a:pt x="327470" y="123349"/>
                  </a:cubicBezTo>
                  <a:cubicBezTo>
                    <a:pt x="635127" y="123349"/>
                    <a:pt x="621983" y="0"/>
                    <a:pt x="621983" y="0"/>
                  </a:cubicBezTo>
                  <a:cubicBezTo>
                    <a:pt x="621983" y="0"/>
                    <a:pt x="331851" y="39910"/>
                    <a:pt x="327470" y="39910"/>
                  </a:cubicBezTo>
                  <a:cubicBezTo>
                    <a:pt x="323088" y="39910"/>
                    <a:pt x="0" y="13525"/>
                    <a:pt x="0" y="13525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3768;p38">
              <a:extLst>
                <a:ext uri="{FF2B5EF4-FFF2-40B4-BE49-F238E27FC236}">
                  <a16:creationId xmlns:a16="http://schemas.microsoft.com/office/drawing/2014/main" id="{492C07EF-CF40-425E-A242-F6E2FAABE498}"/>
                </a:ext>
              </a:extLst>
            </p:cNvPr>
            <p:cNvSpPr/>
            <p:nvPr/>
          </p:nvSpPr>
          <p:spPr>
            <a:xfrm>
              <a:off x="4390007" y="3898053"/>
              <a:ext cx="88582" cy="95916"/>
            </a:xfrm>
            <a:custGeom>
              <a:avLst/>
              <a:gdLst/>
              <a:ahLst/>
              <a:cxnLst/>
              <a:rect l="l" t="t" r="r" b="b"/>
              <a:pathLst>
                <a:path w="88582" h="95916" extrusionOk="0">
                  <a:moveTo>
                    <a:pt x="88583" y="0"/>
                  </a:moveTo>
                  <a:lnTo>
                    <a:pt x="88583" y="95917"/>
                  </a:lnTo>
                  <a:lnTo>
                    <a:pt x="0" y="39433"/>
                  </a:lnTo>
                  <a:lnTo>
                    <a:pt x="88583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3769;p38">
              <a:extLst>
                <a:ext uri="{FF2B5EF4-FFF2-40B4-BE49-F238E27FC236}">
                  <a16:creationId xmlns:a16="http://schemas.microsoft.com/office/drawing/2014/main" id="{140AD189-28B8-48ED-839B-611F56DB682C}"/>
                </a:ext>
              </a:extLst>
            </p:cNvPr>
            <p:cNvSpPr/>
            <p:nvPr/>
          </p:nvSpPr>
          <p:spPr>
            <a:xfrm>
              <a:off x="3582763" y="3612208"/>
              <a:ext cx="550640" cy="90297"/>
            </a:xfrm>
            <a:custGeom>
              <a:avLst/>
              <a:gdLst/>
              <a:ahLst/>
              <a:cxnLst/>
              <a:rect l="l" t="t" r="r" b="b"/>
              <a:pathLst>
                <a:path w="550640" h="90297" extrusionOk="0">
                  <a:moveTo>
                    <a:pt x="0" y="53816"/>
                  </a:moveTo>
                  <a:cubicBezTo>
                    <a:pt x="89316" y="19079"/>
                    <a:pt x="184204" y="838"/>
                    <a:pt x="280035" y="0"/>
                  </a:cubicBezTo>
                  <a:cubicBezTo>
                    <a:pt x="373275" y="295"/>
                    <a:pt x="465430" y="19984"/>
                    <a:pt x="550640" y="57817"/>
                  </a:cubicBezTo>
                  <a:lnTo>
                    <a:pt x="531114" y="90297"/>
                  </a:lnTo>
                  <a:lnTo>
                    <a:pt x="16764" y="9029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3770;p38">
              <a:extLst>
                <a:ext uri="{FF2B5EF4-FFF2-40B4-BE49-F238E27FC236}">
                  <a16:creationId xmlns:a16="http://schemas.microsoft.com/office/drawing/2014/main" id="{F8C49F54-E53A-41D9-9778-CD88DBCFD10D}"/>
                </a:ext>
              </a:extLst>
            </p:cNvPr>
            <p:cNvSpPr/>
            <p:nvPr/>
          </p:nvSpPr>
          <p:spPr>
            <a:xfrm>
              <a:off x="3404265" y="3670120"/>
              <a:ext cx="917257" cy="529590"/>
            </a:xfrm>
            <a:custGeom>
              <a:avLst/>
              <a:gdLst/>
              <a:ahLst/>
              <a:cxnLst/>
              <a:rect l="l" t="t" r="r" b="b"/>
              <a:pathLst>
                <a:path w="917257" h="529590" extrusionOk="0">
                  <a:moveTo>
                    <a:pt x="917258" y="264795"/>
                  </a:moveTo>
                  <a:cubicBezTo>
                    <a:pt x="917258" y="411037"/>
                    <a:pt x="711922" y="529590"/>
                    <a:pt x="458629" y="529590"/>
                  </a:cubicBezTo>
                  <a:cubicBezTo>
                    <a:pt x="205335" y="529590"/>
                    <a:pt x="0" y="411037"/>
                    <a:pt x="0" y="264795"/>
                  </a:cubicBezTo>
                  <a:cubicBezTo>
                    <a:pt x="0" y="118553"/>
                    <a:pt x="205335" y="0"/>
                    <a:pt x="458629" y="0"/>
                  </a:cubicBezTo>
                  <a:cubicBezTo>
                    <a:pt x="711923" y="0"/>
                    <a:pt x="917258" y="118553"/>
                    <a:pt x="917258" y="264795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3771;p38">
              <a:extLst>
                <a:ext uri="{FF2B5EF4-FFF2-40B4-BE49-F238E27FC236}">
                  <a16:creationId xmlns:a16="http://schemas.microsoft.com/office/drawing/2014/main" id="{65850505-DA60-4245-8903-625548E75D2D}"/>
                </a:ext>
              </a:extLst>
            </p:cNvPr>
            <p:cNvSpPr/>
            <p:nvPr/>
          </p:nvSpPr>
          <p:spPr>
            <a:xfrm>
              <a:off x="3246959" y="3542485"/>
              <a:ext cx="1231677" cy="711136"/>
            </a:xfrm>
            <a:custGeom>
              <a:avLst/>
              <a:gdLst/>
              <a:ahLst/>
              <a:cxnLst/>
              <a:rect l="l" t="t" r="r" b="b"/>
              <a:pathLst>
                <a:path w="1231677" h="711136" extrusionOk="0">
                  <a:moveTo>
                    <a:pt x="180165" y="607124"/>
                  </a:moveTo>
                  <a:cubicBezTo>
                    <a:pt x="-60055" y="468440"/>
                    <a:pt x="-60055" y="242697"/>
                    <a:pt x="180165" y="104013"/>
                  </a:cubicBezTo>
                  <a:cubicBezTo>
                    <a:pt x="420386" y="-34671"/>
                    <a:pt x="811292" y="-34671"/>
                    <a:pt x="1051512" y="104013"/>
                  </a:cubicBezTo>
                  <a:cubicBezTo>
                    <a:pt x="1291733" y="242697"/>
                    <a:pt x="1291733" y="468440"/>
                    <a:pt x="1051512" y="607124"/>
                  </a:cubicBezTo>
                  <a:cubicBezTo>
                    <a:pt x="811292" y="745808"/>
                    <a:pt x="420386" y="745808"/>
                    <a:pt x="180165" y="607124"/>
                  </a:cubicBezTo>
                  <a:close/>
                  <a:moveTo>
                    <a:pt x="945213" y="165640"/>
                  </a:moveTo>
                  <a:cubicBezTo>
                    <a:pt x="763572" y="60865"/>
                    <a:pt x="468011" y="60865"/>
                    <a:pt x="286464" y="165640"/>
                  </a:cubicBezTo>
                  <a:cubicBezTo>
                    <a:pt x="104918" y="270415"/>
                    <a:pt x="104823" y="441198"/>
                    <a:pt x="286464" y="546068"/>
                  </a:cubicBezTo>
                  <a:cubicBezTo>
                    <a:pt x="468106" y="650939"/>
                    <a:pt x="763572" y="650843"/>
                    <a:pt x="945213" y="546068"/>
                  </a:cubicBezTo>
                  <a:cubicBezTo>
                    <a:pt x="1126855" y="441293"/>
                    <a:pt x="1126855" y="270415"/>
                    <a:pt x="945213" y="165640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3772;p38">
              <a:extLst>
                <a:ext uri="{FF2B5EF4-FFF2-40B4-BE49-F238E27FC236}">
                  <a16:creationId xmlns:a16="http://schemas.microsoft.com/office/drawing/2014/main" id="{00387158-B48E-4957-A7BF-A1353606FB25}"/>
                </a:ext>
              </a:extLst>
            </p:cNvPr>
            <p:cNvSpPr/>
            <p:nvPr/>
          </p:nvSpPr>
          <p:spPr>
            <a:xfrm>
              <a:off x="4233892" y="4110556"/>
              <a:ext cx="329469" cy="191071"/>
            </a:xfrm>
            <a:custGeom>
              <a:avLst/>
              <a:gdLst/>
              <a:ahLst/>
              <a:cxnLst/>
              <a:rect l="l" t="t" r="r" b="b"/>
              <a:pathLst>
                <a:path w="329469" h="191071" extrusionOk="0">
                  <a:moveTo>
                    <a:pt x="208407" y="191071"/>
                  </a:moveTo>
                  <a:lnTo>
                    <a:pt x="0" y="69818"/>
                  </a:lnTo>
                  <a:lnTo>
                    <a:pt x="121063" y="0"/>
                  </a:lnTo>
                  <a:lnTo>
                    <a:pt x="329470" y="121158"/>
                  </a:lnTo>
                  <a:lnTo>
                    <a:pt x="208407" y="191071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3773;p38">
              <a:extLst>
                <a:ext uri="{FF2B5EF4-FFF2-40B4-BE49-F238E27FC236}">
                  <a16:creationId xmlns:a16="http://schemas.microsoft.com/office/drawing/2014/main" id="{78A83D24-49DF-4171-A196-242A25039574}"/>
                </a:ext>
              </a:extLst>
            </p:cNvPr>
            <p:cNvSpPr/>
            <p:nvPr/>
          </p:nvSpPr>
          <p:spPr>
            <a:xfrm>
              <a:off x="4234083" y="4180469"/>
              <a:ext cx="208216" cy="217741"/>
            </a:xfrm>
            <a:custGeom>
              <a:avLst/>
              <a:gdLst/>
              <a:ahLst/>
              <a:cxnLst/>
              <a:rect l="l" t="t" r="r" b="b"/>
              <a:pathLst>
                <a:path w="208216" h="217741" extrusionOk="0">
                  <a:moveTo>
                    <a:pt x="208217" y="217742"/>
                  </a:moveTo>
                  <a:lnTo>
                    <a:pt x="0" y="97250"/>
                  </a:lnTo>
                  <a:lnTo>
                    <a:pt x="0" y="0"/>
                  </a:lnTo>
                  <a:lnTo>
                    <a:pt x="208217" y="120491"/>
                  </a:lnTo>
                  <a:lnTo>
                    <a:pt x="208217" y="21774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3774;p38">
              <a:extLst>
                <a:ext uri="{FF2B5EF4-FFF2-40B4-BE49-F238E27FC236}">
                  <a16:creationId xmlns:a16="http://schemas.microsoft.com/office/drawing/2014/main" id="{FE8F8CD4-2402-410C-BC96-5DB0E5A85285}"/>
                </a:ext>
              </a:extLst>
            </p:cNvPr>
            <p:cNvSpPr/>
            <p:nvPr/>
          </p:nvSpPr>
          <p:spPr>
            <a:xfrm>
              <a:off x="4368385" y="4248383"/>
              <a:ext cx="831437" cy="643127"/>
            </a:xfrm>
            <a:custGeom>
              <a:avLst/>
              <a:gdLst/>
              <a:ahLst/>
              <a:cxnLst/>
              <a:rect l="l" t="t" r="r" b="b"/>
              <a:pathLst>
                <a:path w="831437" h="643127" extrusionOk="0">
                  <a:moveTo>
                    <a:pt x="831437" y="643128"/>
                  </a:moveTo>
                  <a:lnTo>
                    <a:pt x="0" y="163068"/>
                  </a:lnTo>
                  <a:lnTo>
                    <a:pt x="0" y="0"/>
                  </a:lnTo>
                  <a:lnTo>
                    <a:pt x="831437" y="480060"/>
                  </a:lnTo>
                  <a:lnTo>
                    <a:pt x="831437" y="643128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" name="Google Shape;3775;p38">
              <a:extLst>
                <a:ext uri="{FF2B5EF4-FFF2-40B4-BE49-F238E27FC236}">
                  <a16:creationId xmlns:a16="http://schemas.microsoft.com/office/drawing/2014/main" id="{CF5ED2EF-8AD5-49F0-9102-15BA9377838E}"/>
                </a:ext>
              </a:extLst>
            </p:cNvPr>
            <p:cNvSpPr/>
            <p:nvPr/>
          </p:nvSpPr>
          <p:spPr>
            <a:xfrm>
              <a:off x="4368385" y="4166944"/>
              <a:ext cx="972788" cy="561593"/>
            </a:xfrm>
            <a:custGeom>
              <a:avLst/>
              <a:gdLst/>
              <a:ahLst/>
              <a:cxnLst/>
              <a:rect l="l" t="t" r="r" b="b"/>
              <a:pathLst>
                <a:path w="972788" h="561593" extrusionOk="0">
                  <a:moveTo>
                    <a:pt x="831532" y="561594"/>
                  </a:moveTo>
                  <a:lnTo>
                    <a:pt x="0" y="81534"/>
                  </a:lnTo>
                  <a:lnTo>
                    <a:pt x="141256" y="0"/>
                  </a:lnTo>
                  <a:lnTo>
                    <a:pt x="972788" y="479965"/>
                  </a:lnTo>
                  <a:lnTo>
                    <a:pt x="831532" y="561594"/>
                  </a:lnTo>
                  <a:close/>
                </a:path>
              </a:pathLst>
            </a:custGeom>
            <a:solidFill>
              <a:srgbClr val="39405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" name="Google Shape;3776;p38">
              <a:extLst>
                <a:ext uri="{FF2B5EF4-FFF2-40B4-BE49-F238E27FC236}">
                  <a16:creationId xmlns:a16="http://schemas.microsoft.com/office/drawing/2014/main" id="{B3FE7336-D254-4D7A-BCD9-235163945011}"/>
                </a:ext>
              </a:extLst>
            </p:cNvPr>
            <p:cNvSpPr/>
            <p:nvPr/>
          </p:nvSpPr>
          <p:spPr>
            <a:xfrm>
              <a:off x="5199823" y="4646908"/>
              <a:ext cx="141350" cy="244601"/>
            </a:xfrm>
            <a:custGeom>
              <a:avLst/>
              <a:gdLst/>
              <a:ahLst/>
              <a:cxnLst/>
              <a:rect l="l" t="t" r="r" b="b"/>
              <a:pathLst>
                <a:path w="141350" h="244601" extrusionOk="0">
                  <a:moveTo>
                    <a:pt x="0" y="244602"/>
                  </a:moveTo>
                  <a:cubicBezTo>
                    <a:pt x="8572" y="243650"/>
                    <a:pt x="141351" y="165068"/>
                    <a:pt x="141351" y="165068"/>
                  </a:cubicBezTo>
                  <a:lnTo>
                    <a:pt x="141351" y="0"/>
                  </a:lnTo>
                  <a:lnTo>
                    <a:pt x="95" y="81629"/>
                  </a:lnTo>
                  <a:close/>
                </a:path>
              </a:pathLst>
            </a:custGeom>
            <a:solidFill>
              <a:srgbClr val="23273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" name="Google Shape;3777;p38">
              <a:extLst>
                <a:ext uri="{FF2B5EF4-FFF2-40B4-BE49-F238E27FC236}">
                  <a16:creationId xmlns:a16="http://schemas.microsoft.com/office/drawing/2014/main" id="{916D782B-2195-4E98-A747-98BC9641F3F1}"/>
                </a:ext>
              </a:extLst>
            </p:cNvPr>
            <p:cNvSpPr/>
            <p:nvPr/>
          </p:nvSpPr>
          <p:spPr>
            <a:xfrm>
              <a:off x="2764672" y="2500358"/>
              <a:ext cx="158537" cy="311524"/>
            </a:xfrm>
            <a:custGeom>
              <a:avLst/>
              <a:gdLst/>
              <a:ahLst/>
              <a:cxnLst/>
              <a:rect l="l" t="t" r="r" b="b"/>
              <a:pathLst>
                <a:path w="158537" h="311524" extrusionOk="0">
                  <a:moveTo>
                    <a:pt x="67807" y="240979"/>
                  </a:moveTo>
                  <a:cubicBezTo>
                    <a:pt x="81791" y="265992"/>
                    <a:pt x="98811" y="289195"/>
                    <a:pt x="118480" y="310035"/>
                  </a:cubicBezTo>
                  <a:cubicBezTo>
                    <a:pt x="124004" y="316417"/>
                    <a:pt x="166105" y="300510"/>
                    <a:pt x="157342" y="295748"/>
                  </a:cubicBezTo>
                  <a:cubicBezTo>
                    <a:pt x="148579" y="290985"/>
                    <a:pt x="120861" y="252695"/>
                    <a:pt x="107050" y="227073"/>
                  </a:cubicBezTo>
                  <a:cubicBezTo>
                    <a:pt x="95443" y="196383"/>
                    <a:pt x="85585" y="165055"/>
                    <a:pt x="77522" y="133251"/>
                  </a:cubicBezTo>
                  <a:cubicBezTo>
                    <a:pt x="68855" y="101819"/>
                    <a:pt x="61330" y="55718"/>
                    <a:pt x="55043" y="34001"/>
                  </a:cubicBezTo>
                  <a:cubicBezTo>
                    <a:pt x="51648" y="17665"/>
                    <a:pt x="39025" y="4826"/>
                    <a:pt x="22754" y="1140"/>
                  </a:cubicBezTo>
                  <a:cubicBezTo>
                    <a:pt x="7514" y="-2385"/>
                    <a:pt x="-2297" y="1806"/>
                    <a:pt x="465" y="20190"/>
                  </a:cubicBezTo>
                  <a:cubicBezTo>
                    <a:pt x="5323" y="52384"/>
                    <a:pt x="30564" y="177638"/>
                    <a:pt x="67807" y="24097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3778;p38">
              <a:extLst>
                <a:ext uri="{FF2B5EF4-FFF2-40B4-BE49-F238E27FC236}">
                  <a16:creationId xmlns:a16="http://schemas.microsoft.com/office/drawing/2014/main" id="{D3111F32-13EB-4807-94B4-EBBC7AB9BDBF}"/>
                </a:ext>
              </a:extLst>
            </p:cNvPr>
            <p:cNvSpPr/>
            <p:nvPr/>
          </p:nvSpPr>
          <p:spPr>
            <a:xfrm>
              <a:off x="2800168" y="3231875"/>
              <a:ext cx="108892" cy="84472"/>
            </a:xfrm>
            <a:custGeom>
              <a:avLst/>
              <a:gdLst/>
              <a:ahLst/>
              <a:cxnLst/>
              <a:rect l="l" t="t" r="r" b="b"/>
              <a:pathLst>
                <a:path w="108892" h="84472" extrusionOk="0">
                  <a:moveTo>
                    <a:pt x="8117" y="0"/>
                  </a:moveTo>
                  <a:cubicBezTo>
                    <a:pt x="21166" y="10668"/>
                    <a:pt x="40502" y="953"/>
                    <a:pt x="41455" y="1905"/>
                  </a:cubicBezTo>
                  <a:cubicBezTo>
                    <a:pt x="56774" y="16173"/>
                    <a:pt x="72863" y="29594"/>
                    <a:pt x="89651" y="42101"/>
                  </a:cubicBezTo>
                  <a:cubicBezTo>
                    <a:pt x="97843" y="48482"/>
                    <a:pt x="110606" y="57055"/>
                    <a:pt x="108701" y="69437"/>
                  </a:cubicBezTo>
                  <a:cubicBezTo>
                    <a:pt x="104605" y="91440"/>
                    <a:pt x="69363" y="84677"/>
                    <a:pt x="56028" y="77914"/>
                  </a:cubicBezTo>
                  <a:cubicBezTo>
                    <a:pt x="42693" y="71152"/>
                    <a:pt x="31834" y="60007"/>
                    <a:pt x="19261" y="52197"/>
                  </a:cubicBezTo>
                  <a:cubicBezTo>
                    <a:pt x="10308" y="46577"/>
                    <a:pt x="1450" y="43720"/>
                    <a:pt x="211" y="32385"/>
                  </a:cubicBezTo>
                  <a:cubicBezTo>
                    <a:pt x="-1313" y="25622"/>
                    <a:pt x="5831" y="0"/>
                    <a:pt x="8117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" name="Google Shape;3779;p38">
              <a:extLst>
                <a:ext uri="{FF2B5EF4-FFF2-40B4-BE49-F238E27FC236}">
                  <a16:creationId xmlns:a16="http://schemas.microsoft.com/office/drawing/2014/main" id="{83535461-B1CC-4D57-A1AD-6D3794BDD1D1}"/>
                </a:ext>
              </a:extLst>
            </p:cNvPr>
            <p:cNvSpPr/>
            <p:nvPr/>
          </p:nvSpPr>
          <p:spPr>
            <a:xfrm>
              <a:off x="2799603" y="3259783"/>
              <a:ext cx="108313" cy="56238"/>
            </a:xfrm>
            <a:custGeom>
              <a:avLst/>
              <a:gdLst/>
              <a:ahLst/>
              <a:cxnLst/>
              <a:rect l="l" t="t" r="r" b="b"/>
              <a:pathLst>
                <a:path w="108313" h="56238" extrusionOk="0">
                  <a:moveTo>
                    <a:pt x="300" y="0"/>
                  </a:moveTo>
                  <a:cubicBezTo>
                    <a:pt x="2015" y="10859"/>
                    <a:pt x="10778" y="13811"/>
                    <a:pt x="19350" y="19050"/>
                  </a:cubicBezTo>
                  <a:cubicBezTo>
                    <a:pt x="32209" y="26956"/>
                    <a:pt x="43449" y="38100"/>
                    <a:pt x="56784" y="45149"/>
                  </a:cubicBezTo>
                  <a:cubicBezTo>
                    <a:pt x="70119" y="52197"/>
                    <a:pt x="99741" y="57626"/>
                    <a:pt x="108314" y="41815"/>
                  </a:cubicBezTo>
                  <a:cubicBezTo>
                    <a:pt x="103647" y="63055"/>
                    <a:pt x="68976" y="56388"/>
                    <a:pt x="55831" y="49721"/>
                  </a:cubicBezTo>
                  <a:cubicBezTo>
                    <a:pt x="42687" y="43053"/>
                    <a:pt x="31638" y="31813"/>
                    <a:pt x="19065" y="24003"/>
                  </a:cubicBezTo>
                  <a:cubicBezTo>
                    <a:pt x="10111" y="18383"/>
                    <a:pt x="1253" y="15526"/>
                    <a:pt x="15" y="4191"/>
                  </a:cubicBezTo>
                  <a:cubicBezTo>
                    <a:pt x="-40" y="2791"/>
                    <a:pt x="57" y="1381"/>
                    <a:pt x="30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" name="Google Shape;3780;p38">
              <a:extLst>
                <a:ext uri="{FF2B5EF4-FFF2-40B4-BE49-F238E27FC236}">
                  <a16:creationId xmlns:a16="http://schemas.microsoft.com/office/drawing/2014/main" id="{2E5BC02B-C6E5-4258-B0D8-54A88AFA2EB9}"/>
                </a:ext>
              </a:extLst>
            </p:cNvPr>
            <p:cNvSpPr/>
            <p:nvPr/>
          </p:nvSpPr>
          <p:spPr>
            <a:xfrm>
              <a:off x="2931444" y="3155618"/>
              <a:ext cx="108758" cy="81374"/>
            </a:xfrm>
            <a:custGeom>
              <a:avLst/>
              <a:gdLst/>
              <a:ahLst/>
              <a:cxnLst/>
              <a:rect l="l" t="t" r="r" b="b"/>
              <a:pathLst>
                <a:path w="108758" h="81374" extrusionOk="0">
                  <a:moveTo>
                    <a:pt x="9430" y="56"/>
                  </a:moveTo>
                  <a:cubicBezTo>
                    <a:pt x="22574" y="10724"/>
                    <a:pt x="45434" y="-896"/>
                    <a:pt x="46387" y="56"/>
                  </a:cubicBezTo>
                  <a:cubicBezTo>
                    <a:pt x="60035" y="13829"/>
                    <a:pt x="74440" y="26841"/>
                    <a:pt x="89535" y="39013"/>
                  </a:cubicBezTo>
                  <a:cubicBezTo>
                    <a:pt x="97631" y="45395"/>
                    <a:pt x="110395" y="53968"/>
                    <a:pt x="108585" y="66255"/>
                  </a:cubicBezTo>
                  <a:cubicBezTo>
                    <a:pt x="104489" y="88353"/>
                    <a:pt x="69152" y="81590"/>
                    <a:pt x="55817" y="74827"/>
                  </a:cubicBezTo>
                  <a:cubicBezTo>
                    <a:pt x="42481" y="68065"/>
                    <a:pt x="31623" y="56920"/>
                    <a:pt x="19050" y="49110"/>
                  </a:cubicBezTo>
                  <a:cubicBezTo>
                    <a:pt x="10097" y="43490"/>
                    <a:pt x="1238" y="40633"/>
                    <a:pt x="0" y="29298"/>
                  </a:cubicBezTo>
                  <a:cubicBezTo>
                    <a:pt x="599" y="18906"/>
                    <a:pt x="3845" y="8838"/>
                    <a:pt x="9430" y="56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" name="Google Shape;3781;p38">
              <a:extLst>
                <a:ext uri="{FF2B5EF4-FFF2-40B4-BE49-F238E27FC236}">
                  <a16:creationId xmlns:a16="http://schemas.microsoft.com/office/drawing/2014/main" id="{B78A4AC8-5E7E-4105-9302-BA4AFB7AA5ED}"/>
                </a:ext>
              </a:extLst>
            </p:cNvPr>
            <p:cNvSpPr/>
            <p:nvPr/>
          </p:nvSpPr>
          <p:spPr>
            <a:xfrm>
              <a:off x="2931020" y="3181773"/>
              <a:ext cx="108151" cy="56575"/>
            </a:xfrm>
            <a:custGeom>
              <a:avLst/>
              <a:gdLst/>
              <a:ahLst/>
              <a:cxnLst/>
              <a:rect l="l" t="t" r="r" b="b"/>
              <a:pathLst>
                <a:path w="108151" h="56575" extrusionOk="0">
                  <a:moveTo>
                    <a:pt x="138" y="0"/>
                  </a:moveTo>
                  <a:cubicBezTo>
                    <a:pt x="1948" y="10859"/>
                    <a:pt x="10615" y="13811"/>
                    <a:pt x="19188" y="19050"/>
                  </a:cubicBezTo>
                  <a:cubicBezTo>
                    <a:pt x="31951" y="26956"/>
                    <a:pt x="43286" y="38100"/>
                    <a:pt x="56526" y="45149"/>
                  </a:cubicBezTo>
                  <a:cubicBezTo>
                    <a:pt x="69766" y="52197"/>
                    <a:pt x="99579" y="57626"/>
                    <a:pt x="108151" y="41815"/>
                  </a:cubicBezTo>
                  <a:cubicBezTo>
                    <a:pt x="103579" y="63437"/>
                    <a:pt x="69194" y="56769"/>
                    <a:pt x="55954" y="50102"/>
                  </a:cubicBezTo>
                  <a:cubicBezTo>
                    <a:pt x="42715" y="43434"/>
                    <a:pt x="31761" y="32195"/>
                    <a:pt x="19188" y="24384"/>
                  </a:cubicBezTo>
                  <a:cubicBezTo>
                    <a:pt x="9663" y="18764"/>
                    <a:pt x="1281" y="15907"/>
                    <a:pt x="138" y="4572"/>
                  </a:cubicBezTo>
                  <a:cubicBezTo>
                    <a:pt x="-46" y="3058"/>
                    <a:pt x="-46" y="1514"/>
                    <a:pt x="138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" name="Google Shape;3782;p38">
              <a:extLst>
                <a:ext uri="{FF2B5EF4-FFF2-40B4-BE49-F238E27FC236}">
                  <a16:creationId xmlns:a16="http://schemas.microsoft.com/office/drawing/2014/main" id="{2B312E13-5929-4173-A181-1907797FCCB1}"/>
                </a:ext>
              </a:extLst>
            </p:cNvPr>
            <p:cNvSpPr/>
            <p:nvPr/>
          </p:nvSpPr>
          <p:spPr>
            <a:xfrm>
              <a:off x="2630424" y="2780976"/>
              <a:ext cx="382278" cy="462504"/>
            </a:xfrm>
            <a:custGeom>
              <a:avLst/>
              <a:gdLst/>
              <a:ahLst/>
              <a:cxnLst/>
              <a:rect l="l" t="t" r="r" b="b"/>
              <a:pathLst>
                <a:path w="382278" h="462504" extrusionOk="0">
                  <a:moveTo>
                    <a:pt x="2983" y="31799"/>
                  </a:moveTo>
                  <a:cubicBezTo>
                    <a:pt x="-11495" y="122381"/>
                    <a:pt x="28700" y="156100"/>
                    <a:pt x="80993" y="175435"/>
                  </a:cubicBezTo>
                  <a:cubicBezTo>
                    <a:pt x="118521" y="189247"/>
                    <a:pt x="172337" y="210488"/>
                    <a:pt x="172337" y="210488"/>
                  </a:cubicBezTo>
                  <a:cubicBezTo>
                    <a:pt x="172337" y="210488"/>
                    <a:pt x="171575" y="230395"/>
                    <a:pt x="171194" y="274972"/>
                  </a:cubicBezTo>
                  <a:cubicBezTo>
                    <a:pt x="171194" y="314310"/>
                    <a:pt x="175957" y="457661"/>
                    <a:pt x="175957" y="457661"/>
                  </a:cubicBezTo>
                  <a:cubicBezTo>
                    <a:pt x="188510" y="464119"/>
                    <a:pt x="203409" y="464119"/>
                    <a:pt x="215962" y="457661"/>
                  </a:cubicBezTo>
                  <a:cubicBezTo>
                    <a:pt x="215962" y="457661"/>
                    <a:pt x="237107" y="347743"/>
                    <a:pt x="241584" y="298213"/>
                  </a:cubicBezTo>
                  <a:cubicBezTo>
                    <a:pt x="247585" y="231062"/>
                    <a:pt x="257967" y="187056"/>
                    <a:pt x="254538" y="172578"/>
                  </a:cubicBezTo>
                  <a:cubicBezTo>
                    <a:pt x="251490" y="159815"/>
                    <a:pt x="178338" y="123715"/>
                    <a:pt x="154716" y="104379"/>
                  </a:cubicBezTo>
                  <a:lnTo>
                    <a:pt x="308926" y="155624"/>
                  </a:lnTo>
                  <a:cubicBezTo>
                    <a:pt x="305837" y="172302"/>
                    <a:pt x="304338" y="189237"/>
                    <a:pt x="304449" y="206201"/>
                  </a:cubicBezTo>
                  <a:cubicBezTo>
                    <a:pt x="305878" y="259541"/>
                    <a:pt x="308735" y="374889"/>
                    <a:pt x="308735" y="374889"/>
                  </a:cubicBezTo>
                  <a:cubicBezTo>
                    <a:pt x="308735" y="374889"/>
                    <a:pt x="329881" y="390129"/>
                    <a:pt x="347883" y="374889"/>
                  </a:cubicBezTo>
                  <a:cubicBezTo>
                    <a:pt x="347883" y="374889"/>
                    <a:pt x="386555" y="146289"/>
                    <a:pt x="381887" y="116190"/>
                  </a:cubicBezTo>
                  <a:cubicBezTo>
                    <a:pt x="377411" y="87615"/>
                    <a:pt x="241870" y="28846"/>
                    <a:pt x="217962" y="8653"/>
                  </a:cubicBezTo>
                  <a:cubicBezTo>
                    <a:pt x="209558" y="1757"/>
                    <a:pt x="198605" y="-1225"/>
                    <a:pt x="187863" y="46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" name="Google Shape;3783;p38">
              <a:extLst>
                <a:ext uri="{FF2B5EF4-FFF2-40B4-BE49-F238E27FC236}">
                  <a16:creationId xmlns:a16="http://schemas.microsoft.com/office/drawing/2014/main" id="{6A4C6128-AE7F-45F8-8260-93BC83DF8AC7}"/>
                </a:ext>
              </a:extLst>
            </p:cNvPr>
            <p:cNvSpPr/>
            <p:nvPr/>
          </p:nvSpPr>
          <p:spPr>
            <a:xfrm>
              <a:off x="2662372" y="2471875"/>
              <a:ext cx="120066" cy="117360"/>
            </a:xfrm>
            <a:custGeom>
              <a:avLst/>
              <a:gdLst/>
              <a:ahLst/>
              <a:cxnLst/>
              <a:rect l="l" t="t" r="r" b="b"/>
              <a:pathLst>
                <a:path w="120066" h="117360" extrusionOk="0">
                  <a:moveTo>
                    <a:pt x="24565" y="0"/>
                  </a:moveTo>
                  <a:cubicBezTo>
                    <a:pt x="24565" y="0"/>
                    <a:pt x="26756" y="43148"/>
                    <a:pt x="25804" y="46958"/>
                  </a:cubicBezTo>
                  <a:cubicBezTo>
                    <a:pt x="24851" y="50768"/>
                    <a:pt x="5992" y="63436"/>
                    <a:pt x="562" y="67913"/>
                  </a:cubicBezTo>
                  <a:cubicBezTo>
                    <a:pt x="-4867" y="72390"/>
                    <a:pt x="30376" y="107251"/>
                    <a:pt x="47521" y="115538"/>
                  </a:cubicBezTo>
                  <a:cubicBezTo>
                    <a:pt x="64666" y="123825"/>
                    <a:pt x="119053" y="102679"/>
                    <a:pt x="120006" y="75914"/>
                  </a:cubicBezTo>
                  <a:cubicBezTo>
                    <a:pt x="120958" y="49149"/>
                    <a:pt x="110481" y="26765"/>
                    <a:pt x="102385" y="25622"/>
                  </a:cubicBezTo>
                  <a:cubicBezTo>
                    <a:pt x="94288" y="24479"/>
                    <a:pt x="24565" y="0"/>
                    <a:pt x="24565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" name="Google Shape;3784;p38">
              <a:extLst>
                <a:ext uri="{FF2B5EF4-FFF2-40B4-BE49-F238E27FC236}">
                  <a16:creationId xmlns:a16="http://schemas.microsoft.com/office/drawing/2014/main" id="{8E93E66B-A8AC-418B-8A0A-38D0364B1C3A}"/>
                </a:ext>
              </a:extLst>
            </p:cNvPr>
            <p:cNvSpPr/>
            <p:nvPr/>
          </p:nvSpPr>
          <p:spPr>
            <a:xfrm>
              <a:off x="2630208" y="2488280"/>
              <a:ext cx="194941" cy="380900"/>
            </a:xfrm>
            <a:custGeom>
              <a:avLst/>
              <a:gdLst/>
              <a:ahLst/>
              <a:cxnLst/>
              <a:rect l="l" t="t" r="r" b="b"/>
              <a:pathLst>
                <a:path w="194941" h="380900" extrusionOk="0">
                  <a:moveTo>
                    <a:pt x="51967" y="37982"/>
                  </a:moveTo>
                  <a:cubicBezTo>
                    <a:pt x="51967" y="37982"/>
                    <a:pt x="83304" y="84655"/>
                    <a:pt x="126928" y="89036"/>
                  </a:cubicBezTo>
                  <a:cubicBezTo>
                    <a:pt x="140740" y="75416"/>
                    <a:pt x="141978" y="27124"/>
                    <a:pt x="122928" y="11694"/>
                  </a:cubicBezTo>
                  <a:cubicBezTo>
                    <a:pt x="122928" y="11694"/>
                    <a:pt x="140454" y="-2404"/>
                    <a:pt x="152455" y="359"/>
                  </a:cubicBezTo>
                  <a:cubicBezTo>
                    <a:pt x="165339" y="8141"/>
                    <a:pt x="174927" y="20371"/>
                    <a:pt x="179411" y="34744"/>
                  </a:cubicBezTo>
                  <a:cubicBezTo>
                    <a:pt x="190515" y="66815"/>
                    <a:pt x="195743" y="100638"/>
                    <a:pt x="194842" y="134566"/>
                  </a:cubicBezTo>
                  <a:cubicBezTo>
                    <a:pt x="194175" y="180286"/>
                    <a:pt x="194842" y="296015"/>
                    <a:pt x="194842" y="296015"/>
                  </a:cubicBezTo>
                  <a:cubicBezTo>
                    <a:pt x="189720" y="323790"/>
                    <a:pt x="172934" y="348031"/>
                    <a:pt x="148741" y="362594"/>
                  </a:cubicBezTo>
                  <a:cubicBezTo>
                    <a:pt x="117245" y="380282"/>
                    <a:pt x="80217" y="385388"/>
                    <a:pt x="45109" y="376882"/>
                  </a:cubicBezTo>
                  <a:cubicBezTo>
                    <a:pt x="23011" y="371738"/>
                    <a:pt x="14724" y="359356"/>
                    <a:pt x="7009" y="343259"/>
                  </a:cubicBezTo>
                  <a:cubicBezTo>
                    <a:pt x="9009" y="311255"/>
                    <a:pt x="21677" y="245246"/>
                    <a:pt x="16534" y="204861"/>
                  </a:cubicBezTo>
                  <a:cubicBezTo>
                    <a:pt x="11390" y="164475"/>
                    <a:pt x="2722" y="134471"/>
                    <a:pt x="436" y="101800"/>
                  </a:cubicBezTo>
                  <a:cubicBezTo>
                    <a:pt x="-1850" y="69129"/>
                    <a:pt x="4818" y="69891"/>
                    <a:pt x="21106" y="58271"/>
                  </a:cubicBezTo>
                  <a:cubicBezTo>
                    <a:pt x="30902" y="50794"/>
                    <a:pt x="41215" y="44012"/>
                    <a:pt x="51967" y="3798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" name="Google Shape;3785;p38">
              <a:extLst>
                <a:ext uri="{FF2B5EF4-FFF2-40B4-BE49-F238E27FC236}">
                  <a16:creationId xmlns:a16="http://schemas.microsoft.com/office/drawing/2014/main" id="{F2F72D24-8384-4FED-B4EB-9DCA8DC77D16}"/>
                </a:ext>
              </a:extLst>
            </p:cNvPr>
            <p:cNvSpPr/>
            <p:nvPr/>
          </p:nvSpPr>
          <p:spPr>
            <a:xfrm>
              <a:off x="2658361" y="2350349"/>
              <a:ext cx="128870" cy="157700"/>
            </a:xfrm>
            <a:custGeom>
              <a:avLst/>
              <a:gdLst/>
              <a:ahLst/>
              <a:cxnLst/>
              <a:rect l="l" t="t" r="r" b="b"/>
              <a:pathLst>
                <a:path w="128870" h="157700" extrusionOk="0">
                  <a:moveTo>
                    <a:pt x="126208" y="57232"/>
                  </a:moveTo>
                  <a:lnTo>
                    <a:pt x="126208" y="57232"/>
                  </a:lnTo>
                  <a:cubicBezTo>
                    <a:pt x="121064" y="23704"/>
                    <a:pt x="96871" y="-1632"/>
                    <a:pt x="62390" y="82"/>
                  </a:cubicBezTo>
                  <a:cubicBezTo>
                    <a:pt x="25643" y="2454"/>
                    <a:pt x="-2228" y="34162"/>
                    <a:pt x="140" y="70910"/>
                  </a:cubicBezTo>
                  <a:cubicBezTo>
                    <a:pt x="1446" y="91170"/>
                    <a:pt x="11913" y="109734"/>
                    <a:pt x="28576" y="121335"/>
                  </a:cubicBezTo>
                  <a:cubicBezTo>
                    <a:pt x="29769" y="126384"/>
                    <a:pt x="31560" y="131279"/>
                    <a:pt x="33910" y="135909"/>
                  </a:cubicBezTo>
                  <a:cubicBezTo>
                    <a:pt x="46102" y="150196"/>
                    <a:pt x="83059" y="159054"/>
                    <a:pt x="93632" y="157530"/>
                  </a:cubicBezTo>
                  <a:cubicBezTo>
                    <a:pt x="106549" y="156387"/>
                    <a:pt x="117460" y="147481"/>
                    <a:pt x="121159" y="135051"/>
                  </a:cubicBezTo>
                  <a:cubicBezTo>
                    <a:pt x="132589" y="108953"/>
                    <a:pt x="128589" y="73806"/>
                    <a:pt x="126208" y="5723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" name="Google Shape;3786;p38">
              <a:extLst>
                <a:ext uri="{FF2B5EF4-FFF2-40B4-BE49-F238E27FC236}">
                  <a16:creationId xmlns:a16="http://schemas.microsoft.com/office/drawing/2014/main" id="{9E8C7B34-9C86-4D37-A856-E1A922758D2D}"/>
                </a:ext>
              </a:extLst>
            </p:cNvPr>
            <p:cNvSpPr/>
            <p:nvPr/>
          </p:nvSpPr>
          <p:spPr>
            <a:xfrm>
              <a:off x="2645583" y="2336673"/>
              <a:ext cx="136833" cy="135201"/>
            </a:xfrm>
            <a:custGeom>
              <a:avLst/>
              <a:gdLst/>
              <a:ahLst/>
              <a:cxnLst/>
              <a:rect l="l" t="t" r="r" b="b"/>
              <a:pathLst>
                <a:path w="136833" h="135201" extrusionOk="0">
                  <a:moveTo>
                    <a:pt x="41354" y="135202"/>
                  </a:moveTo>
                  <a:lnTo>
                    <a:pt x="41354" y="135202"/>
                  </a:lnTo>
                  <a:lnTo>
                    <a:pt x="44497" y="105960"/>
                  </a:lnTo>
                  <a:cubicBezTo>
                    <a:pt x="44497" y="105960"/>
                    <a:pt x="20685" y="44143"/>
                    <a:pt x="77073" y="56049"/>
                  </a:cubicBezTo>
                  <a:cubicBezTo>
                    <a:pt x="114220" y="63860"/>
                    <a:pt x="123555" y="67289"/>
                    <a:pt x="134890" y="42333"/>
                  </a:cubicBezTo>
                  <a:cubicBezTo>
                    <a:pt x="146224" y="17378"/>
                    <a:pt x="106315" y="-5292"/>
                    <a:pt x="58690" y="1090"/>
                  </a:cubicBezTo>
                  <a:cubicBezTo>
                    <a:pt x="24779" y="4690"/>
                    <a:pt x="-720" y="33675"/>
                    <a:pt x="16" y="67765"/>
                  </a:cubicBezTo>
                  <a:cubicBezTo>
                    <a:pt x="1444" y="86053"/>
                    <a:pt x="6302" y="123677"/>
                    <a:pt x="41354" y="135202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3787;p38">
              <a:extLst>
                <a:ext uri="{FF2B5EF4-FFF2-40B4-BE49-F238E27FC236}">
                  <a16:creationId xmlns:a16="http://schemas.microsoft.com/office/drawing/2014/main" id="{846ACF1F-EBBC-4F52-AB54-CDEFA3D88547}"/>
                </a:ext>
              </a:extLst>
            </p:cNvPr>
            <p:cNvSpPr/>
            <p:nvPr/>
          </p:nvSpPr>
          <p:spPr>
            <a:xfrm>
              <a:off x="2782568" y="2488639"/>
              <a:ext cx="62960" cy="91535"/>
            </a:xfrm>
            <a:custGeom>
              <a:avLst/>
              <a:gdLst/>
              <a:ahLst/>
              <a:cxnLst/>
              <a:rect l="l" t="t" r="r" b="b"/>
              <a:pathLst>
                <a:path w="62960" h="91535" extrusionOk="0">
                  <a:moveTo>
                    <a:pt x="40195" y="91535"/>
                  </a:moveTo>
                  <a:cubicBezTo>
                    <a:pt x="48803" y="91154"/>
                    <a:pt x="56942" y="87506"/>
                    <a:pt x="62960" y="81343"/>
                  </a:cubicBezTo>
                  <a:cubicBezTo>
                    <a:pt x="61722" y="65342"/>
                    <a:pt x="41243" y="4477"/>
                    <a:pt x="0" y="0"/>
                  </a:cubicBezTo>
                  <a:cubicBezTo>
                    <a:pt x="11224" y="7830"/>
                    <a:pt x="20113" y="18564"/>
                    <a:pt x="25718" y="31051"/>
                  </a:cubicBezTo>
                  <a:cubicBezTo>
                    <a:pt x="32101" y="50806"/>
                    <a:pt x="36942" y="71028"/>
                    <a:pt x="40195" y="9153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92" name="Google Shape;3788;p38">
              <a:extLst>
                <a:ext uri="{FF2B5EF4-FFF2-40B4-BE49-F238E27FC236}">
                  <a16:creationId xmlns:a16="http://schemas.microsoft.com/office/drawing/2014/main" id="{62D8150B-414C-4F19-9CFB-1F245D539A6B}"/>
                </a:ext>
              </a:extLst>
            </p:cNvPr>
            <p:cNvGrpSpPr/>
            <p:nvPr/>
          </p:nvGrpSpPr>
          <p:grpSpPr>
            <a:xfrm flipH="1">
              <a:off x="2710663" y="2723583"/>
              <a:ext cx="319677" cy="242660"/>
              <a:chOff x="6621095" y="1452181"/>
              <a:chExt cx="330894" cy="250785"/>
            </a:xfrm>
          </p:grpSpPr>
          <p:sp>
            <p:nvSpPr>
              <p:cNvPr id="101" name="Google Shape;3789;p38">
                <a:extLst>
                  <a:ext uri="{FF2B5EF4-FFF2-40B4-BE49-F238E27FC236}">
                    <a16:creationId xmlns:a16="http://schemas.microsoft.com/office/drawing/2014/main" id="{E9B1C2AD-F4A3-4E8D-A32C-8049D3EE814C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3790;p38">
                <a:extLst>
                  <a:ext uri="{FF2B5EF4-FFF2-40B4-BE49-F238E27FC236}">
                    <a16:creationId xmlns:a16="http://schemas.microsoft.com/office/drawing/2014/main" id="{F23B7DD7-FE48-4FCE-8446-9B6229263805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3791;p38">
                <a:extLst>
                  <a:ext uri="{FF2B5EF4-FFF2-40B4-BE49-F238E27FC236}">
                    <a16:creationId xmlns:a16="http://schemas.microsoft.com/office/drawing/2014/main" id="{3D307C77-038B-40B2-AB5A-8061EBC71389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3792;p38">
                <a:extLst>
                  <a:ext uri="{FF2B5EF4-FFF2-40B4-BE49-F238E27FC236}">
                    <a16:creationId xmlns:a16="http://schemas.microsoft.com/office/drawing/2014/main" id="{D6EE24D0-6DCA-4FB5-B9FB-E2C393A39E72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3793;p38">
                <a:extLst>
                  <a:ext uri="{FF2B5EF4-FFF2-40B4-BE49-F238E27FC236}">
                    <a16:creationId xmlns:a16="http://schemas.microsoft.com/office/drawing/2014/main" id="{417BEFDD-3F8F-4C41-AE93-62EF6E3A18B6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93" name="Google Shape;3794;p38">
              <a:extLst>
                <a:ext uri="{FF2B5EF4-FFF2-40B4-BE49-F238E27FC236}">
                  <a16:creationId xmlns:a16="http://schemas.microsoft.com/office/drawing/2014/main" id="{72653679-4F46-4187-9B2F-FDC4F3F59A11}"/>
                </a:ext>
              </a:extLst>
            </p:cNvPr>
            <p:cNvSpPr/>
            <p:nvPr/>
          </p:nvSpPr>
          <p:spPr>
            <a:xfrm>
              <a:off x="2596421" y="2551548"/>
              <a:ext cx="147299" cy="413263"/>
            </a:xfrm>
            <a:custGeom>
              <a:avLst/>
              <a:gdLst/>
              <a:ahLst/>
              <a:cxnLst/>
              <a:rect l="l" t="t" r="r" b="b"/>
              <a:pathLst>
                <a:path w="147299" h="413263" extrusionOk="0">
                  <a:moveTo>
                    <a:pt x="135855" y="346380"/>
                  </a:moveTo>
                  <a:cubicBezTo>
                    <a:pt x="128010" y="341189"/>
                    <a:pt x="119833" y="336503"/>
                    <a:pt x="111376" y="332378"/>
                  </a:cubicBezTo>
                  <a:cubicBezTo>
                    <a:pt x="103452" y="329902"/>
                    <a:pt x="96257" y="325520"/>
                    <a:pt x="90421" y="319615"/>
                  </a:cubicBezTo>
                  <a:cubicBezTo>
                    <a:pt x="82706" y="312090"/>
                    <a:pt x="70133" y="283705"/>
                    <a:pt x="61179" y="255988"/>
                  </a:cubicBezTo>
                  <a:cubicBezTo>
                    <a:pt x="52178" y="224727"/>
                    <a:pt x="48602" y="192161"/>
                    <a:pt x="50607" y="159690"/>
                  </a:cubicBezTo>
                  <a:cubicBezTo>
                    <a:pt x="54417" y="120828"/>
                    <a:pt x="68418" y="66440"/>
                    <a:pt x="71943" y="44057"/>
                  </a:cubicBezTo>
                  <a:cubicBezTo>
                    <a:pt x="75467" y="21673"/>
                    <a:pt x="68323" y="12719"/>
                    <a:pt x="57941" y="4528"/>
                  </a:cubicBezTo>
                  <a:cubicBezTo>
                    <a:pt x="45654" y="-4997"/>
                    <a:pt x="28794" y="-901"/>
                    <a:pt x="19841" y="30436"/>
                  </a:cubicBezTo>
                  <a:cubicBezTo>
                    <a:pt x="8316" y="73822"/>
                    <a:pt x="1670" y="118352"/>
                    <a:pt x="29" y="163214"/>
                  </a:cubicBezTo>
                  <a:cubicBezTo>
                    <a:pt x="-431" y="196476"/>
                    <a:pt x="4590" y="229594"/>
                    <a:pt x="14888" y="261227"/>
                  </a:cubicBezTo>
                  <a:cubicBezTo>
                    <a:pt x="24235" y="288316"/>
                    <a:pt x="36803" y="314186"/>
                    <a:pt x="52321" y="338284"/>
                  </a:cubicBezTo>
                  <a:cubicBezTo>
                    <a:pt x="56607" y="345523"/>
                    <a:pt x="58036" y="351904"/>
                    <a:pt x="64513" y="366859"/>
                  </a:cubicBezTo>
                  <a:cubicBezTo>
                    <a:pt x="70828" y="381680"/>
                    <a:pt x="80631" y="394748"/>
                    <a:pt x="93088" y="404959"/>
                  </a:cubicBezTo>
                  <a:cubicBezTo>
                    <a:pt x="104042" y="412865"/>
                    <a:pt x="109281" y="414484"/>
                    <a:pt x="112138" y="412484"/>
                  </a:cubicBezTo>
                  <a:cubicBezTo>
                    <a:pt x="114996" y="410483"/>
                    <a:pt x="114710" y="407054"/>
                    <a:pt x="110138" y="402959"/>
                  </a:cubicBezTo>
                  <a:cubicBezTo>
                    <a:pt x="102321" y="396910"/>
                    <a:pt x="95671" y="389481"/>
                    <a:pt x="90516" y="381051"/>
                  </a:cubicBezTo>
                  <a:cubicBezTo>
                    <a:pt x="90516" y="381051"/>
                    <a:pt x="100041" y="390576"/>
                    <a:pt x="106423" y="395910"/>
                  </a:cubicBezTo>
                  <a:cubicBezTo>
                    <a:pt x="111985" y="400596"/>
                    <a:pt x="118133" y="404530"/>
                    <a:pt x="124711" y="407626"/>
                  </a:cubicBezTo>
                  <a:cubicBezTo>
                    <a:pt x="131188" y="410483"/>
                    <a:pt x="140046" y="405054"/>
                    <a:pt x="135474" y="400673"/>
                  </a:cubicBezTo>
                  <a:cubicBezTo>
                    <a:pt x="130903" y="396291"/>
                    <a:pt x="125949" y="394291"/>
                    <a:pt x="117186" y="386290"/>
                  </a:cubicBezTo>
                  <a:cubicBezTo>
                    <a:pt x="112272" y="382147"/>
                    <a:pt x="107888" y="377412"/>
                    <a:pt x="104137" y="372193"/>
                  </a:cubicBezTo>
                  <a:cubicBezTo>
                    <a:pt x="110508" y="377022"/>
                    <a:pt x="117261" y="381318"/>
                    <a:pt x="124330" y="385052"/>
                  </a:cubicBezTo>
                  <a:cubicBezTo>
                    <a:pt x="129883" y="388462"/>
                    <a:pt x="136294" y="390214"/>
                    <a:pt x="142809" y="390100"/>
                  </a:cubicBezTo>
                  <a:cubicBezTo>
                    <a:pt x="146238" y="390100"/>
                    <a:pt x="150333" y="385242"/>
                    <a:pt x="143952" y="380575"/>
                  </a:cubicBezTo>
                  <a:cubicBezTo>
                    <a:pt x="135271" y="376012"/>
                    <a:pt x="127152" y="370450"/>
                    <a:pt x="119758" y="364001"/>
                  </a:cubicBezTo>
                  <a:cubicBezTo>
                    <a:pt x="112710" y="357048"/>
                    <a:pt x="108709" y="351143"/>
                    <a:pt x="110233" y="351047"/>
                  </a:cubicBezTo>
                  <a:cubicBezTo>
                    <a:pt x="111757" y="350952"/>
                    <a:pt x="116043" y="355238"/>
                    <a:pt x="124235" y="357810"/>
                  </a:cubicBezTo>
                  <a:cubicBezTo>
                    <a:pt x="132427" y="360382"/>
                    <a:pt x="141285" y="357810"/>
                    <a:pt x="142332" y="353619"/>
                  </a:cubicBezTo>
                  <a:cubicBezTo>
                    <a:pt x="143380" y="349428"/>
                    <a:pt x="143571" y="350190"/>
                    <a:pt x="135855" y="34638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3795;p38">
              <a:extLst>
                <a:ext uri="{FF2B5EF4-FFF2-40B4-BE49-F238E27FC236}">
                  <a16:creationId xmlns:a16="http://schemas.microsoft.com/office/drawing/2014/main" id="{C24C3713-5B59-4134-946B-0ECD7514F901}"/>
                </a:ext>
              </a:extLst>
            </p:cNvPr>
            <p:cNvSpPr/>
            <p:nvPr/>
          </p:nvSpPr>
          <p:spPr>
            <a:xfrm>
              <a:off x="2590449" y="2547578"/>
              <a:ext cx="84867" cy="115327"/>
            </a:xfrm>
            <a:custGeom>
              <a:avLst/>
              <a:gdLst/>
              <a:ahLst/>
              <a:cxnLst/>
              <a:rect l="l" t="t" r="r" b="b"/>
              <a:pathLst>
                <a:path w="84867" h="115327" extrusionOk="0">
                  <a:moveTo>
                    <a:pt x="0" y="91937"/>
                  </a:moveTo>
                  <a:cubicBezTo>
                    <a:pt x="0" y="91937"/>
                    <a:pt x="30766" y="122512"/>
                    <a:pt x="67151" y="113749"/>
                  </a:cubicBezTo>
                  <a:cubicBezTo>
                    <a:pt x="72390" y="110225"/>
                    <a:pt x="84868" y="38692"/>
                    <a:pt x="84868" y="38692"/>
                  </a:cubicBezTo>
                  <a:cubicBezTo>
                    <a:pt x="84868" y="38692"/>
                    <a:pt x="84868" y="-1027"/>
                    <a:pt x="54483" y="20"/>
                  </a:cubicBezTo>
                  <a:cubicBezTo>
                    <a:pt x="24098" y="1068"/>
                    <a:pt x="0" y="91937"/>
                    <a:pt x="0" y="919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95" name="Google Shape;3796;p38">
              <a:extLst>
                <a:ext uri="{FF2B5EF4-FFF2-40B4-BE49-F238E27FC236}">
                  <a16:creationId xmlns:a16="http://schemas.microsoft.com/office/drawing/2014/main" id="{9561C671-CB64-43F6-9C5B-4A006C644EE4}"/>
                </a:ext>
              </a:extLst>
            </p:cNvPr>
            <p:cNvGrpSpPr/>
            <p:nvPr/>
          </p:nvGrpSpPr>
          <p:grpSpPr>
            <a:xfrm>
              <a:off x="4651669" y="468299"/>
              <a:ext cx="319677" cy="242660"/>
              <a:chOff x="6621095" y="1452181"/>
              <a:chExt cx="330894" cy="250785"/>
            </a:xfrm>
          </p:grpSpPr>
          <p:sp>
            <p:nvSpPr>
              <p:cNvPr id="96" name="Google Shape;3797;p38">
                <a:extLst>
                  <a:ext uri="{FF2B5EF4-FFF2-40B4-BE49-F238E27FC236}">
                    <a16:creationId xmlns:a16="http://schemas.microsoft.com/office/drawing/2014/main" id="{E0468806-D479-447F-9A3E-3A38B2FD52B7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3798;p38">
                <a:extLst>
                  <a:ext uri="{FF2B5EF4-FFF2-40B4-BE49-F238E27FC236}">
                    <a16:creationId xmlns:a16="http://schemas.microsoft.com/office/drawing/2014/main" id="{994626DF-F7FC-42B8-910A-E24E27CFA40C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3799;p38">
                <a:extLst>
                  <a:ext uri="{FF2B5EF4-FFF2-40B4-BE49-F238E27FC236}">
                    <a16:creationId xmlns:a16="http://schemas.microsoft.com/office/drawing/2014/main" id="{B719F6C3-0952-4193-96BF-FD8E8AEB319B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3800;p38">
                <a:extLst>
                  <a:ext uri="{FF2B5EF4-FFF2-40B4-BE49-F238E27FC236}">
                    <a16:creationId xmlns:a16="http://schemas.microsoft.com/office/drawing/2014/main" id="{63062D7A-849E-4640-9FF7-5CD86B696DEF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3801;p38">
                <a:extLst>
                  <a:ext uri="{FF2B5EF4-FFF2-40B4-BE49-F238E27FC236}">
                    <a16:creationId xmlns:a16="http://schemas.microsoft.com/office/drawing/2014/main" id="{9E7E8AC3-ABB7-4A42-8D37-3C6F071F6637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861072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oler template">
  <a:themeElements>
    <a:clrScheme name="Custom 347">
      <a:dk1>
        <a:srgbClr val="3A3F50"/>
      </a:dk1>
      <a:lt1>
        <a:srgbClr val="FFFFFF"/>
      </a:lt1>
      <a:dk2>
        <a:srgbClr val="757B89"/>
      </a:dk2>
      <a:lt2>
        <a:srgbClr val="E9EAF2"/>
      </a:lt2>
      <a:accent1>
        <a:srgbClr val="00B5DD"/>
      </a:accent1>
      <a:accent2>
        <a:srgbClr val="007BB9"/>
      </a:accent2>
      <a:accent3>
        <a:srgbClr val="8C50FF"/>
      </a:accent3>
      <a:accent4>
        <a:srgbClr val="FF4D4D"/>
      </a:accent4>
      <a:accent5>
        <a:srgbClr val="F9CB07"/>
      </a:accent5>
      <a:accent6>
        <a:srgbClr val="A6CE28"/>
      </a:accent6>
      <a:hlink>
        <a:srgbClr val="007BB9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41</TotalTime>
  <Words>1403</Words>
  <Application>Microsoft Office PowerPoint</Application>
  <PresentationFormat>On-screen Show (16:9)</PresentationFormat>
  <Paragraphs>214</Paragraphs>
  <Slides>27</Slides>
  <Notes>27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40" baseType="lpstr">
      <vt:lpstr>Montserrat</vt:lpstr>
      <vt:lpstr>Courier New</vt:lpstr>
      <vt:lpstr>Calibri</vt:lpstr>
      <vt:lpstr>Raleway Thin</vt:lpstr>
      <vt:lpstr>Wingdings</vt:lpstr>
      <vt:lpstr>Barlow Light</vt:lpstr>
      <vt:lpstr>Arial</vt:lpstr>
      <vt:lpstr>Barlow</vt:lpstr>
      <vt:lpstr>Georgia</vt:lpstr>
      <vt:lpstr>Barlow SemiBold</vt:lpstr>
      <vt:lpstr>Raleway</vt:lpstr>
      <vt:lpstr>Gaoler template</vt:lpstr>
      <vt:lpstr>think-cell Slide</vt:lpstr>
      <vt:lpstr>Data Science  Jobs Market</vt:lpstr>
      <vt:lpstr>Agenda</vt:lpstr>
      <vt:lpstr>Project motivation</vt:lpstr>
      <vt:lpstr>PowerPoint Presentation</vt:lpstr>
      <vt:lpstr>Objectives</vt:lpstr>
      <vt:lpstr>ETL Process</vt:lpstr>
      <vt:lpstr>Assumptions</vt:lpstr>
      <vt:lpstr>Extraction</vt:lpstr>
      <vt:lpstr>Transformation</vt:lpstr>
      <vt:lpstr>Load</vt:lpstr>
      <vt:lpstr>The loaded database</vt:lpstr>
      <vt:lpstr>Dashboard Creation Process</vt:lpstr>
      <vt:lpstr>Screenshot of the dashboard</vt:lpstr>
      <vt:lpstr>Apps Structure</vt:lpstr>
      <vt:lpstr>Dashboard Design</vt:lpstr>
      <vt:lpstr>Results</vt:lpstr>
      <vt:lpstr>PowerPoint Presentation</vt:lpstr>
      <vt:lpstr>Summary of Insights</vt:lpstr>
      <vt:lpstr>9,871</vt:lpstr>
      <vt:lpstr>Summary</vt:lpstr>
      <vt:lpstr>PowerPoint Presentation</vt:lpstr>
      <vt:lpstr>PowerPoint Presentation</vt:lpstr>
      <vt:lpstr>Repositories</vt:lpstr>
      <vt:lpstr>Future Work</vt:lpstr>
      <vt:lpstr>Future Work</vt:lpstr>
      <vt:lpstr>THANKS!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YOUR PRESENTATION TITLE</dc:title>
  <dc:creator>Thao Hoang</dc:creator>
  <cp:lastModifiedBy>Chunyi Lai</cp:lastModifiedBy>
  <cp:revision>13</cp:revision>
  <dcterms:modified xsi:type="dcterms:W3CDTF">2021-02-18T03:21:42Z</dcterms:modified>
</cp:coreProperties>
</file>